
<file path=[Content_Types].xml><?xml version="1.0" encoding="utf-8"?>
<Types xmlns="http://schemas.openxmlformats.org/package/2006/content-types">
  <Override PartName="/ppt/tags/tag8.xml" ContentType="application/vnd.openxmlformats-officedocument.presentationml.tags+xml"/>
  <Override PartName="/ppt/ink/ink58.xml" ContentType="application/inkml+xml"/>
  <Override PartName="/ppt/ink/ink106.xml" ContentType="application/inkml+xml"/>
  <Override PartName="/ppt/slides/slide36.xml" ContentType="application/vnd.openxmlformats-officedocument.presentationml.slide+xml"/>
  <Override PartName="/ppt/ink/ink47.xml" ContentType="application/inkml+xml"/>
  <Override PartName="/ppt/ink/ink94.xml" ContentType="application/inkml+xml"/>
  <Override PartName="/ppt/ink/ink142.xml" ContentType="application/inkml+xml"/>
  <Override PartName="/ppt/slides/slide25.xml" ContentType="application/vnd.openxmlformats-officedocument.presentationml.slide+xml"/>
  <Override PartName="/ppt/slideLayouts/slideLayout2.xml" ContentType="application/vnd.openxmlformats-officedocument.presentationml.slideLayout+xml"/>
  <Override PartName="/ppt/ink/ink25.xml" ContentType="application/inkml+xml"/>
  <Override PartName="/ppt/ink/ink36.xml" ContentType="application/inkml+xml"/>
  <Override PartName="/ppt/ink/ink72.xml" ContentType="application/inkml+xml"/>
  <Override PartName="/ppt/ink/ink83.xml" ContentType="application/inkml+xml"/>
  <Override PartName="/ppt/ink/ink120.xml" ContentType="application/inkml+xml"/>
  <Override PartName="/ppt/ink/ink131.xml" ContentType="application/inkml+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ink/ink14.xml" ContentType="application/inkml+xml"/>
  <Override PartName="/ppt/ink/ink61.xml" ContentType="application/inkml+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ink/ink2.xml" ContentType="application/inkml+xml"/>
  <Override PartName="/ppt/ink/ink50.xml" ContentType="application/inkml+xml"/>
  <Override PartName="/ppt/diagrams/layout1.xml" ContentType="application/vnd.openxmlformats-officedocument.drawingml.diagramLayout+xml"/>
  <Override PartName="/ppt/diagrams/data2.xml" ContentType="application/vnd.openxmlformats-officedocument.drawingml.diagramData+xml"/>
  <Override PartName="/ppt/diagrams/colors4.xml" ContentType="application/vnd.openxmlformats-officedocument.drawingml.diagramColors+xml"/>
  <Override PartName="/ppt/tags/tag30.xml" ContentType="application/vnd.openxmlformats-officedocument.presentationml.tags+xml"/>
  <Override PartName="/ppt/ink/ink88.xml" ContentType="application/inkml+xml"/>
  <Override PartName="/ppt/ink/ink99.xml" ContentType="application/inkml+xml"/>
  <Override PartName="/ppt/ink/ink136.xml" ContentType="application/inkml+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ink/ink77.xml" ContentType="application/inkml+xml"/>
  <Override PartName="/ppt/ink/ink125.xml" ContentType="application/inkml+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ink/ink19.xml" ContentType="application/inkml+xml"/>
  <Override PartName="/ppt/ink/ink66.xml" ContentType="application/inkml+xml"/>
  <Override PartName="/ppt/ink/ink114.xml" ContentType="application/inkml+xml"/>
  <Override PartName="/ppt/slides/slide33.xml" ContentType="application/vnd.openxmlformats-officedocument.presentationml.slide+xml"/>
  <Default Extension="emf" ContentType="image/x-emf"/>
  <Override PartName="/ppt/ink/ink7.xml" ContentType="application/inkml+xml"/>
  <Override PartName="/ppt/ink/ink44.xml" ContentType="application/inkml+xml"/>
  <Override PartName="/ppt/ink/ink55.xml" ContentType="application/inkml+xml"/>
  <Override PartName="/ppt/ink/ink91.xml" ContentType="application/inkml+xml"/>
  <Override PartName="/ppt/ink/ink103.xml" ContentType="application/inkml+xml"/>
  <Override PartName="/ppt/presentation.xml" ContentType="application/vnd.openxmlformats-officedocument.presentationml.presentation.main+xml"/>
  <Override PartName="/ppt/slides/slide22.xml" ContentType="application/vnd.openxmlformats-officedocument.presentationml.slide+xml"/>
  <Override PartName="/ppt/diagrams/layout6.xml" ContentType="application/vnd.openxmlformats-officedocument.drawingml.diagramLayout+xml"/>
  <Override PartName="/docProps/app.xml" ContentType="application/vnd.openxmlformats-officedocument.extended-properties+xml"/>
  <Override PartName="/ppt/ink/ink33.xml" ContentType="application/inkml+xml"/>
  <Override PartName="/ppt/ink/ink80.xml" ContentType="application/inkml+xml"/>
  <Override PartName="/ppt/slides/slide11.xml" ContentType="application/vnd.openxmlformats-officedocument.presentationml.slide+xml"/>
  <Override PartName="/ppt/diagrams/data7.xml" ContentType="application/vnd.openxmlformats-officedocument.drawingml.diagramData+xml"/>
  <Override PartName="/ppt/ink/ink22.xml" ContentType="application/inkml+xml"/>
  <Override PartName="/ppt/slideLayouts/slideLayout10.xml" ContentType="application/vnd.openxmlformats-officedocument.presentationml.slideLayout+xml"/>
  <Override PartName="/ppt/tags/tag24.xml" ContentType="application/vnd.openxmlformats-officedocument.presentationml.tags+xml"/>
  <Override PartName="/ppt/ink/ink11.xml" ContentType="application/inkml+xml"/>
  <Override PartName="/ppt/tags/tag13.xml" ContentType="application/vnd.openxmlformats-officedocument.presentationml.tags+xml"/>
  <Override PartName="/ppt/ink/ink119.xml" ContentType="application/inkml+xml"/>
  <Override PartName="/ppt/ink/ink108.xml" ContentType="application/inkml+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ink/ink49.xml" ContentType="application/inkml+xml"/>
  <Override PartName="/ppt/ink/ink67.xml" ContentType="application/inkml+xml"/>
  <Override PartName="/ppt/ink/ink78.xml" ContentType="application/inkml+xml"/>
  <Override PartName="/ppt/ink/ink96.xml" ContentType="application/inkml+xml"/>
  <Override PartName="/ppt/ink/ink115.xml" ContentType="application/inkml+xml"/>
  <Override PartName="/ppt/ink/ink126.xml" ContentType="application/inkml+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ink/ink8.xml" ContentType="application/inkml+xml"/>
  <Override PartName="/ppt/ink/ink27.xml" ContentType="application/inkml+xml"/>
  <Override PartName="/ppt/ink/ink38.xml" ContentType="application/inkml+xml"/>
  <Override PartName="/ppt/ink/ink56.xml" ContentType="application/inkml+xml"/>
  <Override PartName="/ppt/ink/ink74.xml" ContentType="application/inkml+xml"/>
  <Override PartName="/ppt/ink/ink85.xml" ContentType="application/inkml+xml"/>
  <Override PartName="/ppt/ink/ink104.xml" ContentType="application/inkml+xml"/>
  <Override PartName="/ppt/ink/ink122.xml" ContentType="application/inkml+xml"/>
  <Override PartName="/ppt/ink/ink133.xml" ContentType="application/inkml+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ink/ink16.xml" ContentType="application/inkml+xml"/>
  <Override PartName="/ppt/ink/ink45.xml" ContentType="application/inkml+xml"/>
  <Override PartName="/ppt/ink/ink63.xml" ContentType="application/inkml+xml"/>
  <Override PartName="/ppt/ink/ink92.xml" ContentType="application/inkml+xml"/>
  <Override PartName="/ppt/ink/ink111.xml" ContentType="application/inkml+xml"/>
  <Override PartName="/ppt/ink/ink140.xml" ContentType="application/inkml+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diagrams/layout7.xml" ContentType="application/vnd.openxmlformats-officedocument.drawingml.diagramLayout+xml"/>
  <Override PartName="/ppt/ink/ink4.xml" ContentType="application/inkml+xml"/>
  <Override PartName="/ppt/ink/ink23.xml" ContentType="application/inkml+xml"/>
  <Override PartName="/ppt/ink/ink34.xml" ContentType="application/inkml+xml"/>
  <Override PartName="/ppt/ink/ink52.xml" ContentType="application/inkml+xml"/>
  <Override PartName="/ppt/ink/ink70.xml" ContentType="application/inkml+xml"/>
  <Override PartName="/ppt/ink/ink81.xml" ContentType="application/inkml+xml"/>
  <Override PartName="/ppt/ink/ink100.xml" ContentType="application/inkml+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ink/ink12.xml" ContentType="application/inkml+xml"/>
  <Override PartName="/ppt/ink/ink41.xml" ContentType="application/inkml+xml"/>
  <Override PartName="/ppt/diagrams/layout3.xml" ContentType="application/vnd.openxmlformats-officedocument.drawingml.diagramLayout+xml"/>
  <Override PartName="/ppt/tags/tag14.xml" ContentType="application/vnd.openxmlformats-officedocument.presentationml.tags+xml"/>
  <Override PartName="/ppt/diagrams/data4.xml" ContentType="application/vnd.openxmlformats-officedocument.drawingml.diagramData+xml"/>
  <Override PartName="/ppt/tags/tag25.xml" ContentType="application/vnd.openxmlformats-officedocument.presentationml.tags+xml"/>
  <Override PartName="/ppt/ink/ink30.xml" ContentType="application/inkml+xml"/>
  <Override PartName="/ppt/diagrams/colors6.xml" ContentType="application/vnd.openxmlformats-officedocument.drawingml.diagramColors+xml"/>
  <Override PartName="/ppt/ink/ink138.xml" ContentType="application/inkml+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ink/ink79.xml" ContentType="application/inkml+xml"/>
  <Override PartName="/ppt/ink/ink97.xml" ContentType="application/inkml+xml"/>
  <Override PartName="/ppt/ink/ink109.xml" ContentType="application/inkml+xml"/>
  <Override PartName="/ppt/ink/ink127.xml" ContentType="application/inkml+xml"/>
  <Override PartName="/ppt/slides/slide28.xml" ContentType="application/vnd.openxmlformats-officedocument.presentationml.slide+xml"/>
  <Override PartName="/ppt/slides/slide39.xml" ContentType="application/vnd.openxmlformats-officedocument.presentationml.slide+xml"/>
  <Override PartName="/ppt/diagrams/colors2.xml" ContentType="application/vnd.openxmlformats-officedocument.drawingml.diagramColors+xml"/>
  <Override PartName="/ppt/tags/tag7.xml" ContentType="application/vnd.openxmlformats-officedocument.presentationml.tags+xml"/>
  <Override PartName="/ppt/diagrams/quickStyle5.xml" ContentType="application/vnd.openxmlformats-officedocument.drawingml.diagramStyle+xml"/>
  <Override PartName="/ppt/ink/ink39.xml" ContentType="application/inkml+xml"/>
  <Override PartName="/ppt/ink/ink68.xml" ContentType="application/inkml+xml"/>
  <Override PartName="/ppt/ink/ink86.xml" ContentType="application/inkml+xml"/>
  <Override PartName="/ppt/ink/ink116.xml" ContentType="application/inkml+xml"/>
  <Override PartName="/ppt/ink/ink134.xml" ContentType="application/inkml+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ink/ink9.xml" ContentType="application/inkml+xml"/>
  <Override PartName="/ppt/ink/ink28.xml" ContentType="application/inkml+xml"/>
  <Override PartName="/ppt/ink/ink46.xml" ContentType="application/inkml+xml"/>
  <Override PartName="/ppt/ink/ink57.xml" ContentType="application/inkml+xml"/>
  <Override PartName="/ppt/ink/ink75.xml" ContentType="application/inkml+xml"/>
  <Override PartName="/ppt/ink/ink93.xml" ContentType="application/inkml+xml"/>
  <Override PartName="/ppt/ink/ink105.xml" ContentType="application/inkml+xml"/>
  <Override PartName="/ppt/ink/ink123.xml" ContentType="application/inkml+xml"/>
  <Override PartName="/ppt/ink/ink141.xml" ContentType="application/inkml+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ink/ink17.xml" ContentType="application/inkml+xml"/>
  <Override PartName="/ppt/ink/ink35.xml" ContentType="application/inkml+xml"/>
  <Override PartName="/ppt/ink/ink64.xml" ContentType="application/inkml+xml"/>
  <Override PartName="/ppt/ink/ink82.xml" ContentType="application/inkml+xml"/>
  <Override PartName="/ppt/ink/ink101.xml" ContentType="application/inkml+xml"/>
  <Override PartName="/ppt/ink/ink112.xml" ContentType="application/inkml+xml"/>
  <Override PartName="/ppt/ink/ink130.xml" ContentType="application/inkml+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ink/ink5.xml" ContentType="application/inkml+xml"/>
  <Override PartName="/ppt/ink/ink24.xml" ContentType="application/inkml+xml"/>
  <Override PartName="/ppt/ink/ink42.xml" ContentType="application/inkml+xml"/>
  <Override PartName="/ppt/ink/ink53.xml" ContentType="application/inkml+xml"/>
  <Override PartName="/ppt/ink/ink71.xml" ContentType="application/inkml+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tags/tag26.xml" ContentType="application/vnd.openxmlformats-officedocument.presentationml.tags+xml"/>
  <Override PartName="/ppt/ink/ink1.xml" ContentType="application/inkml+xml"/>
  <Override PartName="/ppt/ink/ink13.xml" ContentType="application/inkml+xml"/>
  <Override PartName="/ppt/ink/ink31.xml" ContentType="application/inkml+xml"/>
  <Override PartName="/ppt/ink/ink60.xml" ContentType="application/inkml+xml"/>
  <Override PartName="/ppt/tags/tag15.xml" ContentType="application/vnd.openxmlformats-officedocument.presentationml.tags+xml"/>
  <Override PartName="/ppt/diagrams/data5.xml" ContentType="application/vnd.openxmlformats-officedocument.drawingml.diagramData+xml"/>
  <Override PartName="/ppt/diagrams/colors7.xml" ContentType="application/vnd.openxmlformats-officedocument.drawingml.diagramColors+xml"/>
  <Override PartName="/ppt/ink/ink20.xml" ContentType="application/inkml+xml"/>
  <Override PartName="/ppt/tags/tag22.xml" ContentType="application/vnd.openxmlformats-officedocument.presentationml.tags+xml"/>
  <Override PartName="/ppt/diagrams/drawing6.xml" ContentType="application/vnd.ms-office.drawingml.diagramDrawing+xml"/>
  <Override PartName="/ppt/ink/ink139.xml" ContentType="application/inkml+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tags/tag11.xml" ContentType="application/vnd.openxmlformats-officedocument.presentationml.tags+xml"/>
  <Override PartName="/ppt/diagrams/quickStyle6.xml" ContentType="application/vnd.openxmlformats-officedocument.drawingml.diagramStyle+xml"/>
  <Override PartName="/ppt/ink/ink69.xml" ContentType="application/inkml+xml"/>
  <Override PartName="/ppt/ink/ink98.xml" ContentType="application/inkml+xml"/>
  <Override PartName="/ppt/ink/ink117.xml" ContentType="application/inkml+xml"/>
  <Override PartName="/ppt/ink/ink128.xml" ContentType="application/inkml+xml"/>
  <Override PartName="/ppt/slides/slide29.xml" ContentType="application/vnd.openxmlformats-officedocument.presentationml.slide+xml"/>
  <Override PartName="/ppt/diagrams/drawing2.xml" ContentType="application/vnd.ms-office.drawingml.diagramDrawing+xml"/>
  <Override PartName="/ppt/ink/ink87.xml" ContentType="application/inkml+xml"/>
  <Override PartName="/ppt/ink/ink124.xml" ContentType="application/inkml+xml"/>
  <Override PartName="/ppt/ink/ink135.xml" ContentType="application/inkml+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ink/ink18.xml" ContentType="application/inkml+xml"/>
  <Override PartName="/ppt/ink/ink29.xml" ContentType="application/inkml+xml"/>
  <Override PartName="/ppt/ink/ink65.xml" ContentType="application/inkml+xml"/>
  <Override PartName="/ppt/ink/ink76.xml" ContentType="application/inkml+xml"/>
  <Override PartName="/ppt/ink/ink113.xml" ContentType="application/inkml+xml"/>
  <Override PartName="/ppt/theme/theme1.xml" ContentType="application/vnd.openxmlformats-officedocument.theme+xml"/>
  <Override PartName="/ppt/ink/ink6.xml" ContentType="application/inkml+xml"/>
  <Override PartName="/ppt/ink/ink54.xml" ContentType="application/inkml+xml"/>
  <Override PartName="/ppt/ink/ink102.xml" ContentType="application/inkml+xml"/>
  <Override PartName="/ppt/slides/slide32.xml" ContentType="application/vnd.openxmlformats-officedocument.presentationml.slide+xml"/>
  <Override PartName="/ppt/ink/ink43.xml" ContentType="application/inkml+xml"/>
  <Override PartName="/ppt/ink/ink90.xml" ContentType="application/inkml+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docProps/custom.xml" ContentType="application/vnd.openxmlformats-officedocument.custom-properties+xml"/>
  <Override PartName="/ppt/ink/ink21.xml" ContentType="application/inkml+xml"/>
  <Override PartName="/ppt/ink/ink32.xml" ContentType="application/inkml+xml"/>
  <Override PartName="/ppt/ink/ink10.xml" ContentType="application/inkml+xml"/>
  <Override PartName="/ppt/tags/tag12.xml" ContentType="application/vnd.openxmlformats-officedocument.presentationml.tags+xml"/>
  <Override PartName="/ppt/tags/tag23.xml" ContentType="application/vnd.openxmlformats-officedocument.presentationml.tags+xml"/>
  <Override PartName="/ppt/diagrams/drawing7.xml" ContentType="application/vnd.ms-office.drawingml.diagramDrawing+xml"/>
  <Override PartName="/ppt/ink/ink129.xml" ContentType="application/inkml+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quickStyle7.xml" ContentType="application/vnd.openxmlformats-officedocument.drawingml.diagramStyle+xml"/>
  <Override PartName="/ppt/ink/ink118.xml" ContentType="application/inkml+xml"/>
  <Default Extension="bin" ContentType="application/vnd.openxmlformats-officedocument.oleObject"/>
  <Override PartName="/ppt/ink/ink48.xml" ContentType="application/inkml+xml"/>
  <Override PartName="/ppt/ink/ink59.xml" ContentType="application/inkml+xml"/>
  <Override PartName="/ppt/ink/ink95.xml" ContentType="application/inkml+xml"/>
  <Override PartName="/ppt/ink/ink107.xml" ContentType="application/inkml+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ink/ink37.xml" ContentType="application/inkml+xml"/>
  <Override PartName="/ppt/ink/ink84.xml" ContentType="application/inkml+xml"/>
  <Override PartName="/ppt/ink/ink132.xml" ContentType="application/inkml+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ink/ink26.xml" ContentType="application/inkml+xml"/>
  <Override PartName="/ppt/ink/ink73.xml" ContentType="application/inkml+xml"/>
  <Override PartName="/ppt/ink/ink121.xml" ContentType="application/inkml+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ink/ink3.xml" ContentType="application/inkml+xml"/>
  <Override PartName="/ppt/ink/ink15.xml" ContentType="application/inkml+xml"/>
  <Override PartName="/ppt/ink/ink62.xml" ContentType="application/inkml+xml"/>
  <Override PartName="/ppt/ink/ink110.xml" ContentType="application/inkml+xml"/>
  <Override PartName="/ppt/tags/tag17.xml" ContentType="application/vnd.openxmlformats-officedocument.presentationml.tags+xml"/>
  <Override PartName="/ppt/ink/ink40.xml" ContentType="application/inkml+xml"/>
  <Override PartName="/ppt/ink/ink51.xml" ContentType="application/inkml+xml"/>
  <Default Extension="vml" ContentType="application/vnd.openxmlformats-officedocument.vmlDrawing"/>
  <Default Extension="gif" ContentType="image/gif"/>
  <Override PartName="/ppt/diagrams/layout2.xml" ContentType="application/vnd.openxmlformats-officedocument.drawingml.diagramLayout+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handoutMasters/handoutMaster1.xml" ContentType="application/vnd.openxmlformats-officedocument.presentationml.handoutMaster+xml"/>
  <Override PartName="/ppt/diagrams/drawing4.xml" ContentType="application/vnd.ms-office.drawingml.diagramDrawing+xml"/>
  <Override PartName="/ppt/tags/tag20.xml" ContentType="application/vnd.openxmlformats-officedocument.presentationml.tags+xml"/>
  <Override PartName="/docProps/core.xml" ContentType="application/vnd.openxmlformats-package.core-properties+xml"/>
  <Override PartName="/ppt/ink/ink89.xml" ContentType="application/inkml+xml"/>
  <Override PartName="/ppt/ink/ink137.xml" ContentType="application/inkml+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4"/>
  </p:notesMasterIdLst>
  <p:handoutMasterIdLst>
    <p:handoutMasterId r:id="rId45"/>
  </p:handoutMasterIdLst>
  <p:sldIdLst>
    <p:sldId id="287" r:id="rId5"/>
    <p:sldId id="305" r:id="rId6"/>
    <p:sldId id="306" r:id="rId7"/>
    <p:sldId id="366" r:id="rId8"/>
    <p:sldId id="347" r:id="rId9"/>
    <p:sldId id="317" r:id="rId10"/>
    <p:sldId id="330" r:id="rId11"/>
    <p:sldId id="345" r:id="rId12"/>
    <p:sldId id="368" r:id="rId13"/>
    <p:sldId id="362" r:id="rId14"/>
    <p:sldId id="307" r:id="rId15"/>
    <p:sldId id="318" r:id="rId16"/>
    <p:sldId id="319" r:id="rId17"/>
    <p:sldId id="320" r:id="rId18"/>
    <p:sldId id="333" r:id="rId19"/>
    <p:sldId id="329" r:id="rId20"/>
    <p:sldId id="371" r:id="rId21"/>
    <p:sldId id="373" r:id="rId22"/>
    <p:sldId id="372" r:id="rId23"/>
    <p:sldId id="334" r:id="rId24"/>
    <p:sldId id="335" r:id="rId25"/>
    <p:sldId id="309" r:id="rId26"/>
    <p:sldId id="364" r:id="rId27"/>
    <p:sldId id="340" r:id="rId28"/>
    <p:sldId id="341" r:id="rId29"/>
    <p:sldId id="310" r:id="rId30"/>
    <p:sldId id="354" r:id="rId31"/>
    <p:sldId id="355" r:id="rId32"/>
    <p:sldId id="358" r:id="rId33"/>
    <p:sldId id="359" r:id="rId34"/>
    <p:sldId id="352" r:id="rId35"/>
    <p:sldId id="311" r:id="rId36"/>
    <p:sldId id="342" r:id="rId37"/>
    <p:sldId id="343" r:id="rId38"/>
    <p:sldId id="360" r:id="rId39"/>
    <p:sldId id="367" r:id="rId40"/>
    <p:sldId id="361" r:id="rId41"/>
    <p:sldId id="370" r:id="rId42"/>
    <p:sldId id="288" r:id="rId43"/>
  </p:sldIdLst>
  <p:sldSz cx="9144000" cy="6858000" type="screen4x3"/>
  <p:notesSz cx="6797675" cy="9928225"/>
  <p:custDataLst>
    <p:tags r:id="rId4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28" autoAdjust="0"/>
    <p:restoredTop sz="50000" autoAdjust="0"/>
  </p:normalViewPr>
  <p:slideViewPr>
    <p:cSldViewPr>
      <p:cViewPr varScale="1">
        <p:scale>
          <a:sx n="73" d="100"/>
          <a:sy n="73" d="100"/>
        </p:scale>
        <p:origin x="-1380" y="-10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E9A608-5E7A-4F4F-89D2-2CB6B98CBF77}" type="doc">
      <dgm:prSet loTypeId="urn:microsoft.com/office/officeart/2005/8/layout/matrix2" loCatId="matrix" qsTypeId="urn:microsoft.com/office/officeart/2005/8/quickstyle/simple1" qsCatId="simple" csTypeId="urn:microsoft.com/office/officeart/2005/8/colors/accent1_2" csCatId="accent1" phldr="1"/>
      <dgm:spPr/>
      <dgm:t>
        <a:bodyPr/>
        <a:lstStyle/>
        <a:p>
          <a:endParaRPr lang="en-US"/>
        </a:p>
      </dgm:t>
    </dgm:pt>
    <dgm:pt modelId="{79DC35AD-7C06-4A67-9303-48A7F5A267E1}">
      <dgm:prSet phldrT="[Text]" custT="1"/>
      <dgm:spPr/>
      <dgm:t>
        <a:bodyPr/>
        <a:lstStyle/>
        <a:p>
          <a:r>
            <a:rPr lang="en-US" sz="2000" dirty="0" err="1">
              <a:latin typeface="Tahoma" panose="020B0604030504040204" pitchFamily="34" charset="0"/>
              <a:ea typeface="Tahoma" panose="020B0604030504040204" pitchFamily="34" charset="0"/>
              <a:cs typeface="Tahoma" panose="020B0604030504040204" pitchFamily="34" charset="0"/>
            </a:rPr>
            <a:t>Mitarbeiter</a:t>
          </a:r>
          <a:r>
            <a:rPr lang="en-US" sz="2000" dirty="0">
              <a:latin typeface="Tahoma" panose="020B0604030504040204" pitchFamily="34" charset="0"/>
              <a:ea typeface="Tahoma" panose="020B0604030504040204" pitchFamily="34" charset="0"/>
              <a:cs typeface="Tahoma" panose="020B0604030504040204" pitchFamily="34" charset="0"/>
            </a:rPr>
            <a:t>-</a:t>
          </a:r>
        </a:p>
        <a:p>
          <a:r>
            <a:rPr lang="en-US" sz="2000" dirty="0" err="1">
              <a:latin typeface="Tahoma" panose="020B0604030504040204" pitchFamily="34" charset="0"/>
              <a:ea typeface="Tahoma" panose="020B0604030504040204" pitchFamily="34" charset="0"/>
              <a:cs typeface="Tahoma" panose="020B0604030504040204" pitchFamily="34" charset="0"/>
            </a:rPr>
            <a:t>Innen</a:t>
          </a:r>
          <a:r>
            <a:rPr lang="en-US" sz="2000" dirty="0">
              <a:latin typeface="Tahoma" panose="020B0604030504040204" pitchFamily="34" charset="0"/>
              <a:ea typeface="Tahoma" panose="020B0604030504040204" pitchFamily="34" charset="0"/>
              <a:cs typeface="Tahoma" panose="020B0604030504040204" pitchFamily="34" charset="0"/>
            </a:rPr>
            <a:t> (MA) als </a:t>
          </a:r>
          <a:r>
            <a:rPr lang="en-US" sz="2000" dirty="0" err="1">
              <a:latin typeface="Tahoma" panose="020B0604030504040204" pitchFamily="34" charset="0"/>
              <a:ea typeface="Tahoma" panose="020B0604030504040204" pitchFamily="34" charset="0"/>
              <a:cs typeface="Tahoma" panose="020B0604030504040204" pitchFamily="34" charset="0"/>
            </a:rPr>
            <a:t>zentrale</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Unternehmens-ressource</a:t>
          </a:r>
          <a:endParaRPr lang="en-US" sz="2000" dirty="0"/>
        </a:p>
      </dgm:t>
    </dgm:pt>
    <dgm:pt modelId="{40E05EDD-336F-4459-B1AD-DF193D8A45DB}" type="parTrans" cxnId="{26C49F6E-A7A0-49F5-A24D-46E3DA2307DA}">
      <dgm:prSet/>
      <dgm:spPr/>
      <dgm:t>
        <a:bodyPr/>
        <a:lstStyle/>
        <a:p>
          <a:endParaRPr lang="en-US"/>
        </a:p>
      </dgm:t>
    </dgm:pt>
    <dgm:pt modelId="{35714C03-03AE-43C2-B884-AA45AA9C5E52}" type="sibTrans" cxnId="{26C49F6E-A7A0-49F5-A24D-46E3DA2307DA}">
      <dgm:prSet/>
      <dgm:spPr/>
      <dgm:t>
        <a:bodyPr/>
        <a:lstStyle/>
        <a:p>
          <a:endParaRPr lang="en-US"/>
        </a:p>
      </dgm:t>
    </dgm:pt>
    <dgm:pt modelId="{D8E6E963-CA7D-4F85-995E-7980CB28121E}">
      <dgm:prSet phldrT="[Text]" custT="1"/>
      <dgm:spPr/>
      <dgm:t>
        <a:bodyPr/>
        <a:lstStyle/>
        <a:p>
          <a:r>
            <a:rPr lang="en-US" sz="2000" dirty="0">
              <a:latin typeface="Tahoma" panose="020B0604030504040204" pitchFamily="34" charset="0"/>
              <a:ea typeface="Tahoma" panose="020B0604030504040204" pitchFamily="34" charset="0"/>
              <a:cs typeface="Tahoma" panose="020B0604030504040204" pitchFamily="34" charset="0"/>
            </a:rPr>
            <a:t>demo-</a:t>
          </a:r>
          <a:r>
            <a:rPr lang="en-US" sz="2000" dirty="0" err="1">
              <a:latin typeface="Tahoma" panose="020B0604030504040204" pitchFamily="34" charset="0"/>
              <a:ea typeface="Tahoma" panose="020B0604030504040204" pitchFamily="34" charset="0"/>
              <a:cs typeface="Tahoma" panose="020B0604030504040204" pitchFamily="34" charset="0"/>
            </a:rPr>
            <a:t>grafischer</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Wande</a:t>
          </a:r>
          <a:r>
            <a:rPr lang="en-US" sz="2200" dirty="0" err="1">
              <a:latin typeface="Tahoma" panose="020B0604030504040204" pitchFamily="34" charset="0"/>
              <a:ea typeface="Tahoma" panose="020B0604030504040204" pitchFamily="34" charset="0"/>
              <a:cs typeface="Tahoma" panose="020B0604030504040204" pitchFamily="34" charset="0"/>
            </a:rPr>
            <a:t>l</a:t>
          </a:r>
          <a:endParaRPr lang="en-US" sz="2200" dirty="0"/>
        </a:p>
      </dgm:t>
    </dgm:pt>
    <dgm:pt modelId="{244E4CDE-1E79-4D42-8B5F-77F71D22AE7B}" type="parTrans" cxnId="{B87E1B89-3538-43E7-A7B8-4E140F3E088B}">
      <dgm:prSet/>
      <dgm:spPr/>
      <dgm:t>
        <a:bodyPr/>
        <a:lstStyle/>
        <a:p>
          <a:endParaRPr lang="en-US"/>
        </a:p>
      </dgm:t>
    </dgm:pt>
    <dgm:pt modelId="{96839C5B-8DAE-4428-BD92-C6C42CE90044}" type="sibTrans" cxnId="{B87E1B89-3538-43E7-A7B8-4E140F3E088B}">
      <dgm:prSet/>
      <dgm:spPr/>
      <dgm:t>
        <a:bodyPr/>
        <a:lstStyle/>
        <a:p>
          <a:endParaRPr lang="en-US"/>
        </a:p>
      </dgm:t>
    </dgm:pt>
    <dgm:pt modelId="{EA923BF8-15E5-4026-94ED-38D807CF3757}">
      <dgm:prSet phldrT="[Text]" custT="1"/>
      <dgm:spPr/>
      <dgm:t>
        <a:bodyPr/>
        <a:lstStyle/>
        <a:p>
          <a:r>
            <a:rPr lang="en-US" sz="2000" dirty="0" err="1">
              <a:latin typeface="Tahoma" panose="020B0604030504040204" pitchFamily="34" charset="0"/>
              <a:ea typeface="Tahoma" panose="020B0604030504040204" pitchFamily="34" charset="0"/>
              <a:cs typeface="Tahoma" panose="020B0604030504040204" pitchFamily="34" charset="0"/>
            </a:rPr>
            <a:t>Fachkräfte-mangel</a:t>
          </a:r>
          <a:endParaRPr lang="en-US" sz="2000" dirty="0"/>
        </a:p>
      </dgm:t>
    </dgm:pt>
    <dgm:pt modelId="{FC72DDAB-3E30-4D2F-BFDD-3B1D8FD12606}" type="parTrans" cxnId="{41FDDD28-D89E-4729-A1BF-1257213E606F}">
      <dgm:prSet/>
      <dgm:spPr/>
      <dgm:t>
        <a:bodyPr/>
        <a:lstStyle/>
        <a:p>
          <a:endParaRPr lang="en-US"/>
        </a:p>
      </dgm:t>
    </dgm:pt>
    <dgm:pt modelId="{8447FF23-C019-4D85-95C2-D269C5DC5DB5}" type="sibTrans" cxnId="{41FDDD28-D89E-4729-A1BF-1257213E606F}">
      <dgm:prSet/>
      <dgm:spPr/>
      <dgm:t>
        <a:bodyPr/>
        <a:lstStyle/>
        <a:p>
          <a:endParaRPr lang="en-US"/>
        </a:p>
      </dgm:t>
    </dgm:pt>
    <dgm:pt modelId="{F7C1155A-EBED-481F-8433-A8476350D565}">
      <dgm:prSet phldrT="[Text]" custT="1"/>
      <dgm:spPr/>
      <dgm:t>
        <a:bodyPr/>
        <a:lstStyle/>
        <a:p>
          <a:r>
            <a:rPr lang="en-US" sz="2000" dirty="0">
              <a:latin typeface="Tahoma" panose="020B0604030504040204" pitchFamily="34" charset="0"/>
              <a:ea typeface="Tahoma" panose="020B0604030504040204" pitchFamily="34" charset="0"/>
              <a:cs typeface="Tahoma" panose="020B0604030504040204" pitchFamily="34" charset="0"/>
            </a:rPr>
            <a:t>Engagement und </a:t>
          </a:r>
          <a:r>
            <a:rPr lang="en-US" sz="2000" dirty="0" err="1">
              <a:latin typeface="Tahoma" panose="020B0604030504040204" pitchFamily="34" charset="0"/>
              <a:ea typeface="Tahoma" panose="020B0604030504040204" pitchFamily="34" charset="0"/>
              <a:cs typeface="Tahoma" panose="020B0604030504040204" pitchFamily="34" charset="0"/>
            </a:rPr>
            <a:t>Glücks-empfinden</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als</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beste</a:t>
          </a:r>
          <a:r>
            <a:rPr lang="en-US" sz="2000" dirty="0">
              <a:latin typeface="Tahoma" panose="020B0604030504040204" pitchFamily="34" charset="0"/>
              <a:ea typeface="Tahoma" panose="020B0604030504040204" pitchFamily="34" charset="0"/>
              <a:cs typeface="Tahoma" panose="020B0604030504040204" pitchFamily="34" charset="0"/>
            </a:rPr>
            <a:t> </a:t>
          </a:r>
          <a:r>
            <a:rPr lang="en-US" sz="2000" dirty="0" err="1">
              <a:latin typeface="Tahoma" panose="020B0604030504040204" pitchFamily="34" charset="0"/>
              <a:ea typeface="Tahoma" panose="020B0604030504040204" pitchFamily="34" charset="0"/>
              <a:cs typeface="Tahoma" panose="020B0604030504040204" pitchFamily="34" charset="0"/>
            </a:rPr>
            <a:t>Prädiktoren</a:t>
          </a:r>
          <a:endParaRPr lang="en-US" sz="2000" dirty="0">
            <a:latin typeface="Tahoma" panose="020B0604030504040204" pitchFamily="34" charset="0"/>
            <a:ea typeface="Tahoma" panose="020B0604030504040204" pitchFamily="34" charset="0"/>
            <a:cs typeface="Tahoma" panose="020B0604030504040204" pitchFamily="34" charset="0"/>
          </a:endParaRPr>
        </a:p>
      </dgm:t>
    </dgm:pt>
    <dgm:pt modelId="{D7196528-8256-4C4F-AF1D-DF933FE5113C}" type="parTrans" cxnId="{8CBCFEC3-A733-40FA-8AEB-6D7CF30021DB}">
      <dgm:prSet/>
      <dgm:spPr/>
      <dgm:t>
        <a:bodyPr/>
        <a:lstStyle/>
        <a:p>
          <a:endParaRPr lang="en-US"/>
        </a:p>
      </dgm:t>
    </dgm:pt>
    <dgm:pt modelId="{ABE1901A-A52A-4B3B-811C-B24D2CFAFACE}" type="sibTrans" cxnId="{8CBCFEC3-A733-40FA-8AEB-6D7CF30021DB}">
      <dgm:prSet/>
      <dgm:spPr/>
      <dgm:t>
        <a:bodyPr/>
        <a:lstStyle/>
        <a:p>
          <a:endParaRPr lang="en-US"/>
        </a:p>
      </dgm:t>
    </dgm:pt>
    <dgm:pt modelId="{2F1FF07D-1132-445F-A317-6EB447CA841D}" type="pres">
      <dgm:prSet presAssocID="{B1E9A608-5E7A-4F4F-89D2-2CB6B98CBF77}" presName="matrix" presStyleCnt="0">
        <dgm:presLayoutVars>
          <dgm:chMax val="1"/>
          <dgm:dir/>
          <dgm:resizeHandles val="exact"/>
        </dgm:presLayoutVars>
      </dgm:prSet>
      <dgm:spPr/>
      <dgm:t>
        <a:bodyPr/>
        <a:lstStyle/>
        <a:p>
          <a:endParaRPr lang="de-AT"/>
        </a:p>
      </dgm:t>
    </dgm:pt>
    <dgm:pt modelId="{BB49D6F4-5AE7-4D3F-9A4F-6B1B8AF6BE6C}" type="pres">
      <dgm:prSet presAssocID="{B1E9A608-5E7A-4F4F-89D2-2CB6B98CBF77}" presName="axisShape" presStyleLbl="bgShp" presStyleIdx="0" presStyleCnt="1"/>
      <dgm:spPr/>
    </dgm:pt>
    <dgm:pt modelId="{43EB31F8-C166-40EB-801B-71EB5E8A1F6B}" type="pres">
      <dgm:prSet presAssocID="{B1E9A608-5E7A-4F4F-89D2-2CB6B98CBF77}" presName="rect1" presStyleLbl="node1" presStyleIdx="0" presStyleCnt="4">
        <dgm:presLayoutVars>
          <dgm:chMax val="0"/>
          <dgm:chPref val="0"/>
          <dgm:bulletEnabled val="1"/>
        </dgm:presLayoutVars>
      </dgm:prSet>
      <dgm:spPr/>
      <dgm:t>
        <a:bodyPr/>
        <a:lstStyle/>
        <a:p>
          <a:endParaRPr lang="de-AT"/>
        </a:p>
      </dgm:t>
    </dgm:pt>
    <dgm:pt modelId="{66F9ED37-5D6E-4004-BFF3-60F919BF8C9D}" type="pres">
      <dgm:prSet presAssocID="{B1E9A608-5E7A-4F4F-89D2-2CB6B98CBF77}" presName="rect2" presStyleLbl="node1" presStyleIdx="1" presStyleCnt="4">
        <dgm:presLayoutVars>
          <dgm:chMax val="0"/>
          <dgm:chPref val="0"/>
          <dgm:bulletEnabled val="1"/>
        </dgm:presLayoutVars>
      </dgm:prSet>
      <dgm:spPr/>
      <dgm:t>
        <a:bodyPr/>
        <a:lstStyle/>
        <a:p>
          <a:endParaRPr lang="de-AT"/>
        </a:p>
      </dgm:t>
    </dgm:pt>
    <dgm:pt modelId="{5CD6AA72-8500-4B90-BEA7-78B0AC6A3627}" type="pres">
      <dgm:prSet presAssocID="{B1E9A608-5E7A-4F4F-89D2-2CB6B98CBF77}" presName="rect3" presStyleLbl="node1" presStyleIdx="2" presStyleCnt="4">
        <dgm:presLayoutVars>
          <dgm:chMax val="0"/>
          <dgm:chPref val="0"/>
          <dgm:bulletEnabled val="1"/>
        </dgm:presLayoutVars>
      </dgm:prSet>
      <dgm:spPr/>
      <dgm:t>
        <a:bodyPr/>
        <a:lstStyle/>
        <a:p>
          <a:endParaRPr lang="de-AT"/>
        </a:p>
      </dgm:t>
    </dgm:pt>
    <dgm:pt modelId="{681FB1A6-ED84-4609-85D9-C09DCC3FFF87}" type="pres">
      <dgm:prSet presAssocID="{B1E9A608-5E7A-4F4F-89D2-2CB6B98CBF77}" presName="rect4" presStyleLbl="node1" presStyleIdx="3" presStyleCnt="4">
        <dgm:presLayoutVars>
          <dgm:chMax val="0"/>
          <dgm:chPref val="0"/>
          <dgm:bulletEnabled val="1"/>
        </dgm:presLayoutVars>
      </dgm:prSet>
      <dgm:spPr/>
      <dgm:t>
        <a:bodyPr/>
        <a:lstStyle/>
        <a:p>
          <a:endParaRPr lang="de-AT"/>
        </a:p>
      </dgm:t>
    </dgm:pt>
  </dgm:ptLst>
  <dgm:cxnLst>
    <dgm:cxn modelId="{F515A8AB-0662-4914-8C1B-85043361B546}" type="presOf" srcId="{79DC35AD-7C06-4A67-9303-48A7F5A267E1}" destId="{43EB31F8-C166-40EB-801B-71EB5E8A1F6B}" srcOrd="0" destOrd="0" presId="urn:microsoft.com/office/officeart/2005/8/layout/matrix2"/>
    <dgm:cxn modelId="{6DCF3E62-5A25-4B16-8493-09B2C03F59D5}" type="presOf" srcId="{F7C1155A-EBED-481F-8433-A8476350D565}" destId="{681FB1A6-ED84-4609-85D9-C09DCC3FFF87}" srcOrd="0" destOrd="0" presId="urn:microsoft.com/office/officeart/2005/8/layout/matrix2"/>
    <dgm:cxn modelId="{8CBCFEC3-A733-40FA-8AEB-6D7CF30021DB}" srcId="{B1E9A608-5E7A-4F4F-89D2-2CB6B98CBF77}" destId="{F7C1155A-EBED-481F-8433-A8476350D565}" srcOrd="3" destOrd="0" parTransId="{D7196528-8256-4C4F-AF1D-DF933FE5113C}" sibTransId="{ABE1901A-A52A-4B3B-811C-B24D2CFAFACE}"/>
    <dgm:cxn modelId="{9B49071A-BE16-41E2-835F-810C1712BF2E}" type="presOf" srcId="{B1E9A608-5E7A-4F4F-89D2-2CB6B98CBF77}" destId="{2F1FF07D-1132-445F-A317-6EB447CA841D}" srcOrd="0" destOrd="0" presId="urn:microsoft.com/office/officeart/2005/8/layout/matrix2"/>
    <dgm:cxn modelId="{15665659-5FED-41F2-96F4-AD265D54BD08}" type="presOf" srcId="{D8E6E963-CA7D-4F85-995E-7980CB28121E}" destId="{66F9ED37-5D6E-4004-BFF3-60F919BF8C9D}" srcOrd="0" destOrd="0" presId="urn:microsoft.com/office/officeart/2005/8/layout/matrix2"/>
    <dgm:cxn modelId="{4D0741A3-49DD-44A3-A8BA-7BD624280A5C}" type="presOf" srcId="{EA923BF8-15E5-4026-94ED-38D807CF3757}" destId="{5CD6AA72-8500-4B90-BEA7-78B0AC6A3627}" srcOrd="0" destOrd="0" presId="urn:microsoft.com/office/officeart/2005/8/layout/matrix2"/>
    <dgm:cxn modelId="{B87E1B89-3538-43E7-A7B8-4E140F3E088B}" srcId="{B1E9A608-5E7A-4F4F-89D2-2CB6B98CBF77}" destId="{D8E6E963-CA7D-4F85-995E-7980CB28121E}" srcOrd="1" destOrd="0" parTransId="{244E4CDE-1E79-4D42-8B5F-77F71D22AE7B}" sibTransId="{96839C5B-8DAE-4428-BD92-C6C42CE90044}"/>
    <dgm:cxn modelId="{26C49F6E-A7A0-49F5-A24D-46E3DA2307DA}" srcId="{B1E9A608-5E7A-4F4F-89D2-2CB6B98CBF77}" destId="{79DC35AD-7C06-4A67-9303-48A7F5A267E1}" srcOrd="0" destOrd="0" parTransId="{40E05EDD-336F-4459-B1AD-DF193D8A45DB}" sibTransId="{35714C03-03AE-43C2-B884-AA45AA9C5E52}"/>
    <dgm:cxn modelId="{41FDDD28-D89E-4729-A1BF-1257213E606F}" srcId="{B1E9A608-5E7A-4F4F-89D2-2CB6B98CBF77}" destId="{EA923BF8-15E5-4026-94ED-38D807CF3757}" srcOrd="2" destOrd="0" parTransId="{FC72DDAB-3E30-4D2F-BFDD-3B1D8FD12606}" sibTransId="{8447FF23-C019-4D85-95C2-D269C5DC5DB5}"/>
    <dgm:cxn modelId="{C11D1409-2D8B-43D2-A453-1A46F9045ECB}" type="presParOf" srcId="{2F1FF07D-1132-445F-A317-6EB447CA841D}" destId="{BB49D6F4-5AE7-4D3F-9A4F-6B1B8AF6BE6C}" srcOrd="0" destOrd="0" presId="urn:microsoft.com/office/officeart/2005/8/layout/matrix2"/>
    <dgm:cxn modelId="{581F1886-68C0-4C4E-851E-A04DC0D19C8A}" type="presParOf" srcId="{2F1FF07D-1132-445F-A317-6EB447CA841D}" destId="{43EB31F8-C166-40EB-801B-71EB5E8A1F6B}" srcOrd="1" destOrd="0" presId="urn:microsoft.com/office/officeart/2005/8/layout/matrix2"/>
    <dgm:cxn modelId="{8AD79E01-5C2C-4EF5-9EEC-491DF7FD8363}" type="presParOf" srcId="{2F1FF07D-1132-445F-A317-6EB447CA841D}" destId="{66F9ED37-5D6E-4004-BFF3-60F919BF8C9D}" srcOrd="2" destOrd="0" presId="urn:microsoft.com/office/officeart/2005/8/layout/matrix2"/>
    <dgm:cxn modelId="{EC639CD8-0EAE-43DA-A55F-AE9845D7320E}" type="presParOf" srcId="{2F1FF07D-1132-445F-A317-6EB447CA841D}" destId="{5CD6AA72-8500-4B90-BEA7-78B0AC6A3627}" srcOrd="3" destOrd="0" presId="urn:microsoft.com/office/officeart/2005/8/layout/matrix2"/>
    <dgm:cxn modelId="{B88968D9-C9B3-4E8A-842D-593C7B82E096}" type="presParOf" srcId="{2F1FF07D-1132-445F-A317-6EB447CA841D}" destId="{681FB1A6-ED84-4609-85D9-C09DCC3FFF87}" srcOrd="4" destOrd="0" presId="urn:microsoft.com/office/officeart/2005/8/layout/matrix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40A66D-AF07-42BA-BB5F-B8D3189229E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7084F82D-A2E3-4AFF-ACA2-102A5C3655CA}">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Abstraktions- und Problemlösefähigkeiten im Umgang mit erhöhter Komplexität</a:t>
          </a:r>
        </a:p>
      </dgm:t>
    </dgm:pt>
    <dgm:pt modelId="{FB473E50-B1F3-4266-BF76-78A343E369E6}" type="parTrans" cxnId="{5C83154C-63C2-432D-8D97-81A88A01FC2C}">
      <dgm:prSet/>
      <dgm:spPr/>
      <dgm:t>
        <a:bodyPr/>
        <a:lstStyle/>
        <a:p>
          <a:endParaRPr lang="de-DE" sz="2400"/>
        </a:p>
      </dgm:t>
    </dgm:pt>
    <dgm:pt modelId="{0E457205-6B95-4CE3-9ECD-C2A269C3E93F}" type="sibTrans" cxnId="{5C83154C-63C2-432D-8D97-81A88A01FC2C}">
      <dgm:prSet/>
      <dgm:spPr/>
      <dgm:t>
        <a:bodyPr/>
        <a:lstStyle/>
        <a:p>
          <a:endParaRPr lang="de-DE" sz="2400"/>
        </a:p>
      </dgm:t>
    </dgm:pt>
    <dgm:pt modelId="{72D1F4A2-93F3-4999-976A-F037FDC71DCE}">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Flexibilität und Lernbereitschaft</a:t>
          </a:r>
        </a:p>
      </dgm:t>
    </dgm:pt>
    <dgm:pt modelId="{4CB35528-9501-4276-978F-DE454BA5072C}" type="parTrans" cxnId="{E335711D-C6B5-44E7-92C5-F056E92BF53F}">
      <dgm:prSet/>
      <dgm:spPr/>
      <dgm:t>
        <a:bodyPr/>
        <a:lstStyle/>
        <a:p>
          <a:endParaRPr lang="de-DE" sz="2400"/>
        </a:p>
      </dgm:t>
    </dgm:pt>
    <dgm:pt modelId="{EC7F60B9-0780-45C5-9944-3C0803C90008}" type="sibTrans" cxnId="{E335711D-C6B5-44E7-92C5-F056E92BF53F}">
      <dgm:prSet/>
      <dgm:spPr/>
      <dgm:t>
        <a:bodyPr/>
        <a:lstStyle/>
        <a:p>
          <a:endParaRPr lang="de-DE" sz="2400"/>
        </a:p>
      </dgm:t>
    </dgm:pt>
    <dgm:pt modelId="{5409E241-CF0D-452A-B6A7-157788F3ED67}">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Eigenverantwortung und Selbstorganisation</a:t>
          </a:r>
        </a:p>
      </dgm:t>
    </dgm:pt>
    <dgm:pt modelId="{7827B11F-B436-45C0-8D8A-E22CEA492B5F}" type="parTrans" cxnId="{CA1EDAF7-D38B-4944-BD6D-311CFBCBF2BE}">
      <dgm:prSet/>
      <dgm:spPr/>
      <dgm:t>
        <a:bodyPr/>
        <a:lstStyle/>
        <a:p>
          <a:endParaRPr lang="de-DE" sz="2400"/>
        </a:p>
      </dgm:t>
    </dgm:pt>
    <dgm:pt modelId="{71BC5481-7B50-418F-840D-B1B46F0ABF34}" type="sibTrans" cxnId="{CA1EDAF7-D38B-4944-BD6D-311CFBCBF2BE}">
      <dgm:prSet/>
      <dgm:spPr/>
      <dgm:t>
        <a:bodyPr/>
        <a:lstStyle/>
        <a:p>
          <a:endParaRPr lang="de-DE" sz="2400"/>
        </a:p>
      </dgm:t>
    </dgm:pt>
    <dgm:pt modelId="{D2E14C5E-D703-4FBC-9A57-092616149236}" type="pres">
      <dgm:prSet presAssocID="{6D40A66D-AF07-42BA-BB5F-B8D3189229E3}" presName="Name0" presStyleCnt="0">
        <dgm:presLayoutVars>
          <dgm:chMax val="7"/>
          <dgm:chPref val="7"/>
          <dgm:dir/>
        </dgm:presLayoutVars>
      </dgm:prSet>
      <dgm:spPr/>
      <dgm:t>
        <a:bodyPr/>
        <a:lstStyle/>
        <a:p>
          <a:endParaRPr lang="de-AT"/>
        </a:p>
      </dgm:t>
    </dgm:pt>
    <dgm:pt modelId="{8D647256-55FA-4B14-84FA-A5140B7C1E96}" type="pres">
      <dgm:prSet presAssocID="{6D40A66D-AF07-42BA-BB5F-B8D3189229E3}" presName="Name1" presStyleCnt="0"/>
      <dgm:spPr/>
    </dgm:pt>
    <dgm:pt modelId="{8A4C5436-BB82-459F-8686-501769585F01}" type="pres">
      <dgm:prSet presAssocID="{6D40A66D-AF07-42BA-BB5F-B8D3189229E3}" presName="cycle" presStyleCnt="0"/>
      <dgm:spPr/>
    </dgm:pt>
    <dgm:pt modelId="{202CBB39-B17B-4E72-B06D-67ABFE63FFB7}" type="pres">
      <dgm:prSet presAssocID="{6D40A66D-AF07-42BA-BB5F-B8D3189229E3}" presName="srcNode" presStyleLbl="node1" presStyleIdx="0" presStyleCnt="3"/>
      <dgm:spPr/>
    </dgm:pt>
    <dgm:pt modelId="{52DCA34A-B4FA-4CCA-87F9-0FA466A5747A}" type="pres">
      <dgm:prSet presAssocID="{6D40A66D-AF07-42BA-BB5F-B8D3189229E3}" presName="conn" presStyleLbl="parChTrans1D2" presStyleIdx="0" presStyleCnt="1"/>
      <dgm:spPr/>
      <dgm:t>
        <a:bodyPr/>
        <a:lstStyle/>
        <a:p>
          <a:endParaRPr lang="de-AT"/>
        </a:p>
      </dgm:t>
    </dgm:pt>
    <dgm:pt modelId="{0F336D93-AB65-453E-B68F-A926B2BD6702}" type="pres">
      <dgm:prSet presAssocID="{6D40A66D-AF07-42BA-BB5F-B8D3189229E3}" presName="extraNode" presStyleLbl="node1" presStyleIdx="0" presStyleCnt="3"/>
      <dgm:spPr/>
    </dgm:pt>
    <dgm:pt modelId="{14D90C84-581B-45CE-8FA2-B91168AB7302}" type="pres">
      <dgm:prSet presAssocID="{6D40A66D-AF07-42BA-BB5F-B8D3189229E3}" presName="dstNode" presStyleLbl="node1" presStyleIdx="0" presStyleCnt="3"/>
      <dgm:spPr/>
    </dgm:pt>
    <dgm:pt modelId="{1B5D9723-5649-4C96-A9CC-EB91DADE0EB8}" type="pres">
      <dgm:prSet presAssocID="{7084F82D-A2E3-4AFF-ACA2-102A5C3655CA}" presName="text_1" presStyleLbl="node1" presStyleIdx="0" presStyleCnt="3" custScaleX="103946" custScaleY="112500">
        <dgm:presLayoutVars>
          <dgm:bulletEnabled val="1"/>
        </dgm:presLayoutVars>
      </dgm:prSet>
      <dgm:spPr/>
      <dgm:t>
        <a:bodyPr/>
        <a:lstStyle/>
        <a:p>
          <a:endParaRPr lang="de-AT"/>
        </a:p>
      </dgm:t>
    </dgm:pt>
    <dgm:pt modelId="{9E192571-C260-4C90-91D5-880D84E4D300}" type="pres">
      <dgm:prSet presAssocID="{7084F82D-A2E3-4AFF-ACA2-102A5C3655CA}" presName="accent_1" presStyleCnt="0"/>
      <dgm:spPr/>
    </dgm:pt>
    <dgm:pt modelId="{5A09448D-A81D-41DD-AAB8-90FA2757AAB8}" type="pres">
      <dgm:prSet presAssocID="{7084F82D-A2E3-4AFF-ACA2-102A5C3655CA}" presName="accentRepeatNode" presStyleLbl="solidFgAcc1" presStyleIdx="0" presStyleCnt="3"/>
      <dgm:spPr/>
    </dgm:pt>
    <dgm:pt modelId="{46C2809A-8F59-4FD6-AE66-2B52C83723C4}" type="pres">
      <dgm:prSet presAssocID="{72D1F4A2-93F3-4999-976A-F037FDC71DCE}" presName="text_2" presStyleLbl="node1" presStyleIdx="1" presStyleCnt="3" custScaleX="103421" custScaleY="112500" custLinFactNeighborX="387" custLinFactNeighborY="-524">
        <dgm:presLayoutVars>
          <dgm:bulletEnabled val="1"/>
        </dgm:presLayoutVars>
      </dgm:prSet>
      <dgm:spPr/>
      <dgm:t>
        <a:bodyPr/>
        <a:lstStyle/>
        <a:p>
          <a:endParaRPr lang="de-AT"/>
        </a:p>
      </dgm:t>
    </dgm:pt>
    <dgm:pt modelId="{FAADD617-97CB-4F0A-B3F8-685A06A92E90}" type="pres">
      <dgm:prSet presAssocID="{72D1F4A2-93F3-4999-976A-F037FDC71DCE}" presName="accent_2" presStyleCnt="0"/>
      <dgm:spPr/>
    </dgm:pt>
    <dgm:pt modelId="{BE8DF3AA-E870-4C6F-A909-44AAAC65DFE9}" type="pres">
      <dgm:prSet presAssocID="{72D1F4A2-93F3-4999-976A-F037FDC71DCE}" presName="accentRepeatNode" presStyleLbl="solidFgAcc1" presStyleIdx="1" presStyleCnt="3"/>
      <dgm:spPr/>
    </dgm:pt>
    <dgm:pt modelId="{348F5C18-3B0D-4E6D-826E-4BF597EC1069}" type="pres">
      <dgm:prSet presAssocID="{5409E241-CF0D-452A-B6A7-157788F3ED67}" presName="text_3" presStyleLbl="node1" presStyleIdx="2" presStyleCnt="3" custScaleX="103983" custScaleY="112500" custLinFactNeighborX="-6">
        <dgm:presLayoutVars>
          <dgm:bulletEnabled val="1"/>
        </dgm:presLayoutVars>
      </dgm:prSet>
      <dgm:spPr/>
      <dgm:t>
        <a:bodyPr/>
        <a:lstStyle/>
        <a:p>
          <a:endParaRPr lang="de-AT"/>
        </a:p>
      </dgm:t>
    </dgm:pt>
    <dgm:pt modelId="{BA2DCB7E-78EB-4CB4-8AE3-3A5365F9F67B}" type="pres">
      <dgm:prSet presAssocID="{5409E241-CF0D-452A-B6A7-157788F3ED67}" presName="accent_3" presStyleCnt="0"/>
      <dgm:spPr/>
    </dgm:pt>
    <dgm:pt modelId="{8A0086AA-A436-46FC-AB8B-EC54FF81B800}" type="pres">
      <dgm:prSet presAssocID="{5409E241-CF0D-452A-B6A7-157788F3ED67}" presName="accentRepeatNode" presStyleLbl="solidFgAcc1" presStyleIdx="2" presStyleCnt="3"/>
      <dgm:spPr/>
    </dgm:pt>
  </dgm:ptLst>
  <dgm:cxnLst>
    <dgm:cxn modelId="{CA1EDAF7-D38B-4944-BD6D-311CFBCBF2BE}" srcId="{6D40A66D-AF07-42BA-BB5F-B8D3189229E3}" destId="{5409E241-CF0D-452A-B6A7-157788F3ED67}" srcOrd="2" destOrd="0" parTransId="{7827B11F-B436-45C0-8D8A-E22CEA492B5F}" sibTransId="{71BC5481-7B50-418F-840D-B1B46F0ABF34}"/>
    <dgm:cxn modelId="{5BAEB67E-3CAA-43A8-89FC-688930717196}" type="presOf" srcId="{6D40A66D-AF07-42BA-BB5F-B8D3189229E3}" destId="{D2E14C5E-D703-4FBC-9A57-092616149236}" srcOrd="0" destOrd="0" presId="urn:microsoft.com/office/officeart/2008/layout/VerticalCurvedList"/>
    <dgm:cxn modelId="{5B63E0EF-E8ED-4D05-BDBB-2CD3B9B12F52}" type="presOf" srcId="{0E457205-6B95-4CE3-9ECD-C2A269C3E93F}" destId="{52DCA34A-B4FA-4CCA-87F9-0FA466A5747A}" srcOrd="0" destOrd="0" presId="urn:microsoft.com/office/officeart/2008/layout/VerticalCurvedList"/>
    <dgm:cxn modelId="{E335711D-C6B5-44E7-92C5-F056E92BF53F}" srcId="{6D40A66D-AF07-42BA-BB5F-B8D3189229E3}" destId="{72D1F4A2-93F3-4999-976A-F037FDC71DCE}" srcOrd="1" destOrd="0" parTransId="{4CB35528-9501-4276-978F-DE454BA5072C}" sibTransId="{EC7F60B9-0780-45C5-9944-3C0803C90008}"/>
    <dgm:cxn modelId="{5C83154C-63C2-432D-8D97-81A88A01FC2C}" srcId="{6D40A66D-AF07-42BA-BB5F-B8D3189229E3}" destId="{7084F82D-A2E3-4AFF-ACA2-102A5C3655CA}" srcOrd="0" destOrd="0" parTransId="{FB473E50-B1F3-4266-BF76-78A343E369E6}" sibTransId="{0E457205-6B95-4CE3-9ECD-C2A269C3E93F}"/>
    <dgm:cxn modelId="{3EAD1576-F8C2-4520-9887-2940C5407C46}" type="presOf" srcId="{5409E241-CF0D-452A-B6A7-157788F3ED67}" destId="{348F5C18-3B0D-4E6D-826E-4BF597EC1069}" srcOrd="0" destOrd="0" presId="urn:microsoft.com/office/officeart/2008/layout/VerticalCurvedList"/>
    <dgm:cxn modelId="{C86FC74B-9EF6-44A3-B532-5BF32EEC7101}" type="presOf" srcId="{72D1F4A2-93F3-4999-976A-F037FDC71DCE}" destId="{46C2809A-8F59-4FD6-AE66-2B52C83723C4}" srcOrd="0" destOrd="0" presId="urn:microsoft.com/office/officeart/2008/layout/VerticalCurvedList"/>
    <dgm:cxn modelId="{BDCDF64D-445F-40B1-85ED-4142B413F162}" type="presOf" srcId="{7084F82D-A2E3-4AFF-ACA2-102A5C3655CA}" destId="{1B5D9723-5649-4C96-A9CC-EB91DADE0EB8}" srcOrd="0" destOrd="0" presId="urn:microsoft.com/office/officeart/2008/layout/VerticalCurvedList"/>
    <dgm:cxn modelId="{49FD85E4-8744-46C5-8B03-CE930E248A52}" type="presParOf" srcId="{D2E14C5E-D703-4FBC-9A57-092616149236}" destId="{8D647256-55FA-4B14-84FA-A5140B7C1E96}" srcOrd="0" destOrd="0" presId="urn:microsoft.com/office/officeart/2008/layout/VerticalCurvedList"/>
    <dgm:cxn modelId="{8B067CD0-FEB0-4ECA-A98F-4A8E095A3A61}" type="presParOf" srcId="{8D647256-55FA-4B14-84FA-A5140B7C1E96}" destId="{8A4C5436-BB82-459F-8686-501769585F01}" srcOrd="0" destOrd="0" presId="urn:microsoft.com/office/officeart/2008/layout/VerticalCurvedList"/>
    <dgm:cxn modelId="{6C08BCAE-9F7E-42F6-80FD-1BDA7B7C382F}" type="presParOf" srcId="{8A4C5436-BB82-459F-8686-501769585F01}" destId="{202CBB39-B17B-4E72-B06D-67ABFE63FFB7}" srcOrd="0" destOrd="0" presId="urn:microsoft.com/office/officeart/2008/layout/VerticalCurvedList"/>
    <dgm:cxn modelId="{A83FF653-F368-451B-BBAB-EDDDE1B615C1}" type="presParOf" srcId="{8A4C5436-BB82-459F-8686-501769585F01}" destId="{52DCA34A-B4FA-4CCA-87F9-0FA466A5747A}" srcOrd="1" destOrd="0" presId="urn:microsoft.com/office/officeart/2008/layout/VerticalCurvedList"/>
    <dgm:cxn modelId="{7ADBE40D-51B3-4C70-BAC1-F98A6B444DE4}" type="presParOf" srcId="{8A4C5436-BB82-459F-8686-501769585F01}" destId="{0F336D93-AB65-453E-B68F-A926B2BD6702}" srcOrd="2" destOrd="0" presId="urn:microsoft.com/office/officeart/2008/layout/VerticalCurvedList"/>
    <dgm:cxn modelId="{0DC68AA6-3A9F-46D4-B2A0-A73A8034BB10}" type="presParOf" srcId="{8A4C5436-BB82-459F-8686-501769585F01}" destId="{14D90C84-581B-45CE-8FA2-B91168AB7302}" srcOrd="3" destOrd="0" presId="urn:microsoft.com/office/officeart/2008/layout/VerticalCurvedList"/>
    <dgm:cxn modelId="{0C2FCACB-1678-4BCD-BEBD-FF660F77F7F5}" type="presParOf" srcId="{8D647256-55FA-4B14-84FA-A5140B7C1E96}" destId="{1B5D9723-5649-4C96-A9CC-EB91DADE0EB8}" srcOrd="1" destOrd="0" presId="urn:microsoft.com/office/officeart/2008/layout/VerticalCurvedList"/>
    <dgm:cxn modelId="{55226B01-9B2C-4D8F-89AF-E8328D5717CA}" type="presParOf" srcId="{8D647256-55FA-4B14-84FA-A5140B7C1E96}" destId="{9E192571-C260-4C90-91D5-880D84E4D300}" srcOrd="2" destOrd="0" presId="urn:microsoft.com/office/officeart/2008/layout/VerticalCurvedList"/>
    <dgm:cxn modelId="{8D9ACEB9-5AEC-425E-A5D3-28E1795E4B56}" type="presParOf" srcId="{9E192571-C260-4C90-91D5-880D84E4D300}" destId="{5A09448D-A81D-41DD-AAB8-90FA2757AAB8}" srcOrd="0" destOrd="0" presId="urn:microsoft.com/office/officeart/2008/layout/VerticalCurvedList"/>
    <dgm:cxn modelId="{153F11BC-3CF8-41DC-A546-6511C096EBDE}" type="presParOf" srcId="{8D647256-55FA-4B14-84FA-A5140B7C1E96}" destId="{46C2809A-8F59-4FD6-AE66-2B52C83723C4}" srcOrd="3" destOrd="0" presId="urn:microsoft.com/office/officeart/2008/layout/VerticalCurvedList"/>
    <dgm:cxn modelId="{EE88E65D-A0EE-4FBA-8296-5576702B3DA2}" type="presParOf" srcId="{8D647256-55FA-4B14-84FA-A5140B7C1E96}" destId="{FAADD617-97CB-4F0A-B3F8-685A06A92E90}" srcOrd="4" destOrd="0" presId="urn:microsoft.com/office/officeart/2008/layout/VerticalCurvedList"/>
    <dgm:cxn modelId="{AA1B0CCB-4C5A-414C-A20A-884A6A377124}" type="presParOf" srcId="{FAADD617-97CB-4F0A-B3F8-685A06A92E90}" destId="{BE8DF3AA-E870-4C6F-A909-44AAAC65DFE9}" srcOrd="0" destOrd="0" presId="urn:microsoft.com/office/officeart/2008/layout/VerticalCurvedList"/>
    <dgm:cxn modelId="{392CD4F7-4EB6-4E6D-9E9B-29D46BB7E8DF}" type="presParOf" srcId="{8D647256-55FA-4B14-84FA-A5140B7C1E96}" destId="{348F5C18-3B0D-4E6D-826E-4BF597EC1069}" srcOrd="5" destOrd="0" presId="urn:microsoft.com/office/officeart/2008/layout/VerticalCurvedList"/>
    <dgm:cxn modelId="{6131DAC1-EDEC-4E93-8200-3F13A36D785F}" type="presParOf" srcId="{8D647256-55FA-4B14-84FA-A5140B7C1E96}" destId="{BA2DCB7E-78EB-4CB4-8AE3-3A5365F9F67B}" srcOrd="6" destOrd="0" presId="urn:microsoft.com/office/officeart/2008/layout/VerticalCurvedList"/>
    <dgm:cxn modelId="{596C634C-5D23-46D3-A572-7448A571C4D0}" type="presParOf" srcId="{BA2DCB7E-78EB-4CB4-8AE3-3A5365F9F67B}" destId="{8A0086AA-A436-46FC-AB8B-EC54FF81B800}" srcOrd="0" destOrd="0" presId="urn:microsoft.com/office/officeart/2008/layout/VerticalCurvedList"/>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CDD3F7B-215D-41C5-95E3-878130E0253F}"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07C2906C-9FCD-48F3-9146-DFA2EE32BA3D}">
      <dgm:prSet phldrT="[Text]" custT="1"/>
      <dgm:spPr/>
      <dgm:t>
        <a:bodyPr/>
        <a:lstStyle/>
        <a:p>
          <a:r>
            <a:rPr lang="en-US" sz="2400" dirty="0" err="1">
              <a:latin typeface="Tahoma" panose="020B0604030504040204" pitchFamily="34" charset="0"/>
              <a:ea typeface="Tahoma" panose="020B0604030504040204" pitchFamily="34" charset="0"/>
              <a:cs typeface="Tahoma" panose="020B0604030504040204" pitchFamily="34" charset="0"/>
            </a:rPr>
            <a:t>Generationen</a:t>
          </a:r>
          <a:endParaRPr lang="en-US" sz="2400" dirty="0">
            <a:latin typeface="Tahoma" panose="020B0604030504040204" pitchFamily="34" charset="0"/>
            <a:ea typeface="Tahoma" panose="020B0604030504040204" pitchFamily="34" charset="0"/>
            <a:cs typeface="Tahoma" panose="020B0604030504040204" pitchFamily="34" charset="0"/>
          </a:endParaRPr>
        </a:p>
      </dgm:t>
    </dgm:pt>
    <dgm:pt modelId="{AADF01FE-FC5D-4ED5-BE37-720901ABA7F0}" type="parTrans" cxnId="{451FEFBB-40C6-4043-827E-7533F6CD1C69}">
      <dgm:prSet/>
      <dgm:spPr/>
      <dgm:t>
        <a:bodyPr/>
        <a:lstStyle/>
        <a:p>
          <a:endParaRPr lang="en-US" sz="2400"/>
        </a:p>
      </dgm:t>
    </dgm:pt>
    <dgm:pt modelId="{323F6479-4319-48D5-9796-B22C56FD801E}" type="sibTrans" cxnId="{451FEFBB-40C6-4043-827E-7533F6CD1C69}">
      <dgm:prSet/>
      <dgm:spPr/>
      <dgm:t>
        <a:bodyPr/>
        <a:lstStyle/>
        <a:p>
          <a:endParaRPr lang="en-US" sz="2400"/>
        </a:p>
      </dgm:t>
    </dgm:pt>
    <dgm:pt modelId="{00344A2C-9742-46C0-9801-8353DA3697A5}">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kollektive Erfahrungen und gesellschaftliche Entwicklungen</a:t>
          </a:r>
          <a:endParaRPr lang="en-US" sz="2400" dirty="0"/>
        </a:p>
      </dgm:t>
    </dgm:pt>
    <dgm:pt modelId="{26054CF1-807F-4F09-B47B-C51B5BF12201}" type="parTrans" cxnId="{E708A050-B049-4551-8B6D-B82AEB69DC92}">
      <dgm:prSet/>
      <dgm:spPr/>
      <dgm:t>
        <a:bodyPr/>
        <a:lstStyle/>
        <a:p>
          <a:endParaRPr lang="en-US" sz="2400"/>
        </a:p>
      </dgm:t>
    </dgm:pt>
    <dgm:pt modelId="{7FAA55D0-8735-4D53-AD96-D17F41E1FC7F}" type="sibTrans" cxnId="{E708A050-B049-4551-8B6D-B82AEB69DC92}">
      <dgm:prSet/>
      <dgm:spPr/>
      <dgm:t>
        <a:bodyPr/>
        <a:lstStyle/>
        <a:p>
          <a:endParaRPr lang="en-US" sz="2400"/>
        </a:p>
      </dgm:t>
    </dgm:pt>
    <dgm:pt modelId="{056EE372-2633-4C59-9B87-D0BB49338495}">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gemeinsame Wertvorstellungen als konstituierendes Merkmal</a:t>
          </a:r>
          <a:endParaRPr lang="en-US" sz="2400" dirty="0"/>
        </a:p>
      </dgm:t>
    </dgm:pt>
    <dgm:pt modelId="{4BD7EEC0-CD1A-440C-847E-36C6A6DB901D}" type="parTrans" cxnId="{1896DDA7-5E40-44C8-9625-ABE6A43FA1AC}">
      <dgm:prSet/>
      <dgm:spPr/>
      <dgm:t>
        <a:bodyPr/>
        <a:lstStyle/>
        <a:p>
          <a:endParaRPr lang="en-US" sz="2400"/>
        </a:p>
      </dgm:t>
    </dgm:pt>
    <dgm:pt modelId="{7D2618CE-F56F-476B-9575-61712E6D3A8B}" type="sibTrans" cxnId="{1896DDA7-5E40-44C8-9625-ABE6A43FA1AC}">
      <dgm:prSet/>
      <dgm:spPr/>
      <dgm:t>
        <a:bodyPr/>
        <a:lstStyle/>
        <a:p>
          <a:endParaRPr lang="en-US" sz="2400"/>
        </a:p>
      </dgm:t>
    </dgm:pt>
    <dgm:pt modelId="{5BF6F778-C350-455B-8BDF-D4E0BB0178E8}">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Besonders prägend wirken Ereignisse der formativen Lebensphase.</a:t>
          </a:r>
          <a:endParaRPr lang="en-US" sz="2400" dirty="0"/>
        </a:p>
      </dgm:t>
    </dgm:pt>
    <dgm:pt modelId="{0892DBA9-1480-4C9B-8F5E-AD8ABB46E210}" type="parTrans" cxnId="{EE2975EE-38FC-492C-80CE-CD75CA4C3C3D}">
      <dgm:prSet/>
      <dgm:spPr/>
      <dgm:t>
        <a:bodyPr/>
        <a:lstStyle/>
        <a:p>
          <a:endParaRPr lang="en-US" sz="2400"/>
        </a:p>
      </dgm:t>
    </dgm:pt>
    <dgm:pt modelId="{12CF0CE5-A95C-4600-B73D-781AA97E1F38}" type="sibTrans" cxnId="{EE2975EE-38FC-492C-80CE-CD75CA4C3C3D}">
      <dgm:prSet/>
      <dgm:spPr/>
      <dgm:t>
        <a:bodyPr/>
        <a:lstStyle/>
        <a:p>
          <a:endParaRPr lang="en-US" sz="2400"/>
        </a:p>
      </dgm:t>
    </dgm:pt>
    <dgm:pt modelId="{1A1CD55D-0826-45BE-AD7E-21D478870983}" type="pres">
      <dgm:prSet presAssocID="{9CDD3F7B-215D-41C5-95E3-878130E0253F}" presName="cycle" presStyleCnt="0">
        <dgm:presLayoutVars>
          <dgm:chMax val="1"/>
          <dgm:dir/>
          <dgm:animLvl val="ctr"/>
          <dgm:resizeHandles val="exact"/>
        </dgm:presLayoutVars>
      </dgm:prSet>
      <dgm:spPr/>
      <dgm:t>
        <a:bodyPr/>
        <a:lstStyle/>
        <a:p>
          <a:endParaRPr lang="de-AT"/>
        </a:p>
      </dgm:t>
    </dgm:pt>
    <dgm:pt modelId="{7CB90458-B28D-4E19-A44B-8A10315410EE}" type="pres">
      <dgm:prSet presAssocID="{07C2906C-9FCD-48F3-9146-DFA2EE32BA3D}" presName="centerShape" presStyleLbl="node0" presStyleIdx="0" presStyleCnt="1" custScaleX="122326" custScaleY="119106" custLinFactNeighborX="1350" custLinFactNeighborY="489"/>
      <dgm:spPr/>
      <dgm:t>
        <a:bodyPr/>
        <a:lstStyle/>
        <a:p>
          <a:endParaRPr lang="de-AT"/>
        </a:p>
      </dgm:t>
    </dgm:pt>
    <dgm:pt modelId="{CE99C913-C547-41CA-A232-E6222CF8B461}" type="pres">
      <dgm:prSet presAssocID="{26054CF1-807F-4F09-B47B-C51B5BF12201}" presName="parTrans" presStyleLbl="bgSibTrans2D1" presStyleIdx="0" presStyleCnt="3" custScaleX="112828"/>
      <dgm:spPr/>
      <dgm:t>
        <a:bodyPr/>
        <a:lstStyle/>
        <a:p>
          <a:endParaRPr lang="de-AT"/>
        </a:p>
      </dgm:t>
    </dgm:pt>
    <dgm:pt modelId="{C75874E3-5903-4FB5-8E40-AC263F7B682C}" type="pres">
      <dgm:prSet presAssocID="{00344A2C-9742-46C0-9801-8353DA3697A5}" presName="node" presStyleLbl="node1" presStyleIdx="0" presStyleCnt="3" custScaleX="134996" custRadScaleRad="114319" custRadScaleInc="-7670">
        <dgm:presLayoutVars>
          <dgm:bulletEnabled val="1"/>
        </dgm:presLayoutVars>
      </dgm:prSet>
      <dgm:spPr/>
      <dgm:t>
        <a:bodyPr/>
        <a:lstStyle/>
        <a:p>
          <a:endParaRPr lang="de-AT"/>
        </a:p>
      </dgm:t>
    </dgm:pt>
    <dgm:pt modelId="{AB5A35AC-42B6-42A5-9C33-BDA7D5D00F14}" type="pres">
      <dgm:prSet presAssocID="{4BD7EEC0-CD1A-440C-847E-36C6A6DB901D}" presName="parTrans" presStyleLbl="bgSibTrans2D1" presStyleIdx="1" presStyleCnt="3"/>
      <dgm:spPr/>
      <dgm:t>
        <a:bodyPr/>
        <a:lstStyle/>
        <a:p>
          <a:endParaRPr lang="de-AT"/>
        </a:p>
      </dgm:t>
    </dgm:pt>
    <dgm:pt modelId="{BDBA632C-1CE8-4DF5-B5D6-382FCED6D36E}" type="pres">
      <dgm:prSet presAssocID="{056EE372-2633-4C59-9B87-D0BB49338495}" presName="node" presStyleLbl="node1" presStyleIdx="1" presStyleCnt="3" custScaleX="132259" custRadScaleRad="98949" custRadScaleInc="-4038">
        <dgm:presLayoutVars>
          <dgm:bulletEnabled val="1"/>
        </dgm:presLayoutVars>
      </dgm:prSet>
      <dgm:spPr/>
      <dgm:t>
        <a:bodyPr/>
        <a:lstStyle/>
        <a:p>
          <a:endParaRPr lang="de-AT"/>
        </a:p>
      </dgm:t>
    </dgm:pt>
    <dgm:pt modelId="{AFB50AF4-BE91-44B4-916F-34CF16879142}" type="pres">
      <dgm:prSet presAssocID="{0892DBA9-1480-4C9B-8F5E-AD8ABB46E210}" presName="parTrans" presStyleLbl="bgSibTrans2D1" presStyleIdx="2" presStyleCnt="3" custLinFactNeighborX="-7048" custLinFactNeighborY="4953"/>
      <dgm:spPr/>
      <dgm:t>
        <a:bodyPr/>
        <a:lstStyle/>
        <a:p>
          <a:endParaRPr lang="de-AT"/>
        </a:p>
      </dgm:t>
    </dgm:pt>
    <dgm:pt modelId="{8624A7A0-27AB-4777-B2B7-1E8C17BDCE1E}" type="pres">
      <dgm:prSet presAssocID="{5BF6F778-C350-455B-8BDF-D4E0BB0178E8}" presName="node" presStyleLbl="node1" presStyleIdx="2" presStyleCnt="3" custScaleX="145380" custRadScaleRad="121007" custRadScaleInc="-2015">
        <dgm:presLayoutVars>
          <dgm:bulletEnabled val="1"/>
        </dgm:presLayoutVars>
      </dgm:prSet>
      <dgm:spPr/>
      <dgm:t>
        <a:bodyPr/>
        <a:lstStyle/>
        <a:p>
          <a:endParaRPr lang="de-AT"/>
        </a:p>
      </dgm:t>
    </dgm:pt>
  </dgm:ptLst>
  <dgm:cxnLst>
    <dgm:cxn modelId="{7594F095-CF0F-4132-9470-AF7BE2B8D7B1}" type="presOf" srcId="{9CDD3F7B-215D-41C5-95E3-878130E0253F}" destId="{1A1CD55D-0826-45BE-AD7E-21D478870983}" srcOrd="0" destOrd="0" presId="urn:microsoft.com/office/officeart/2005/8/layout/radial4"/>
    <dgm:cxn modelId="{EE2975EE-38FC-492C-80CE-CD75CA4C3C3D}" srcId="{07C2906C-9FCD-48F3-9146-DFA2EE32BA3D}" destId="{5BF6F778-C350-455B-8BDF-D4E0BB0178E8}" srcOrd="2" destOrd="0" parTransId="{0892DBA9-1480-4C9B-8F5E-AD8ABB46E210}" sibTransId="{12CF0CE5-A95C-4600-B73D-781AA97E1F38}"/>
    <dgm:cxn modelId="{1C861953-ED77-4F39-8751-4B39D06330E3}" type="presOf" srcId="{0892DBA9-1480-4C9B-8F5E-AD8ABB46E210}" destId="{AFB50AF4-BE91-44B4-916F-34CF16879142}" srcOrd="0" destOrd="0" presId="urn:microsoft.com/office/officeart/2005/8/layout/radial4"/>
    <dgm:cxn modelId="{AB3AB467-2FC5-4322-8DDF-90300331A566}" type="presOf" srcId="{4BD7EEC0-CD1A-440C-847E-36C6A6DB901D}" destId="{AB5A35AC-42B6-42A5-9C33-BDA7D5D00F14}" srcOrd="0" destOrd="0" presId="urn:microsoft.com/office/officeart/2005/8/layout/radial4"/>
    <dgm:cxn modelId="{451FEFBB-40C6-4043-827E-7533F6CD1C69}" srcId="{9CDD3F7B-215D-41C5-95E3-878130E0253F}" destId="{07C2906C-9FCD-48F3-9146-DFA2EE32BA3D}" srcOrd="0" destOrd="0" parTransId="{AADF01FE-FC5D-4ED5-BE37-720901ABA7F0}" sibTransId="{323F6479-4319-48D5-9796-B22C56FD801E}"/>
    <dgm:cxn modelId="{FEFB1116-A2B5-46C2-A0F8-7A40F658A29D}" type="presOf" srcId="{07C2906C-9FCD-48F3-9146-DFA2EE32BA3D}" destId="{7CB90458-B28D-4E19-A44B-8A10315410EE}" srcOrd="0" destOrd="0" presId="urn:microsoft.com/office/officeart/2005/8/layout/radial4"/>
    <dgm:cxn modelId="{E708A050-B049-4551-8B6D-B82AEB69DC92}" srcId="{07C2906C-9FCD-48F3-9146-DFA2EE32BA3D}" destId="{00344A2C-9742-46C0-9801-8353DA3697A5}" srcOrd="0" destOrd="0" parTransId="{26054CF1-807F-4F09-B47B-C51B5BF12201}" sibTransId="{7FAA55D0-8735-4D53-AD96-D17F41E1FC7F}"/>
    <dgm:cxn modelId="{D7B60E63-27B5-4AE6-8083-B455287D6D0D}" type="presOf" srcId="{26054CF1-807F-4F09-B47B-C51B5BF12201}" destId="{CE99C913-C547-41CA-A232-E6222CF8B461}" srcOrd="0" destOrd="0" presId="urn:microsoft.com/office/officeart/2005/8/layout/radial4"/>
    <dgm:cxn modelId="{E04C6AA7-A47A-411B-895C-E58704366AA7}" type="presOf" srcId="{5BF6F778-C350-455B-8BDF-D4E0BB0178E8}" destId="{8624A7A0-27AB-4777-B2B7-1E8C17BDCE1E}" srcOrd="0" destOrd="0" presId="urn:microsoft.com/office/officeart/2005/8/layout/radial4"/>
    <dgm:cxn modelId="{9579FB14-88DD-4FAA-88C4-CD6C89E979E4}" type="presOf" srcId="{00344A2C-9742-46C0-9801-8353DA3697A5}" destId="{C75874E3-5903-4FB5-8E40-AC263F7B682C}" srcOrd="0" destOrd="0" presId="urn:microsoft.com/office/officeart/2005/8/layout/radial4"/>
    <dgm:cxn modelId="{A42B7C36-1568-4ED0-8E7F-10A67AAE864F}" type="presOf" srcId="{056EE372-2633-4C59-9B87-D0BB49338495}" destId="{BDBA632C-1CE8-4DF5-B5D6-382FCED6D36E}" srcOrd="0" destOrd="0" presId="urn:microsoft.com/office/officeart/2005/8/layout/radial4"/>
    <dgm:cxn modelId="{1896DDA7-5E40-44C8-9625-ABE6A43FA1AC}" srcId="{07C2906C-9FCD-48F3-9146-DFA2EE32BA3D}" destId="{056EE372-2633-4C59-9B87-D0BB49338495}" srcOrd="1" destOrd="0" parTransId="{4BD7EEC0-CD1A-440C-847E-36C6A6DB901D}" sibTransId="{7D2618CE-F56F-476B-9575-61712E6D3A8B}"/>
    <dgm:cxn modelId="{30AE8A6E-75D3-4D0F-8929-7B7A6C16C7D4}" type="presParOf" srcId="{1A1CD55D-0826-45BE-AD7E-21D478870983}" destId="{7CB90458-B28D-4E19-A44B-8A10315410EE}" srcOrd="0" destOrd="0" presId="urn:microsoft.com/office/officeart/2005/8/layout/radial4"/>
    <dgm:cxn modelId="{3D998E95-7D47-4B5A-B7BA-588C8EC84BE5}" type="presParOf" srcId="{1A1CD55D-0826-45BE-AD7E-21D478870983}" destId="{CE99C913-C547-41CA-A232-E6222CF8B461}" srcOrd="1" destOrd="0" presId="urn:microsoft.com/office/officeart/2005/8/layout/radial4"/>
    <dgm:cxn modelId="{CD3A8AF6-CA51-42F5-90AD-B4FE75B804B9}" type="presParOf" srcId="{1A1CD55D-0826-45BE-AD7E-21D478870983}" destId="{C75874E3-5903-4FB5-8E40-AC263F7B682C}" srcOrd="2" destOrd="0" presId="urn:microsoft.com/office/officeart/2005/8/layout/radial4"/>
    <dgm:cxn modelId="{C3746531-FC72-4B73-B54A-9B434B016706}" type="presParOf" srcId="{1A1CD55D-0826-45BE-AD7E-21D478870983}" destId="{AB5A35AC-42B6-42A5-9C33-BDA7D5D00F14}" srcOrd="3" destOrd="0" presId="urn:microsoft.com/office/officeart/2005/8/layout/radial4"/>
    <dgm:cxn modelId="{3F0FA9CC-F3F4-449F-9C7E-F2A42A5FC28D}" type="presParOf" srcId="{1A1CD55D-0826-45BE-AD7E-21D478870983}" destId="{BDBA632C-1CE8-4DF5-B5D6-382FCED6D36E}" srcOrd="4" destOrd="0" presId="urn:microsoft.com/office/officeart/2005/8/layout/radial4"/>
    <dgm:cxn modelId="{A03F6733-31BE-4C6D-B9EB-A7C039F60796}" type="presParOf" srcId="{1A1CD55D-0826-45BE-AD7E-21D478870983}" destId="{AFB50AF4-BE91-44B4-916F-34CF16879142}" srcOrd="5" destOrd="0" presId="urn:microsoft.com/office/officeart/2005/8/layout/radial4"/>
    <dgm:cxn modelId="{1A8D23E0-713E-4225-AB7F-580296F51469}" type="presParOf" srcId="{1A1CD55D-0826-45BE-AD7E-21D478870983}" destId="{8624A7A0-27AB-4777-B2B7-1E8C17BDCE1E}" srcOrd="6" destOrd="0" presId="urn:microsoft.com/office/officeart/2005/8/layout/radial4"/>
  </dgm:cxnLst>
  <dgm:bg/>
  <dgm:whole/>
  <dgm:extLst>
    <a:ext uri="{C62137D5-CB1D-491B-B009-E17868A290BF}">
      <dgm14:recolorImg xmlns:dgm14="http://schemas.microsoft.com/office/drawing/2010/diagram" xmlns="" val="1"/>
    </a:ex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BCC7E39-0D7E-40EF-8644-5952CC2784F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158489C2-CD9D-44AC-BD61-039492B87ED1}">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Instrumente und Maßnahmen – körperliche und seelische Gesundheit der MA</a:t>
          </a:r>
        </a:p>
      </dgm:t>
    </dgm:pt>
    <dgm:pt modelId="{3CB42423-6599-41BC-80F0-E50246545DA2}" type="parTrans" cxnId="{D75DDC54-DA3F-4F67-9E1D-0ABE6A18A1C3}">
      <dgm:prSet/>
      <dgm:spPr/>
      <dgm:t>
        <a:bodyPr/>
        <a:lstStyle/>
        <a:p>
          <a:endParaRPr lang="de-DE" sz="2400"/>
        </a:p>
      </dgm:t>
    </dgm:pt>
    <dgm:pt modelId="{3C8ED606-29FA-43D3-ABE2-28C9DF727E98}" type="sibTrans" cxnId="{D75DDC54-DA3F-4F67-9E1D-0ABE6A18A1C3}">
      <dgm:prSet/>
      <dgm:spPr/>
      <dgm:t>
        <a:bodyPr/>
        <a:lstStyle/>
        <a:p>
          <a:endParaRPr lang="de-DE" sz="2400"/>
        </a:p>
      </dgm:t>
    </dgm:pt>
    <dgm:pt modelId="{3D99D331-0498-427B-BB85-17FD16D1DFAF}">
      <dgm:prSet phldrT="[Text]" custT="1"/>
      <dgm:spPr/>
      <dgm:t>
        <a:bodyPr/>
        <a:lstStyle/>
        <a:p>
          <a:r>
            <a:rPr lang="de-DE" sz="2400" dirty="0">
              <a:latin typeface="Tahoma" panose="020B0604030504040204" pitchFamily="34" charset="0"/>
              <a:ea typeface="Tahoma" panose="020B0604030504040204" pitchFamily="34" charset="0"/>
              <a:cs typeface="Tahoma" panose="020B0604030504040204" pitchFamily="34" charset="0"/>
            </a:rPr>
            <a:t>Gesunde Menschen – agiles, dynamisches Unternehmen</a:t>
          </a:r>
        </a:p>
      </dgm:t>
    </dgm:pt>
    <dgm:pt modelId="{74B57A07-B499-4492-99A0-7F4C1720B747}" type="parTrans" cxnId="{17E520B0-F391-489C-B08F-D5C1F2234BA6}">
      <dgm:prSet/>
      <dgm:spPr/>
      <dgm:t>
        <a:bodyPr/>
        <a:lstStyle/>
        <a:p>
          <a:endParaRPr lang="de-DE" sz="2400"/>
        </a:p>
      </dgm:t>
    </dgm:pt>
    <dgm:pt modelId="{5579C937-EB24-4062-BE2D-A80316F280CD}" type="sibTrans" cxnId="{17E520B0-F391-489C-B08F-D5C1F2234BA6}">
      <dgm:prSet/>
      <dgm:spPr/>
      <dgm:t>
        <a:bodyPr/>
        <a:lstStyle/>
        <a:p>
          <a:endParaRPr lang="de-DE" sz="2400"/>
        </a:p>
      </dgm:t>
    </dgm:pt>
    <dgm:pt modelId="{92DF507E-AE2F-4DCD-918A-0F38444C5BF9}">
      <dgm:prSet phldrT="[Text]" custT="1"/>
      <dgm:spPr/>
      <dgm:t>
        <a:bodyPr/>
        <a:lstStyle/>
        <a:p>
          <a:r>
            <a:rPr lang="de-DE" sz="2400" dirty="0" err="1">
              <a:latin typeface="Tahoma" panose="020B0604030504040204" pitchFamily="34" charset="0"/>
              <a:ea typeface="Tahoma" panose="020B0604030504040204" pitchFamily="34" charset="0"/>
              <a:cs typeface="Tahoma" panose="020B0604030504040204" pitchFamily="34" charset="0"/>
            </a:rPr>
            <a:t>Salutogenetischer</a:t>
          </a:r>
          <a:r>
            <a:rPr lang="de-DE" sz="2400" dirty="0">
              <a:latin typeface="Tahoma" panose="020B0604030504040204" pitchFamily="34" charset="0"/>
              <a:ea typeface="Tahoma" panose="020B0604030504040204" pitchFamily="34" charset="0"/>
              <a:cs typeface="Tahoma" panose="020B0604030504040204" pitchFamily="34" charset="0"/>
            </a:rPr>
            <a:t> Ansatz: 1970er, A. </a:t>
          </a:r>
          <a:r>
            <a:rPr lang="de-DE" sz="2400" dirty="0" err="1">
              <a:latin typeface="Tahoma" panose="020B0604030504040204" pitchFamily="34" charset="0"/>
              <a:ea typeface="Tahoma" panose="020B0604030504040204" pitchFamily="34" charset="0"/>
              <a:cs typeface="Tahoma" panose="020B0604030504040204" pitchFamily="34" charset="0"/>
            </a:rPr>
            <a:t>Antonovsky</a:t>
          </a:r>
          <a:r>
            <a:rPr lang="de-DE" sz="2400" dirty="0">
              <a:latin typeface="Tahoma" panose="020B0604030504040204" pitchFamily="34" charset="0"/>
              <a:ea typeface="Tahoma" panose="020B0604030504040204" pitchFamily="34" charset="0"/>
              <a:cs typeface="Tahoma" panose="020B0604030504040204" pitchFamily="34" charset="0"/>
            </a:rPr>
            <a:t>: Was erhält den Menschen gesund?</a:t>
          </a:r>
        </a:p>
      </dgm:t>
    </dgm:pt>
    <dgm:pt modelId="{E5A0C77D-55FA-4E14-8250-B206031C0245}" type="parTrans" cxnId="{C329101E-1577-4387-B418-6AC55C9BD5D1}">
      <dgm:prSet/>
      <dgm:spPr/>
      <dgm:t>
        <a:bodyPr/>
        <a:lstStyle/>
        <a:p>
          <a:endParaRPr lang="de-DE" sz="2400"/>
        </a:p>
      </dgm:t>
    </dgm:pt>
    <dgm:pt modelId="{D5A05AE8-4477-4A6F-A1E4-AD9B6F919C97}" type="sibTrans" cxnId="{C329101E-1577-4387-B418-6AC55C9BD5D1}">
      <dgm:prSet/>
      <dgm:spPr/>
      <dgm:t>
        <a:bodyPr/>
        <a:lstStyle/>
        <a:p>
          <a:endParaRPr lang="de-DE" sz="2400"/>
        </a:p>
      </dgm:t>
    </dgm:pt>
    <dgm:pt modelId="{EAC07D8A-46AC-4E41-AE97-AD92DD84C849}" type="pres">
      <dgm:prSet presAssocID="{9BCC7E39-0D7E-40EF-8644-5952CC2784F3}" presName="linear" presStyleCnt="0">
        <dgm:presLayoutVars>
          <dgm:dir/>
          <dgm:animLvl val="lvl"/>
          <dgm:resizeHandles val="exact"/>
        </dgm:presLayoutVars>
      </dgm:prSet>
      <dgm:spPr/>
      <dgm:t>
        <a:bodyPr/>
        <a:lstStyle/>
        <a:p>
          <a:endParaRPr lang="de-AT"/>
        </a:p>
      </dgm:t>
    </dgm:pt>
    <dgm:pt modelId="{522D9DEB-3D7A-440A-A890-A028FB3450C9}" type="pres">
      <dgm:prSet presAssocID="{158489C2-CD9D-44AC-BD61-039492B87ED1}" presName="parentLin" presStyleCnt="0"/>
      <dgm:spPr/>
    </dgm:pt>
    <dgm:pt modelId="{CC68C19A-0833-4CBC-A3AC-C069A655DF74}" type="pres">
      <dgm:prSet presAssocID="{158489C2-CD9D-44AC-BD61-039492B87ED1}" presName="parentLeftMargin" presStyleLbl="node1" presStyleIdx="0" presStyleCnt="3"/>
      <dgm:spPr/>
      <dgm:t>
        <a:bodyPr/>
        <a:lstStyle/>
        <a:p>
          <a:endParaRPr lang="de-AT"/>
        </a:p>
      </dgm:t>
    </dgm:pt>
    <dgm:pt modelId="{F86FF3AC-D829-4E33-921E-C360ED304E38}" type="pres">
      <dgm:prSet presAssocID="{158489C2-CD9D-44AC-BD61-039492B87ED1}" presName="parentText" presStyleLbl="node1" presStyleIdx="0" presStyleCnt="3" custScaleX="128065" custScaleY="425915">
        <dgm:presLayoutVars>
          <dgm:chMax val="0"/>
          <dgm:bulletEnabled val="1"/>
        </dgm:presLayoutVars>
      </dgm:prSet>
      <dgm:spPr/>
      <dgm:t>
        <a:bodyPr/>
        <a:lstStyle/>
        <a:p>
          <a:endParaRPr lang="de-AT"/>
        </a:p>
      </dgm:t>
    </dgm:pt>
    <dgm:pt modelId="{19F50B48-988F-4DB3-ADFE-E68AA63B995E}" type="pres">
      <dgm:prSet presAssocID="{158489C2-CD9D-44AC-BD61-039492B87ED1}" presName="negativeSpace" presStyleCnt="0"/>
      <dgm:spPr/>
    </dgm:pt>
    <dgm:pt modelId="{2BEA7D67-7762-46D1-AC05-551EA65AFA32}" type="pres">
      <dgm:prSet presAssocID="{158489C2-CD9D-44AC-BD61-039492B87ED1}" presName="childText" presStyleLbl="conFgAcc1" presStyleIdx="0" presStyleCnt="3">
        <dgm:presLayoutVars>
          <dgm:bulletEnabled val="1"/>
        </dgm:presLayoutVars>
      </dgm:prSet>
      <dgm:spPr/>
    </dgm:pt>
    <dgm:pt modelId="{88E1091E-ED30-48E6-BF5A-6CF99B9A37BC}" type="pres">
      <dgm:prSet presAssocID="{3C8ED606-29FA-43D3-ABE2-28C9DF727E98}" presName="spaceBetweenRectangles" presStyleCnt="0"/>
      <dgm:spPr/>
    </dgm:pt>
    <dgm:pt modelId="{4BD8459B-3558-4E3A-8BA6-1993963C0480}" type="pres">
      <dgm:prSet presAssocID="{3D99D331-0498-427B-BB85-17FD16D1DFAF}" presName="parentLin" presStyleCnt="0"/>
      <dgm:spPr/>
    </dgm:pt>
    <dgm:pt modelId="{0BE13040-1AC9-4F1B-8338-09609AFA98C4}" type="pres">
      <dgm:prSet presAssocID="{3D99D331-0498-427B-BB85-17FD16D1DFAF}" presName="parentLeftMargin" presStyleLbl="node1" presStyleIdx="0" presStyleCnt="3"/>
      <dgm:spPr/>
      <dgm:t>
        <a:bodyPr/>
        <a:lstStyle/>
        <a:p>
          <a:endParaRPr lang="de-AT"/>
        </a:p>
      </dgm:t>
    </dgm:pt>
    <dgm:pt modelId="{17623F08-C284-4231-85E4-91D5D995718A}" type="pres">
      <dgm:prSet presAssocID="{3D99D331-0498-427B-BB85-17FD16D1DFAF}" presName="parentText" presStyleLbl="node1" presStyleIdx="1" presStyleCnt="3" custScaleX="128065" custScaleY="425915">
        <dgm:presLayoutVars>
          <dgm:chMax val="0"/>
          <dgm:bulletEnabled val="1"/>
        </dgm:presLayoutVars>
      </dgm:prSet>
      <dgm:spPr/>
      <dgm:t>
        <a:bodyPr/>
        <a:lstStyle/>
        <a:p>
          <a:endParaRPr lang="de-AT"/>
        </a:p>
      </dgm:t>
    </dgm:pt>
    <dgm:pt modelId="{05104BF2-6E9F-4AF0-B44C-097067CD4891}" type="pres">
      <dgm:prSet presAssocID="{3D99D331-0498-427B-BB85-17FD16D1DFAF}" presName="negativeSpace" presStyleCnt="0"/>
      <dgm:spPr/>
    </dgm:pt>
    <dgm:pt modelId="{579C4E3D-9A16-46B8-8AB3-098783CC44F1}" type="pres">
      <dgm:prSet presAssocID="{3D99D331-0498-427B-BB85-17FD16D1DFAF}" presName="childText" presStyleLbl="conFgAcc1" presStyleIdx="1" presStyleCnt="3">
        <dgm:presLayoutVars>
          <dgm:bulletEnabled val="1"/>
        </dgm:presLayoutVars>
      </dgm:prSet>
      <dgm:spPr/>
    </dgm:pt>
    <dgm:pt modelId="{28BCF259-9624-4CEA-B657-A2060BFB5C1D}" type="pres">
      <dgm:prSet presAssocID="{5579C937-EB24-4062-BE2D-A80316F280CD}" presName="spaceBetweenRectangles" presStyleCnt="0"/>
      <dgm:spPr/>
    </dgm:pt>
    <dgm:pt modelId="{3A9F6F32-ABA8-4925-B360-F38A996CCCC9}" type="pres">
      <dgm:prSet presAssocID="{92DF507E-AE2F-4DCD-918A-0F38444C5BF9}" presName="parentLin" presStyleCnt="0"/>
      <dgm:spPr/>
    </dgm:pt>
    <dgm:pt modelId="{529F3629-7528-4C2F-97F6-586E6D1CAC15}" type="pres">
      <dgm:prSet presAssocID="{92DF507E-AE2F-4DCD-918A-0F38444C5BF9}" presName="parentLeftMargin" presStyleLbl="node1" presStyleIdx="1" presStyleCnt="3"/>
      <dgm:spPr/>
      <dgm:t>
        <a:bodyPr/>
        <a:lstStyle/>
        <a:p>
          <a:endParaRPr lang="de-AT"/>
        </a:p>
      </dgm:t>
    </dgm:pt>
    <dgm:pt modelId="{EEB90613-11AF-4B0C-B923-6092555FAFFF}" type="pres">
      <dgm:prSet presAssocID="{92DF507E-AE2F-4DCD-918A-0F38444C5BF9}" presName="parentText" presStyleLbl="node1" presStyleIdx="2" presStyleCnt="3" custScaleX="128065" custScaleY="425915">
        <dgm:presLayoutVars>
          <dgm:chMax val="0"/>
          <dgm:bulletEnabled val="1"/>
        </dgm:presLayoutVars>
      </dgm:prSet>
      <dgm:spPr/>
      <dgm:t>
        <a:bodyPr/>
        <a:lstStyle/>
        <a:p>
          <a:endParaRPr lang="de-AT"/>
        </a:p>
      </dgm:t>
    </dgm:pt>
    <dgm:pt modelId="{116FB9F1-B60B-4D38-94EE-1ABE6D8C4A07}" type="pres">
      <dgm:prSet presAssocID="{92DF507E-AE2F-4DCD-918A-0F38444C5BF9}" presName="negativeSpace" presStyleCnt="0"/>
      <dgm:spPr/>
    </dgm:pt>
    <dgm:pt modelId="{42AE60C8-4549-43EB-AC75-824E6289A3F9}" type="pres">
      <dgm:prSet presAssocID="{92DF507E-AE2F-4DCD-918A-0F38444C5BF9}" presName="childText" presStyleLbl="conFgAcc1" presStyleIdx="2" presStyleCnt="3">
        <dgm:presLayoutVars>
          <dgm:bulletEnabled val="1"/>
        </dgm:presLayoutVars>
      </dgm:prSet>
      <dgm:spPr/>
    </dgm:pt>
  </dgm:ptLst>
  <dgm:cxnLst>
    <dgm:cxn modelId="{5308761A-25D8-4A28-954A-2B518EDD27C8}" type="presOf" srcId="{3D99D331-0498-427B-BB85-17FD16D1DFAF}" destId="{17623F08-C284-4231-85E4-91D5D995718A}" srcOrd="1" destOrd="0" presId="urn:microsoft.com/office/officeart/2005/8/layout/list1"/>
    <dgm:cxn modelId="{D697AA2B-015A-4861-BA41-2FAAE6A6CFA5}" type="presOf" srcId="{92DF507E-AE2F-4DCD-918A-0F38444C5BF9}" destId="{529F3629-7528-4C2F-97F6-586E6D1CAC15}" srcOrd="0" destOrd="0" presId="urn:microsoft.com/office/officeart/2005/8/layout/list1"/>
    <dgm:cxn modelId="{53C8A0D2-2FB7-4A6F-9AAD-4E3632D8D63E}" type="presOf" srcId="{158489C2-CD9D-44AC-BD61-039492B87ED1}" destId="{F86FF3AC-D829-4E33-921E-C360ED304E38}" srcOrd="1" destOrd="0" presId="urn:microsoft.com/office/officeart/2005/8/layout/list1"/>
    <dgm:cxn modelId="{D75DDC54-DA3F-4F67-9E1D-0ABE6A18A1C3}" srcId="{9BCC7E39-0D7E-40EF-8644-5952CC2784F3}" destId="{158489C2-CD9D-44AC-BD61-039492B87ED1}" srcOrd="0" destOrd="0" parTransId="{3CB42423-6599-41BC-80F0-E50246545DA2}" sibTransId="{3C8ED606-29FA-43D3-ABE2-28C9DF727E98}"/>
    <dgm:cxn modelId="{1B674808-696B-43D5-B6C0-61962B200DD8}" type="presOf" srcId="{92DF507E-AE2F-4DCD-918A-0F38444C5BF9}" destId="{EEB90613-11AF-4B0C-B923-6092555FAFFF}" srcOrd="1" destOrd="0" presId="urn:microsoft.com/office/officeart/2005/8/layout/list1"/>
    <dgm:cxn modelId="{1C90742D-8C9A-4F0A-AE95-CADC93690909}" type="presOf" srcId="{9BCC7E39-0D7E-40EF-8644-5952CC2784F3}" destId="{EAC07D8A-46AC-4E41-AE97-AD92DD84C849}" srcOrd="0" destOrd="0" presId="urn:microsoft.com/office/officeart/2005/8/layout/list1"/>
    <dgm:cxn modelId="{AB6C6D73-CD9F-41F4-A300-9CA27D2B4E21}" type="presOf" srcId="{3D99D331-0498-427B-BB85-17FD16D1DFAF}" destId="{0BE13040-1AC9-4F1B-8338-09609AFA98C4}" srcOrd="0" destOrd="0" presId="urn:microsoft.com/office/officeart/2005/8/layout/list1"/>
    <dgm:cxn modelId="{17E520B0-F391-489C-B08F-D5C1F2234BA6}" srcId="{9BCC7E39-0D7E-40EF-8644-5952CC2784F3}" destId="{3D99D331-0498-427B-BB85-17FD16D1DFAF}" srcOrd="1" destOrd="0" parTransId="{74B57A07-B499-4492-99A0-7F4C1720B747}" sibTransId="{5579C937-EB24-4062-BE2D-A80316F280CD}"/>
    <dgm:cxn modelId="{C329101E-1577-4387-B418-6AC55C9BD5D1}" srcId="{9BCC7E39-0D7E-40EF-8644-5952CC2784F3}" destId="{92DF507E-AE2F-4DCD-918A-0F38444C5BF9}" srcOrd="2" destOrd="0" parTransId="{E5A0C77D-55FA-4E14-8250-B206031C0245}" sibTransId="{D5A05AE8-4477-4A6F-A1E4-AD9B6F919C97}"/>
    <dgm:cxn modelId="{CD82CA1A-6AFA-4A9B-94C0-D4211B8280D6}" type="presOf" srcId="{158489C2-CD9D-44AC-BD61-039492B87ED1}" destId="{CC68C19A-0833-4CBC-A3AC-C069A655DF74}" srcOrd="0" destOrd="0" presId="urn:microsoft.com/office/officeart/2005/8/layout/list1"/>
    <dgm:cxn modelId="{E45D9EAC-C177-4943-850A-8516FC0ED64E}" type="presParOf" srcId="{EAC07D8A-46AC-4E41-AE97-AD92DD84C849}" destId="{522D9DEB-3D7A-440A-A890-A028FB3450C9}" srcOrd="0" destOrd="0" presId="urn:microsoft.com/office/officeart/2005/8/layout/list1"/>
    <dgm:cxn modelId="{9505719A-C3D9-498A-9529-9C2BD28D1430}" type="presParOf" srcId="{522D9DEB-3D7A-440A-A890-A028FB3450C9}" destId="{CC68C19A-0833-4CBC-A3AC-C069A655DF74}" srcOrd="0" destOrd="0" presId="urn:microsoft.com/office/officeart/2005/8/layout/list1"/>
    <dgm:cxn modelId="{7530C7DE-9DC3-47DE-9055-25BF0B100813}" type="presParOf" srcId="{522D9DEB-3D7A-440A-A890-A028FB3450C9}" destId="{F86FF3AC-D829-4E33-921E-C360ED304E38}" srcOrd="1" destOrd="0" presId="urn:microsoft.com/office/officeart/2005/8/layout/list1"/>
    <dgm:cxn modelId="{9C61B3B8-71BC-4F77-8315-EE915F9E236F}" type="presParOf" srcId="{EAC07D8A-46AC-4E41-AE97-AD92DD84C849}" destId="{19F50B48-988F-4DB3-ADFE-E68AA63B995E}" srcOrd="1" destOrd="0" presId="urn:microsoft.com/office/officeart/2005/8/layout/list1"/>
    <dgm:cxn modelId="{2FFEDB2D-C526-4543-98B4-5F59137933C6}" type="presParOf" srcId="{EAC07D8A-46AC-4E41-AE97-AD92DD84C849}" destId="{2BEA7D67-7762-46D1-AC05-551EA65AFA32}" srcOrd="2" destOrd="0" presId="urn:microsoft.com/office/officeart/2005/8/layout/list1"/>
    <dgm:cxn modelId="{688E9014-0560-46D4-9AE2-07BB01C1AE06}" type="presParOf" srcId="{EAC07D8A-46AC-4E41-AE97-AD92DD84C849}" destId="{88E1091E-ED30-48E6-BF5A-6CF99B9A37BC}" srcOrd="3" destOrd="0" presId="urn:microsoft.com/office/officeart/2005/8/layout/list1"/>
    <dgm:cxn modelId="{03081FBB-334A-429F-B51C-C9D2FD10FE6E}" type="presParOf" srcId="{EAC07D8A-46AC-4E41-AE97-AD92DD84C849}" destId="{4BD8459B-3558-4E3A-8BA6-1993963C0480}" srcOrd="4" destOrd="0" presId="urn:microsoft.com/office/officeart/2005/8/layout/list1"/>
    <dgm:cxn modelId="{E8CCD97F-AC12-43C2-A885-1CB7711B6C6A}" type="presParOf" srcId="{4BD8459B-3558-4E3A-8BA6-1993963C0480}" destId="{0BE13040-1AC9-4F1B-8338-09609AFA98C4}" srcOrd="0" destOrd="0" presId="urn:microsoft.com/office/officeart/2005/8/layout/list1"/>
    <dgm:cxn modelId="{FC9FDABC-99E2-4768-90AF-949F7C8D8DDA}" type="presParOf" srcId="{4BD8459B-3558-4E3A-8BA6-1993963C0480}" destId="{17623F08-C284-4231-85E4-91D5D995718A}" srcOrd="1" destOrd="0" presId="urn:microsoft.com/office/officeart/2005/8/layout/list1"/>
    <dgm:cxn modelId="{6288144A-EA2D-4AEC-A65F-CD06E7C2D696}" type="presParOf" srcId="{EAC07D8A-46AC-4E41-AE97-AD92DD84C849}" destId="{05104BF2-6E9F-4AF0-B44C-097067CD4891}" srcOrd="5" destOrd="0" presId="urn:microsoft.com/office/officeart/2005/8/layout/list1"/>
    <dgm:cxn modelId="{539D3E94-B03D-47AD-90A4-EE4E5FF73765}" type="presParOf" srcId="{EAC07D8A-46AC-4E41-AE97-AD92DD84C849}" destId="{579C4E3D-9A16-46B8-8AB3-098783CC44F1}" srcOrd="6" destOrd="0" presId="urn:microsoft.com/office/officeart/2005/8/layout/list1"/>
    <dgm:cxn modelId="{30BCD643-B780-401D-B4B3-C467F0CDDAB8}" type="presParOf" srcId="{EAC07D8A-46AC-4E41-AE97-AD92DD84C849}" destId="{28BCF259-9624-4CEA-B657-A2060BFB5C1D}" srcOrd="7" destOrd="0" presId="urn:microsoft.com/office/officeart/2005/8/layout/list1"/>
    <dgm:cxn modelId="{140928CD-E21D-4247-B7CF-B7D3B1899EB1}" type="presParOf" srcId="{EAC07D8A-46AC-4E41-AE97-AD92DD84C849}" destId="{3A9F6F32-ABA8-4925-B360-F38A996CCCC9}" srcOrd="8" destOrd="0" presId="urn:microsoft.com/office/officeart/2005/8/layout/list1"/>
    <dgm:cxn modelId="{31B16CBB-5156-4EBF-B7FF-139BB3BCFE67}" type="presParOf" srcId="{3A9F6F32-ABA8-4925-B360-F38A996CCCC9}" destId="{529F3629-7528-4C2F-97F6-586E6D1CAC15}" srcOrd="0" destOrd="0" presId="urn:microsoft.com/office/officeart/2005/8/layout/list1"/>
    <dgm:cxn modelId="{C475AA18-C065-4D90-8DCC-5570D11FA07D}" type="presParOf" srcId="{3A9F6F32-ABA8-4925-B360-F38A996CCCC9}" destId="{EEB90613-11AF-4B0C-B923-6092555FAFFF}" srcOrd="1" destOrd="0" presId="urn:microsoft.com/office/officeart/2005/8/layout/list1"/>
    <dgm:cxn modelId="{0AC1C52C-1E8B-493A-8785-A289C0F34B42}" type="presParOf" srcId="{EAC07D8A-46AC-4E41-AE97-AD92DD84C849}" destId="{116FB9F1-B60B-4D38-94EE-1ABE6D8C4A07}" srcOrd="9" destOrd="0" presId="urn:microsoft.com/office/officeart/2005/8/layout/list1"/>
    <dgm:cxn modelId="{F74F55B3-C4CD-44AA-80D6-997BEF3567EF}" type="presParOf" srcId="{EAC07D8A-46AC-4E41-AE97-AD92DD84C849}" destId="{42AE60C8-4549-43EB-AC75-824E6289A3F9}" srcOrd="10" destOrd="0" presId="urn:microsoft.com/office/officeart/2005/8/layout/list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EFE9A0A-3C5F-469D-B971-F0238A0A1087}"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de-DE"/>
        </a:p>
      </dgm:t>
    </dgm:pt>
    <dgm:pt modelId="{D9C40A12-16F2-4D66-8E1A-EB1202E41B64}">
      <dgm:prSet phldrT="[Text]" custT="1"/>
      <dgm:spPr/>
      <dgm:t>
        <a:bodyPr/>
        <a:lstStyle/>
        <a:p>
          <a:pPr algn="ctr"/>
          <a:r>
            <a:rPr lang="de-DE" sz="1400" dirty="0">
              <a:latin typeface="Tahoma" panose="020B0604030504040204" pitchFamily="34" charset="0"/>
              <a:ea typeface="Tahoma" panose="020B0604030504040204" pitchFamily="34" charset="0"/>
              <a:cs typeface="Tahoma" panose="020B0604030504040204" pitchFamily="34" charset="0"/>
            </a:rPr>
            <a:t>Klärung: </a:t>
          </a:r>
        </a:p>
        <a:p>
          <a:pPr algn="ctr"/>
          <a:r>
            <a:rPr lang="de-DE" sz="1400" dirty="0">
              <a:latin typeface="Tahoma" panose="020B0604030504040204" pitchFamily="34" charset="0"/>
              <a:ea typeface="Tahoma" panose="020B0604030504040204" pitchFamily="34" charset="0"/>
              <a:cs typeface="Tahoma" panose="020B0604030504040204" pitchFamily="34" charset="0"/>
            </a:rPr>
            <a:t>Wo stehe ich?</a:t>
          </a:r>
        </a:p>
      </dgm:t>
    </dgm:pt>
    <dgm:pt modelId="{7CFFD3C7-60C6-40E8-A2AA-5E40C354E859}" type="parTrans" cxnId="{6529B45F-6CEE-411A-B7FC-58D4B964224F}">
      <dgm:prSet/>
      <dgm:spPr/>
      <dgm:t>
        <a:bodyPr/>
        <a:lstStyle/>
        <a:p>
          <a:pPr algn="ctr"/>
          <a:endParaRPr lang="de-DE"/>
        </a:p>
      </dgm:t>
    </dgm:pt>
    <dgm:pt modelId="{9A8D0798-0D01-4590-870C-7C1D15F8332E}" type="sibTrans" cxnId="{6529B45F-6CEE-411A-B7FC-58D4B964224F}">
      <dgm:prSet/>
      <dgm:spPr/>
      <dgm:t>
        <a:bodyPr/>
        <a:lstStyle/>
        <a:p>
          <a:pPr algn="ctr"/>
          <a:endParaRPr lang="de-DE"/>
        </a:p>
      </dgm:t>
    </dgm:pt>
    <dgm:pt modelId="{B35764F0-2E82-483F-B372-3F9E98D15015}">
      <dgm:prSet phldrT="[Text]" custT="1"/>
      <dgm:spPr/>
      <dgm:t>
        <a:bodyPr/>
        <a:lstStyle/>
        <a:p>
          <a:pPr algn="ctr"/>
          <a:r>
            <a:rPr lang="de-DE" sz="1400" dirty="0">
              <a:latin typeface="Tahoma" panose="020B0604030504040204" pitchFamily="34" charset="0"/>
              <a:ea typeface="Tahoma" panose="020B0604030504040204" pitchFamily="34" charset="0"/>
              <a:cs typeface="Tahoma" panose="020B0604030504040204" pitchFamily="34" charset="0"/>
            </a:rPr>
            <a:t>Entlastung: </a:t>
          </a:r>
        </a:p>
        <a:p>
          <a:pPr algn="ctr"/>
          <a:r>
            <a:rPr lang="de-DE" sz="1400" dirty="0">
              <a:latin typeface="Tahoma" panose="020B0604030504040204" pitchFamily="34" charset="0"/>
              <a:ea typeface="Tahoma" panose="020B0604030504040204" pitchFamily="34" charset="0"/>
              <a:cs typeface="Tahoma" panose="020B0604030504040204" pitchFamily="34" charset="0"/>
            </a:rPr>
            <a:t>gebundene Energie freisetzen</a:t>
          </a:r>
        </a:p>
      </dgm:t>
    </dgm:pt>
    <dgm:pt modelId="{56F04F93-F207-403A-A18E-E9CE78202BE4}" type="parTrans" cxnId="{01B2A191-B553-4264-BC68-80548D5164D4}">
      <dgm:prSet/>
      <dgm:spPr/>
      <dgm:t>
        <a:bodyPr/>
        <a:lstStyle/>
        <a:p>
          <a:pPr algn="ctr"/>
          <a:endParaRPr lang="de-DE"/>
        </a:p>
      </dgm:t>
    </dgm:pt>
    <dgm:pt modelId="{91E76530-1827-4D71-BCC5-F1BF75A896FA}" type="sibTrans" cxnId="{01B2A191-B553-4264-BC68-80548D5164D4}">
      <dgm:prSet/>
      <dgm:spPr/>
      <dgm:t>
        <a:bodyPr/>
        <a:lstStyle/>
        <a:p>
          <a:pPr algn="ctr"/>
          <a:endParaRPr lang="de-DE"/>
        </a:p>
      </dgm:t>
    </dgm:pt>
    <dgm:pt modelId="{0D1D7033-DBC7-4AAC-B23C-EE78F793841B}">
      <dgm:prSet phldrT="[Text]" custT="1"/>
      <dgm:spPr/>
      <dgm:t>
        <a:bodyPr/>
        <a:lstStyle/>
        <a:p>
          <a:pPr algn="ctr"/>
          <a:r>
            <a:rPr lang="de-DE" sz="1400" dirty="0">
              <a:latin typeface="Tahoma" panose="020B0604030504040204" pitchFamily="34" charset="0"/>
              <a:ea typeface="Tahoma" panose="020B0604030504040204" pitchFamily="34" charset="0"/>
              <a:cs typeface="Tahoma" panose="020B0604030504040204" pitchFamily="34" charset="0"/>
            </a:rPr>
            <a:t>Ausrichtung: </a:t>
          </a:r>
        </a:p>
        <a:p>
          <a:pPr algn="ctr"/>
          <a:r>
            <a:rPr lang="de-DE" sz="1400" dirty="0">
              <a:latin typeface="Tahoma" panose="020B0604030504040204" pitchFamily="34" charset="0"/>
              <a:ea typeface="Tahoma" panose="020B0604030504040204" pitchFamily="34" charset="0"/>
              <a:cs typeface="Tahoma" panose="020B0604030504040204" pitchFamily="34" charset="0"/>
            </a:rPr>
            <a:t>Wo will ich hin?</a:t>
          </a:r>
        </a:p>
      </dgm:t>
    </dgm:pt>
    <dgm:pt modelId="{AADF9EB3-27AB-4C87-AC0E-7EE9D9820DFA}" type="parTrans" cxnId="{D8DDFCBB-4618-40B8-962F-210AA94980E7}">
      <dgm:prSet/>
      <dgm:spPr/>
      <dgm:t>
        <a:bodyPr/>
        <a:lstStyle/>
        <a:p>
          <a:pPr algn="ctr"/>
          <a:endParaRPr lang="de-DE"/>
        </a:p>
      </dgm:t>
    </dgm:pt>
    <dgm:pt modelId="{1A6F9370-BBBB-4D89-82B1-13D33A5E7354}" type="sibTrans" cxnId="{D8DDFCBB-4618-40B8-962F-210AA94980E7}">
      <dgm:prSet/>
      <dgm:spPr/>
      <dgm:t>
        <a:bodyPr/>
        <a:lstStyle/>
        <a:p>
          <a:pPr algn="ctr"/>
          <a:endParaRPr lang="de-DE"/>
        </a:p>
      </dgm:t>
    </dgm:pt>
    <dgm:pt modelId="{87F6F357-1337-4CA1-A2ED-08FDC56E37AA}">
      <dgm:prSet phldrT="[Text]" custT="1"/>
      <dgm:spPr/>
      <dgm:t>
        <a:bodyPr/>
        <a:lstStyle/>
        <a:p>
          <a:pPr algn="ctr"/>
          <a:r>
            <a:rPr lang="de-DE" sz="1400" dirty="0">
              <a:latin typeface="Tahoma" panose="020B0604030504040204" pitchFamily="34" charset="0"/>
              <a:ea typeface="Tahoma" panose="020B0604030504040204" pitchFamily="34" charset="0"/>
              <a:cs typeface="Tahoma" panose="020B0604030504040204" pitchFamily="34" charset="0"/>
            </a:rPr>
            <a:t>Umsetzung: Verantwortung übernehmen, dranbleiben?</a:t>
          </a:r>
        </a:p>
      </dgm:t>
    </dgm:pt>
    <dgm:pt modelId="{D1B536E4-5F1B-465E-B227-758466CFE046}" type="parTrans" cxnId="{460F14B1-9A28-4A74-AC26-119CFF7ECFE5}">
      <dgm:prSet/>
      <dgm:spPr/>
      <dgm:t>
        <a:bodyPr/>
        <a:lstStyle/>
        <a:p>
          <a:pPr algn="ctr"/>
          <a:endParaRPr lang="de-DE"/>
        </a:p>
      </dgm:t>
    </dgm:pt>
    <dgm:pt modelId="{AC6C7783-0ED8-46DB-A792-743A532BF3C4}" type="sibTrans" cxnId="{460F14B1-9A28-4A74-AC26-119CFF7ECFE5}">
      <dgm:prSet/>
      <dgm:spPr/>
      <dgm:t>
        <a:bodyPr/>
        <a:lstStyle/>
        <a:p>
          <a:pPr algn="ctr"/>
          <a:endParaRPr lang="de-DE"/>
        </a:p>
      </dgm:t>
    </dgm:pt>
    <dgm:pt modelId="{4C5E6C2A-B8EC-467C-A384-7E194EB32F8A}" type="pres">
      <dgm:prSet presAssocID="{5EFE9A0A-3C5F-469D-B971-F0238A0A1087}" presName="Name0" presStyleCnt="0">
        <dgm:presLayoutVars>
          <dgm:dir/>
          <dgm:resizeHandles val="exact"/>
        </dgm:presLayoutVars>
      </dgm:prSet>
      <dgm:spPr/>
      <dgm:t>
        <a:bodyPr/>
        <a:lstStyle/>
        <a:p>
          <a:endParaRPr lang="de-AT"/>
        </a:p>
      </dgm:t>
    </dgm:pt>
    <dgm:pt modelId="{78052961-47BF-4A58-9732-C4D59E9F17F9}" type="pres">
      <dgm:prSet presAssocID="{5EFE9A0A-3C5F-469D-B971-F0238A0A1087}" presName="cycle" presStyleCnt="0"/>
      <dgm:spPr/>
    </dgm:pt>
    <dgm:pt modelId="{D9CD3278-E9E4-4392-8D01-B405733331A2}" type="pres">
      <dgm:prSet presAssocID="{D9C40A12-16F2-4D66-8E1A-EB1202E41B64}" presName="nodeFirstNode" presStyleLbl="node1" presStyleIdx="0" presStyleCnt="4">
        <dgm:presLayoutVars>
          <dgm:bulletEnabled val="1"/>
        </dgm:presLayoutVars>
      </dgm:prSet>
      <dgm:spPr/>
      <dgm:t>
        <a:bodyPr/>
        <a:lstStyle/>
        <a:p>
          <a:endParaRPr lang="de-AT"/>
        </a:p>
      </dgm:t>
    </dgm:pt>
    <dgm:pt modelId="{C2D8E214-48EC-4716-91B9-82E7D53EAC27}" type="pres">
      <dgm:prSet presAssocID="{9A8D0798-0D01-4590-870C-7C1D15F8332E}" presName="sibTransFirstNode" presStyleLbl="bgShp" presStyleIdx="0" presStyleCnt="1"/>
      <dgm:spPr/>
      <dgm:t>
        <a:bodyPr/>
        <a:lstStyle/>
        <a:p>
          <a:endParaRPr lang="de-AT"/>
        </a:p>
      </dgm:t>
    </dgm:pt>
    <dgm:pt modelId="{E9E26277-46E9-48EC-8B1A-EFC60877505E}" type="pres">
      <dgm:prSet presAssocID="{B35764F0-2E82-483F-B372-3F9E98D15015}" presName="nodeFollowingNodes" presStyleLbl="node1" presStyleIdx="1" presStyleCnt="4">
        <dgm:presLayoutVars>
          <dgm:bulletEnabled val="1"/>
        </dgm:presLayoutVars>
      </dgm:prSet>
      <dgm:spPr/>
      <dgm:t>
        <a:bodyPr/>
        <a:lstStyle/>
        <a:p>
          <a:endParaRPr lang="de-AT"/>
        </a:p>
      </dgm:t>
    </dgm:pt>
    <dgm:pt modelId="{DEF9B383-AA78-4F6B-B504-1C85C443D7E8}" type="pres">
      <dgm:prSet presAssocID="{0D1D7033-DBC7-4AAC-B23C-EE78F793841B}" presName="nodeFollowingNodes" presStyleLbl="node1" presStyleIdx="2" presStyleCnt="4">
        <dgm:presLayoutVars>
          <dgm:bulletEnabled val="1"/>
        </dgm:presLayoutVars>
      </dgm:prSet>
      <dgm:spPr/>
      <dgm:t>
        <a:bodyPr/>
        <a:lstStyle/>
        <a:p>
          <a:endParaRPr lang="de-AT"/>
        </a:p>
      </dgm:t>
    </dgm:pt>
    <dgm:pt modelId="{9A422462-936A-48FF-BB8B-A99C44F65606}" type="pres">
      <dgm:prSet presAssocID="{87F6F357-1337-4CA1-A2ED-08FDC56E37AA}" presName="nodeFollowingNodes" presStyleLbl="node1" presStyleIdx="3" presStyleCnt="4">
        <dgm:presLayoutVars>
          <dgm:bulletEnabled val="1"/>
        </dgm:presLayoutVars>
      </dgm:prSet>
      <dgm:spPr/>
      <dgm:t>
        <a:bodyPr/>
        <a:lstStyle/>
        <a:p>
          <a:endParaRPr lang="de-AT"/>
        </a:p>
      </dgm:t>
    </dgm:pt>
  </dgm:ptLst>
  <dgm:cxnLst>
    <dgm:cxn modelId="{D8DDFCBB-4618-40B8-962F-210AA94980E7}" srcId="{5EFE9A0A-3C5F-469D-B971-F0238A0A1087}" destId="{0D1D7033-DBC7-4AAC-B23C-EE78F793841B}" srcOrd="2" destOrd="0" parTransId="{AADF9EB3-27AB-4C87-AC0E-7EE9D9820DFA}" sibTransId="{1A6F9370-BBBB-4D89-82B1-13D33A5E7354}"/>
    <dgm:cxn modelId="{01B2A191-B553-4264-BC68-80548D5164D4}" srcId="{5EFE9A0A-3C5F-469D-B971-F0238A0A1087}" destId="{B35764F0-2E82-483F-B372-3F9E98D15015}" srcOrd="1" destOrd="0" parTransId="{56F04F93-F207-403A-A18E-E9CE78202BE4}" sibTransId="{91E76530-1827-4D71-BCC5-F1BF75A896FA}"/>
    <dgm:cxn modelId="{6529B45F-6CEE-411A-B7FC-58D4B964224F}" srcId="{5EFE9A0A-3C5F-469D-B971-F0238A0A1087}" destId="{D9C40A12-16F2-4D66-8E1A-EB1202E41B64}" srcOrd="0" destOrd="0" parTransId="{7CFFD3C7-60C6-40E8-A2AA-5E40C354E859}" sibTransId="{9A8D0798-0D01-4590-870C-7C1D15F8332E}"/>
    <dgm:cxn modelId="{460F14B1-9A28-4A74-AC26-119CFF7ECFE5}" srcId="{5EFE9A0A-3C5F-469D-B971-F0238A0A1087}" destId="{87F6F357-1337-4CA1-A2ED-08FDC56E37AA}" srcOrd="3" destOrd="0" parTransId="{D1B536E4-5F1B-465E-B227-758466CFE046}" sibTransId="{AC6C7783-0ED8-46DB-A792-743A532BF3C4}"/>
    <dgm:cxn modelId="{6E0C5636-7405-45AB-AFA1-78F9D7B5BDAC}" type="presOf" srcId="{5EFE9A0A-3C5F-469D-B971-F0238A0A1087}" destId="{4C5E6C2A-B8EC-467C-A384-7E194EB32F8A}" srcOrd="0" destOrd="0" presId="urn:microsoft.com/office/officeart/2005/8/layout/cycle3"/>
    <dgm:cxn modelId="{2BAFF4F4-F9C8-4C57-AD3E-279F7EDAEC8B}" type="presOf" srcId="{D9C40A12-16F2-4D66-8E1A-EB1202E41B64}" destId="{D9CD3278-E9E4-4392-8D01-B405733331A2}" srcOrd="0" destOrd="0" presId="urn:microsoft.com/office/officeart/2005/8/layout/cycle3"/>
    <dgm:cxn modelId="{8E4A8060-B17E-4809-A0EF-9294730A80A5}" type="presOf" srcId="{B35764F0-2E82-483F-B372-3F9E98D15015}" destId="{E9E26277-46E9-48EC-8B1A-EFC60877505E}" srcOrd="0" destOrd="0" presId="urn:microsoft.com/office/officeart/2005/8/layout/cycle3"/>
    <dgm:cxn modelId="{D159A5CB-1AC0-4454-8705-679AF00769A7}" type="presOf" srcId="{87F6F357-1337-4CA1-A2ED-08FDC56E37AA}" destId="{9A422462-936A-48FF-BB8B-A99C44F65606}" srcOrd="0" destOrd="0" presId="urn:microsoft.com/office/officeart/2005/8/layout/cycle3"/>
    <dgm:cxn modelId="{64E44950-8649-4907-8950-DD4EB14A8319}" type="presOf" srcId="{9A8D0798-0D01-4590-870C-7C1D15F8332E}" destId="{C2D8E214-48EC-4716-91B9-82E7D53EAC27}" srcOrd="0" destOrd="0" presId="urn:microsoft.com/office/officeart/2005/8/layout/cycle3"/>
    <dgm:cxn modelId="{0CC027F0-EB55-4AAA-9D75-006B839B5377}" type="presOf" srcId="{0D1D7033-DBC7-4AAC-B23C-EE78F793841B}" destId="{DEF9B383-AA78-4F6B-B504-1C85C443D7E8}" srcOrd="0" destOrd="0" presId="urn:microsoft.com/office/officeart/2005/8/layout/cycle3"/>
    <dgm:cxn modelId="{6857ECBC-7C5F-4751-8767-4266207A242F}" type="presParOf" srcId="{4C5E6C2A-B8EC-467C-A384-7E194EB32F8A}" destId="{78052961-47BF-4A58-9732-C4D59E9F17F9}" srcOrd="0" destOrd="0" presId="urn:microsoft.com/office/officeart/2005/8/layout/cycle3"/>
    <dgm:cxn modelId="{EB13C038-38C6-416D-9A14-28BF6A53A093}" type="presParOf" srcId="{78052961-47BF-4A58-9732-C4D59E9F17F9}" destId="{D9CD3278-E9E4-4392-8D01-B405733331A2}" srcOrd="0" destOrd="0" presId="urn:microsoft.com/office/officeart/2005/8/layout/cycle3"/>
    <dgm:cxn modelId="{92D2E480-4631-4C07-8DE6-8061CEB0DDC8}" type="presParOf" srcId="{78052961-47BF-4A58-9732-C4D59E9F17F9}" destId="{C2D8E214-48EC-4716-91B9-82E7D53EAC27}" srcOrd="1" destOrd="0" presId="urn:microsoft.com/office/officeart/2005/8/layout/cycle3"/>
    <dgm:cxn modelId="{CB2691D9-629D-46CE-91BA-DFF41D0A52EC}" type="presParOf" srcId="{78052961-47BF-4A58-9732-C4D59E9F17F9}" destId="{E9E26277-46E9-48EC-8B1A-EFC60877505E}" srcOrd="2" destOrd="0" presId="urn:microsoft.com/office/officeart/2005/8/layout/cycle3"/>
    <dgm:cxn modelId="{FE9511B1-5D26-4538-B7F4-57AAD199A22E}" type="presParOf" srcId="{78052961-47BF-4A58-9732-C4D59E9F17F9}" destId="{DEF9B383-AA78-4F6B-B504-1C85C443D7E8}" srcOrd="3" destOrd="0" presId="urn:microsoft.com/office/officeart/2005/8/layout/cycle3"/>
    <dgm:cxn modelId="{08FACB01-5A79-49D6-A9B0-B481BD11277A}" type="presParOf" srcId="{78052961-47BF-4A58-9732-C4D59E9F17F9}" destId="{9A422462-936A-48FF-BB8B-A99C44F65606}" srcOrd="4" destOrd="0" presId="urn:microsoft.com/office/officeart/2005/8/layout/cycle3"/>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80AA572-5430-459D-96A2-A8DEB2AA8C0B}" type="doc">
      <dgm:prSet loTypeId="urn:microsoft.com/office/officeart/2005/8/layout/pyramid2" loCatId="pyramid" qsTypeId="urn:microsoft.com/office/officeart/2005/8/quickstyle/simple1" qsCatId="simple" csTypeId="urn:microsoft.com/office/officeart/2005/8/colors/accent1_2" csCatId="accent1" phldr="1"/>
      <dgm:spPr/>
      <dgm:t>
        <a:bodyPr/>
        <a:lstStyle/>
        <a:p>
          <a:endParaRPr lang="de-DE"/>
        </a:p>
      </dgm:t>
    </dgm:pt>
    <dgm:pt modelId="{4280248E-AE0E-4E90-A10D-A9141FAE84A5}">
      <dgm:prSet phldrT="[Text]" custT="1"/>
      <dgm:spPr/>
      <dgm:t>
        <a:bodyPr/>
        <a:lstStyle/>
        <a:p>
          <a:pPr algn="ctr"/>
          <a:r>
            <a:rPr lang="de-DE" sz="1800" dirty="0">
              <a:latin typeface="Tahoma" panose="020B0604030504040204" pitchFamily="34" charset="0"/>
              <a:ea typeface="Tahoma" panose="020B0604030504040204" pitchFamily="34" charset="0"/>
              <a:cs typeface="Tahoma" panose="020B0604030504040204" pitchFamily="34" charset="0"/>
            </a:rPr>
            <a:t>… dass Unternehmen lernen, mit den aktuellen Herausforderungen wirksam umzugehen.</a:t>
          </a:r>
        </a:p>
      </dgm:t>
    </dgm:pt>
    <dgm:pt modelId="{2A2ACF79-37B2-40DE-B80C-1B7EBCCF61EA}" type="parTrans" cxnId="{EA6B0831-D93F-47AD-9D90-A938858074ED}">
      <dgm:prSet/>
      <dgm:spPr/>
      <dgm:t>
        <a:bodyPr/>
        <a:lstStyle/>
        <a:p>
          <a:endParaRPr lang="de-DE"/>
        </a:p>
      </dgm:t>
    </dgm:pt>
    <dgm:pt modelId="{89059A66-1B97-4D54-8F1D-A3DB7766CD1D}" type="sibTrans" cxnId="{EA6B0831-D93F-47AD-9D90-A938858074ED}">
      <dgm:prSet/>
      <dgm:spPr/>
      <dgm:t>
        <a:bodyPr/>
        <a:lstStyle/>
        <a:p>
          <a:endParaRPr lang="de-DE"/>
        </a:p>
      </dgm:t>
    </dgm:pt>
    <dgm:pt modelId="{98932FF3-7A5A-448D-A721-EDC3693BF758}">
      <dgm:prSet phldrT="[Text]" custT="1"/>
      <dgm:spPr/>
      <dgm:t>
        <a:bodyPr/>
        <a:lstStyle/>
        <a:p>
          <a:r>
            <a:rPr lang="de-DE" sz="1800" dirty="0">
              <a:latin typeface="Tahoma" panose="020B0604030504040204" pitchFamily="34" charset="0"/>
              <a:ea typeface="Tahoma" panose="020B0604030504040204" pitchFamily="34" charset="0"/>
              <a:cs typeface="Tahoma" panose="020B0604030504040204" pitchFamily="34" charset="0"/>
            </a:rPr>
            <a:t>… die Fähigkeit, sich rasch von Rückschlägen </a:t>
          </a:r>
        </a:p>
        <a:p>
          <a:r>
            <a:rPr lang="de-DE" sz="1800" dirty="0">
              <a:latin typeface="Tahoma" panose="020B0604030504040204" pitchFamily="34" charset="0"/>
              <a:ea typeface="Tahoma" panose="020B0604030504040204" pitchFamily="34" charset="0"/>
              <a:cs typeface="Tahoma" panose="020B0604030504040204" pitchFamily="34" charset="0"/>
            </a:rPr>
            <a:t>zu erholen.</a:t>
          </a:r>
        </a:p>
      </dgm:t>
    </dgm:pt>
    <dgm:pt modelId="{BF039311-7044-4F8A-A925-468596669924}" type="parTrans" cxnId="{3304B475-5889-45F8-B396-28C292066E57}">
      <dgm:prSet/>
      <dgm:spPr/>
      <dgm:t>
        <a:bodyPr/>
        <a:lstStyle/>
        <a:p>
          <a:endParaRPr lang="de-DE"/>
        </a:p>
      </dgm:t>
    </dgm:pt>
    <dgm:pt modelId="{F81D25E2-8B75-4FE3-AF9D-0E4282BC21A9}" type="sibTrans" cxnId="{3304B475-5889-45F8-B396-28C292066E57}">
      <dgm:prSet/>
      <dgm:spPr/>
      <dgm:t>
        <a:bodyPr/>
        <a:lstStyle/>
        <a:p>
          <a:endParaRPr lang="de-DE"/>
        </a:p>
      </dgm:t>
    </dgm:pt>
    <dgm:pt modelId="{53B069D3-22AE-4B66-B588-FCA2D2C9A89C}">
      <dgm:prSet phldrT="[Text]" custT="1"/>
      <dgm:spPr/>
      <dgm:t>
        <a:bodyPr/>
        <a:lstStyle/>
        <a:p>
          <a:r>
            <a:rPr lang="de-DE" sz="1800" dirty="0">
              <a:latin typeface="Tahoma" panose="020B0604030504040204" pitchFamily="34" charset="0"/>
              <a:ea typeface="Tahoma" panose="020B0604030504040204" pitchFamily="34" charset="0"/>
              <a:cs typeface="Tahoma" panose="020B0604030504040204" pitchFamily="34" charset="0"/>
            </a:rPr>
            <a:t>… die Fähigkeit, den ursprünglichen Sinn zu bewahren.</a:t>
          </a:r>
        </a:p>
      </dgm:t>
    </dgm:pt>
    <dgm:pt modelId="{CE816BA4-2F5F-45B6-B4DA-82D9DC7EBAA4}" type="parTrans" cxnId="{2F52D617-0126-4E0B-861A-09EC50899871}">
      <dgm:prSet/>
      <dgm:spPr/>
      <dgm:t>
        <a:bodyPr/>
        <a:lstStyle/>
        <a:p>
          <a:endParaRPr lang="de-DE"/>
        </a:p>
      </dgm:t>
    </dgm:pt>
    <dgm:pt modelId="{4F52E13A-8BBA-4BA9-AFE9-9EF987C42B7E}" type="sibTrans" cxnId="{2F52D617-0126-4E0B-861A-09EC50899871}">
      <dgm:prSet/>
      <dgm:spPr/>
      <dgm:t>
        <a:bodyPr/>
        <a:lstStyle/>
        <a:p>
          <a:endParaRPr lang="de-DE"/>
        </a:p>
      </dgm:t>
    </dgm:pt>
    <dgm:pt modelId="{85205692-5816-4CC1-A452-ED81931515FF}">
      <dgm:prSet phldrT="[Text]" custT="1"/>
      <dgm:spPr/>
      <dgm:t>
        <a:bodyPr/>
        <a:lstStyle/>
        <a:p>
          <a:r>
            <a:rPr lang="de-DE" sz="1800" dirty="0">
              <a:latin typeface="Tahoma" panose="020B0604030504040204" pitchFamily="34" charset="0"/>
              <a:ea typeface="Tahoma" panose="020B0604030504040204" pitchFamily="34" charset="0"/>
              <a:cs typeface="Tahoma" panose="020B0604030504040204" pitchFamily="34" charset="0"/>
            </a:rPr>
            <a:t>… dass Diversität im Unternehmen als Chance zur </a:t>
          </a:r>
          <a:r>
            <a:rPr lang="de-DE" sz="1800" dirty="0" err="1">
              <a:latin typeface="Tahoma" panose="020B0604030504040204" pitchFamily="34" charset="0"/>
              <a:ea typeface="Tahoma" panose="020B0604030504040204" pitchFamily="34" charset="0"/>
              <a:cs typeface="Tahoma" panose="020B0604030504040204" pitchFamily="34" charset="0"/>
            </a:rPr>
            <a:t>Resilienzförderung</a:t>
          </a:r>
          <a:r>
            <a:rPr lang="de-DE" sz="1800" dirty="0">
              <a:latin typeface="Tahoma" panose="020B0604030504040204" pitchFamily="34" charset="0"/>
              <a:ea typeface="Tahoma" panose="020B0604030504040204" pitchFamily="34" charset="0"/>
              <a:cs typeface="Tahoma" panose="020B0604030504040204" pitchFamily="34" charset="0"/>
            </a:rPr>
            <a:t> gesehen wird.</a:t>
          </a:r>
        </a:p>
      </dgm:t>
    </dgm:pt>
    <dgm:pt modelId="{6E580A95-6D57-495A-815D-79B9705135C3}" type="parTrans" cxnId="{F27004E8-D8E4-4868-A353-256369FC677A}">
      <dgm:prSet/>
      <dgm:spPr/>
      <dgm:t>
        <a:bodyPr/>
        <a:lstStyle/>
        <a:p>
          <a:endParaRPr lang="de-DE"/>
        </a:p>
      </dgm:t>
    </dgm:pt>
    <dgm:pt modelId="{5BA597AC-F54F-4D31-AEF6-4CCE531EE9FA}" type="sibTrans" cxnId="{F27004E8-D8E4-4868-A353-256369FC677A}">
      <dgm:prSet/>
      <dgm:spPr/>
      <dgm:t>
        <a:bodyPr/>
        <a:lstStyle/>
        <a:p>
          <a:endParaRPr lang="de-DE"/>
        </a:p>
      </dgm:t>
    </dgm:pt>
    <dgm:pt modelId="{B38E1E59-B897-46E7-9A69-99417BAFCAAE}">
      <dgm:prSet phldrT="[Text]" custT="1"/>
      <dgm:spPr/>
      <dgm:t>
        <a:bodyPr/>
        <a:lstStyle/>
        <a:p>
          <a:r>
            <a:rPr lang="de-DE" sz="1800" dirty="0">
              <a:latin typeface="Tahoma" panose="020B0604030504040204" pitchFamily="34" charset="0"/>
              <a:ea typeface="Tahoma" panose="020B0604030504040204" pitchFamily="34" charset="0"/>
              <a:cs typeface="Tahoma" panose="020B0604030504040204" pitchFamily="34" charset="0"/>
            </a:rPr>
            <a:t>… dass Unternehmen erfolgreich sind und nicht ausbrennen.</a:t>
          </a:r>
        </a:p>
      </dgm:t>
    </dgm:pt>
    <dgm:pt modelId="{4AF5C455-9878-4276-9BA2-8933D43E9A10}" type="parTrans" cxnId="{A02AF05A-0B18-4FEA-AB10-038DE2C31B92}">
      <dgm:prSet/>
      <dgm:spPr/>
      <dgm:t>
        <a:bodyPr/>
        <a:lstStyle/>
        <a:p>
          <a:endParaRPr lang="de-DE"/>
        </a:p>
      </dgm:t>
    </dgm:pt>
    <dgm:pt modelId="{28714380-029B-4D74-876A-4A806557DF0B}" type="sibTrans" cxnId="{A02AF05A-0B18-4FEA-AB10-038DE2C31B92}">
      <dgm:prSet/>
      <dgm:spPr/>
      <dgm:t>
        <a:bodyPr/>
        <a:lstStyle/>
        <a:p>
          <a:endParaRPr lang="de-DE"/>
        </a:p>
      </dgm:t>
    </dgm:pt>
    <dgm:pt modelId="{5AE05444-5264-4160-844A-D6C1B6ED5BBD}" type="pres">
      <dgm:prSet presAssocID="{180AA572-5430-459D-96A2-A8DEB2AA8C0B}" presName="compositeShape" presStyleCnt="0">
        <dgm:presLayoutVars>
          <dgm:dir/>
          <dgm:resizeHandles/>
        </dgm:presLayoutVars>
      </dgm:prSet>
      <dgm:spPr/>
      <dgm:t>
        <a:bodyPr/>
        <a:lstStyle/>
        <a:p>
          <a:endParaRPr lang="de-AT"/>
        </a:p>
      </dgm:t>
    </dgm:pt>
    <dgm:pt modelId="{8E7000E3-6795-43A2-8D12-0F84431694A0}" type="pres">
      <dgm:prSet presAssocID="{180AA572-5430-459D-96A2-A8DEB2AA8C0B}" presName="pyramid" presStyleLbl="node1" presStyleIdx="0" presStyleCnt="1" custLinFactNeighborX="26323"/>
      <dgm:spPr/>
    </dgm:pt>
    <dgm:pt modelId="{9BB9A241-E680-4A52-ABE3-0457D731C5CB}" type="pres">
      <dgm:prSet presAssocID="{180AA572-5430-459D-96A2-A8DEB2AA8C0B}" presName="theList" presStyleCnt="0"/>
      <dgm:spPr/>
    </dgm:pt>
    <dgm:pt modelId="{BAC4B8E5-96B1-431E-8C39-68DC21EB8FBB}" type="pres">
      <dgm:prSet presAssocID="{4280248E-AE0E-4E90-A10D-A9141FAE84A5}" presName="aNode" presStyleLbl="fgAcc1" presStyleIdx="0" presStyleCnt="5" custScaleX="221538" custScaleY="226517" custLinFactY="-28735" custLinFactNeighborX="-8416" custLinFactNeighborY="-100000">
        <dgm:presLayoutVars>
          <dgm:bulletEnabled val="1"/>
        </dgm:presLayoutVars>
      </dgm:prSet>
      <dgm:spPr/>
      <dgm:t>
        <a:bodyPr/>
        <a:lstStyle/>
        <a:p>
          <a:endParaRPr lang="de-AT"/>
        </a:p>
      </dgm:t>
    </dgm:pt>
    <dgm:pt modelId="{DC33E74B-E636-48EC-8269-07D3606D1A3F}" type="pres">
      <dgm:prSet presAssocID="{4280248E-AE0E-4E90-A10D-A9141FAE84A5}" presName="aSpace" presStyleCnt="0"/>
      <dgm:spPr/>
    </dgm:pt>
    <dgm:pt modelId="{2FCF431A-10FA-4559-AF62-2F268A7ACD2E}" type="pres">
      <dgm:prSet presAssocID="{98932FF3-7A5A-448D-A721-EDC3693BF758}" presName="aNode" presStyleLbl="fgAcc1" presStyleIdx="1" presStyleCnt="5" custScaleX="221538" custScaleY="225055" custLinFactNeighborX="-8542" custLinFactNeighborY="-56248">
        <dgm:presLayoutVars>
          <dgm:bulletEnabled val="1"/>
        </dgm:presLayoutVars>
      </dgm:prSet>
      <dgm:spPr/>
      <dgm:t>
        <a:bodyPr/>
        <a:lstStyle/>
        <a:p>
          <a:endParaRPr lang="de-AT"/>
        </a:p>
      </dgm:t>
    </dgm:pt>
    <dgm:pt modelId="{B8FE92DE-A903-4542-A795-4E6C4B01F4A1}" type="pres">
      <dgm:prSet presAssocID="{98932FF3-7A5A-448D-A721-EDC3693BF758}" presName="aSpace" presStyleCnt="0"/>
      <dgm:spPr/>
    </dgm:pt>
    <dgm:pt modelId="{01A469B9-0B7C-4DD9-8A63-8ABCACB31E0C}" type="pres">
      <dgm:prSet presAssocID="{53B069D3-22AE-4B66-B588-FCA2D2C9A89C}" presName="aNode" presStyleLbl="fgAcc1" presStyleIdx="2" presStyleCnt="5" custScaleX="221659" custScaleY="221538" custLinFactY="10148" custLinFactNeighborX="-8482" custLinFactNeighborY="100000">
        <dgm:presLayoutVars>
          <dgm:bulletEnabled val="1"/>
        </dgm:presLayoutVars>
      </dgm:prSet>
      <dgm:spPr/>
      <dgm:t>
        <a:bodyPr/>
        <a:lstStyle/>
        <a:p>
          <a:endParaRPr lang="de-AT"/>
        </a:p>
      </dgm:t>
    </dgm:pt>
    <dgm:pt modelId="{71D27774-C55B-45E2-950A-69245F4E7C66}" type="pres">
      <dgm:prSet presAssocID="{53B069D3-22AE-4B66-B588-FCA2D2C9A89C}" presName="aSpace" presStyleCnt="0"/>
      <dgm:spPr/>
    </dgm:pt>
    <dgm:pt modelId="{5802E954-9353-495F-8F16-EB7680905622}" type="pres">
      <dgm:prSet presAssocID="{85205692-5816-4CC1-A452-ED81931515FF}" presName="aNode" presStyleLbl="fgAcc1" presStyleIdx="3" presStyleCnt="5" custScaleX="221538" custScaleY="224000" custLinFactY="37366" custLinFactNeighborX="-8542" custLinFactNeighborY="100000">
        <dgm:presLayoutVars>
          <dgm:bulletEnabled val="1"/>
        </dgm:presLayoutVars>
      </dgm:prSet>
      <dgm:spPr/>
      <dgm:t>
        <a:bodyPr/>
        <a:lstStyle/>
        <a:p>
          <a:endParaRPr lang="de-AT"/>
        </a:p>
      </dgm:t>
    </dgm:pt>
    <dgm:pt modelId="{C0199DCF-62A2-433D-9255-5114A4D4AB4F}" type="pres">
      <dgm:prSet presAssocID="{85205692-5816-4CC1-A452-ED81931515FF}" presName="aSpace" presStyleCnt="0"/>
      <dgm:spPr/>
    </dgm:pt>
    <dgm:pt modelId="{C5B36F64-9415-4418-912D-33BFC6F2B9F3}" type="pres">
      <dgm:prSet presAssocID="{B38E1E59-B897-46E7-9A69-99417BAFCAAE}" presName="aNode" presStyleLbl="fgAcc1" presStyleIdx="4" presStyleCnt="5" custScaleX="221538" custScaleY="229744" custLinFactY="66677" custLinFactNeighborX="-8542" custLinFactNeighborY="100000">
        <dgm:presLayoutVars>
          <dgm:bulletEnabled val="1"/>
        </dgm:presLayoutVars>
      </dgm:prSet>
      <dgm:spPr/>
      <dgm:t>
        <a:bodyPr/>
        <a:lstStyle/>
        <a:p>
          <a:endParaRPr lang="de-AT"/>
        </a:p>
      </dgm:t>
    </dgm:pt>
    <dgm:pt modelId="{6A57BA5B-1CDA-4EA0-AA71-0182102D897E}" type="pres">
      <dgm:prSet presAssocID="{B38E1E59-B897-46E7-9A69-99417BAFCAAE}" presName="aSpace" presStyleCnt="0"/>
      <dgm:spPr/>
    </dgm:pt>
  </dgm:ptLst>
  <dgm:cxnLst>
    <dgm:cxn modelId="{3304B475-5889-45F8-B396-28C292066E57}" srcId="{180AA572-5430-459D-96A2-A8DEB2AA8C0B}" destId="{98932FF3-7A5A-448D-A721-EDC3693BF758}" srcOrd="1" destOrd="0" parTransId="{BF039311-7044-4F8A-A925-468596669924}" sibTransId="{F81D25E2-8B75-4FE3-AF9D-0E4282BC21A9}"/>
    <dgm:cxn modelId="{80076333-D2B6-4815-B06B-DC34B1CC762A}" type="presOf" srcId="{53B069D3-22AE-4B66-B588-FCA2D2C9A89C}" destId="{01A469B9-0B7C-4DD9-8A63-8ABCACB31E0C}" srcOrd="0" destOrd="0" presId="urn:microsoft.com/office/officeart/2005/8/layout/pyramid2"/>
    <dgm:cxn modelId="{2F52D617-0126-4E0B-861A-09EC50899871}" srcId="{180AA572-5430-459D-96A2-A8DEB2AA8C0B}" destId="{53B069D3-22AE-4B66-B588-FCA2D2C9A89C}" srcOrd="2" destOrd="0" parTransId="{CE816BA4-2F5F-45B6-B4DA-82D9DC7EBAA4}" sibTransId="{4F52E13A-8BBA-4BA9-AFE9-9EF987C42B7E}"/>
    <dgm:cxn modelId="{03CD173C-DC0C-46E0-B96E-846CBB2957C0}" type="presOf" srcId="{4280248E-AE0E-4E90-A10D-A9141FAE84A5}" destId="{BAC4B8E5-96B1-431E-8C39-68DC21EB8FBB}" srcOrd="0" destOrd="0" presId="urn:microsoft.com/office/officeart/2005/8/layout/pyramid2"/>
    <dgm:cxn modelId="{A02AF05A-0B18-4FEA-AB10-038DE2C31B92}" srcId="{180AA572-5430-459D-96A2-A8DEB2AA8C0B}" destId="{B38E1E59-B897-46E7-9A69-99417BAFCAAE}" srcOrd="4" destOrd="0" parTransId="{4AF5C455-9878-4276-9BA2-8933D43E9A10}" sibTransId="{28714380-029B-4D74-876A-4A806557DF0B}"/>
    <dgm:cxn modelId="{E126DE3B-E34B-4631-92A4-020260229AE0}" type="presOf" srcId="{B38E1E59-B897-46E7-9A69-99417BAFCAAE}" destId="{C5B36F64-9415-4418-912D-33BFC6F2B9F3}" srcOrd="0" destOrd="0" presId="urn:microsoft.com/office/officeart/2005/8/layout/pyramid2"/>
    <dgm:cxn modelId="{F27004E8-D8E4-4868-A353-256369FC677A}" srcId="{180AA572-5430-459D-96A2-A8DEB2AA8C0B}" destId="{85205692-5816-4CC1-A452-ED81931515FF}" srcOrd="3" destOrd="0" parTransId="{6E580A95-6D57-495A-815D-79B9705135C3}" sibTransId="{5BA597AC-F54F-4D31-AEF6-4CCE531EE9FA}"/>
    <dgm:cxn modelId="{EA6B0831-D93F-47AD-9D90-A938858074ED}" srcId="{180AA572-5430-459D-96A2-A8DEB2AA8C0B}" destId="{4280248E-AE0E-4E90-A10D-A9141FAE84A5}" srcOrd="0" destOrd="0" parTransId="{2A2ACF79-37B2-40DE-B80C-1B7EBCCF61EA}" sibTransId="{89059A66-1B97-4D54-8F1D-A3DB7766CD1D}"/>
    <dgm:cxn modelId="{FA89EDCC-7BC4-433D-AD73-A117BBA672F3}" type="presOf" srcId="{85205692-5816-4CC1-A452-ED81931515FF}" destId="{5802E954-9353-495F-8F16-EB7680905622}" srcOrd="0" destOrd="0" presId="urn:microsoft.com/office/officeart/2005/8/layout/pyramid2"/>
    <dgm:cxn modelId="{B552BFD9-9724-4773-A35E-7A7640DC778F}" type="presOf" srcId="{180AA572-5430-459D-96A2-A8DEB2AA8C0B}" destId="{5AE05444-5264-4160-844A-D6C1B6ED5BBD}" srcOrd="0" destOrd="0" presId="urn:microsoft.com/office/officeart/2005/8/layout/pyramid2"/>
    <dgm:cxn modelId="{4DDFE30F-A480-4552-B341-E513EA06FDE0}" type="presOf" srcId="{98932FF3-7A5A-448D-A721-EDC3693BF758}" destId="{2FCF431A-10FA-4559-AF62-2F268A7ACD2E}" srcOrd="0" destOrd="0" presId="urn:microsoft.com/office/officeart/2005/8/layout/pyramid2"/>
    <dgm:cxn modelId="{81ED35D3-2FEB-471F-98E8-56C4840E3B0D}" type="presParOf" srcId="{5AE05444-5264-4160-844A-D6C1B6ED5BBD}" destId="{8E7000E3-6795-43A2-8D12-0F84431694A0}" srcOrd="0" destOrd="0" presId="urn:microsoft.com/office/officeart/2005/8/layout/pyramid2"/>
    <dgm:cxn modelId="{04D3C047-C3CF-4FA6-BFA8-DB0F41B63649}" type="presParOf" srcId="{5AE05444-5264-4160-844A-D6C1B6ED5BBD}" destId="{9BB9A241-E680-4A52-ABE3-0457D731C5CB}" srcOrd="1" destOrd="0" presId="urn:microsoft.com/office/officeart/2005/8/layout/pyramid2"/>
    <dgm:cxn modelId="{D80370DC-BDC1-41DE-A6D5-60B3B04CE6B5}" type="presParOf" srcId="{9BB9A241-E680-4A52-ABE3-0457D731C5CB}" destId="{BAC4B8E5-96B1-431E-8C39-68DC21EB8FBB}" srcOrd="0" destOrd="0" presId="urn:microsoft.com/office/officeart/2005/8/layout/pyramid2"/>
    <dgm:cxn modelId="{E20FEDD4-C411-4A6A-99B8-DC5469477AFB}" type="presParOf" srcId="{9BB9A241-E680-4A52-ABE3-0457D731C5CB}" destId="{DC33E74B-E636-48EC-8269-07D3606D1A3F}" srcOrd="1" destOrd="0" presId="urn:microsoft.com/office/officeart/2005/8/layout/pyramid2"/>
    <dgm:cxn modelId="{9D3A1560-CD0C-43B0-98C6-F0583BE7C3BD}" type="presParOf" srcId="{9BB9A241-E680-4A52-ABE3-0457D731C5CB}" destId="{2FCF431A-10FA-4559-AF62-2F268A7ACD2E}" srcOrd="2" destOrd="0" presId="urn:microsoft.com/office/officeart/2005/8/layout/pyramid2"/>
    <dgm:cxn modelId="{C9DC41CE-847A-4210-BF95-F96E1AB65DF7}" type="presParOf" srcId="{9BB9A241-E680-4A52-ABE3-0457D731C5CB}" destId="{B8FE92DE-A903-4542-A795-4E6C4B01F4A1}" srcOrd="3" destOrd="0" presId="urn:microsoft.com/office/officeart/2005/8/layout/pyramid2"/>
    <dgm:cxn modelId="{8FF4D17E-8655-462C-AB3B-B357B7FC575D}" type="presParOf" srcId="{9BB9A241-E680-4A52-ABE3-0457D731C5CB}" destId="{01A469B9-0B7C-4DD9-8A63-8ABCACB31E0C}" srcOrd="4" destOrd="0" presId="urn:microsoft.com/office/officeart/2005/8/layout/pyramid2"/>
    <dgm:cxn modelId="{41C0E263-B0D1-4A43-86A5-3EA2BAA91872}" type="presParOf" srcId="{9BB9A241-E680-4A52-ABE3-0457D731C5CB}" destId="{71D27774-C55B-45E2-950A-69245F4E7C66}" srcOrd="5" destOrd="0" presId="urn:microsoft.com/office/officeart/2005/8/layout/pyramid2"/>
    <dgm:cxn modelId="{5FE8DFAB-3F35-47CA-9457-95188A296D0A}" type="presParOf" srcId="{9BB9A241-E680-4A52-ABE3-0457D731C5CB}" destId="{5802E954-9353-495F-8F16-EB7680905622}" srcOrd="6" destOrd="0" presId="urn:microsoft.com/office/officeart/2005/8/layout/pyramid2"/>
    <dgm:cxn modelId="{62D0EC8B-50C5-457B-9FFB-43FA75ACDA13}" type="presParOf" srcId="{9BB9A241-E680-4A52-ABE3-0457D731C5CB}" destId="{C0199DCF-62A2-433D-9255-5114A4D4AB4F}" srcOrd="7" destOrd="0" presId="urn:microsoft.com/office/officeart/2005/8/layout/pyramid2"/>
    <dgm:cxn modelId="{C090E2AF-6158-4314-B138-3A0379CE3323}" type="presParOf" srcId="{9BB9A241-E680-4A52-ABE3-0457D731C5CB}" destId="{C5B36F64-9415-4418-912D-33BFC6F2B9F3}" srcOrd="8" destOrd="0" presId="urn:microsoft.com/office/officeart/2005/8/layout/pyramid2"/>
    <dgm:cxn modelId="{75773895-CD78-469B-9E22-DAA33DFEDF9E}" type="presParOf" srcId="{9BB9A241-E680-4A52-ABE3-0457D731C5CB}" destId="{6A57BA5B-1CDA-4EA0-AA71-0182102D897E}" srcOrd="9" destOrd="0" presId="urn:microsoft.com/office/officeart/2005/8/layout/pyramid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CD94CA8-8B01-4469-AB6F-4AC2084AF29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E94E63E6-BA5D-4DC8-8442-23F3DFBE8469}">
      <dgm:prSet phldrT="[Text]" custT="1"/>
      <dgm:spPr/>
      <dgm:t>
        <a:bodyPr/>
        <a:lstStyle/>
        <a:p>
          <a:r>
            <a:rPr lang="de-DE" sz="2000" dirty="0">
              <a:latin typeface="Tahoma" panose="020B0604030504040204" pitchFamily="34" charset="0"/>
              <a:ea typeface="Tahoma" panose="020B0604030504040204" pitchFamily="34" charset="0"/>
              <a:cs typeface="Tahoma" panose="020B0604030504040204" pitchFamily="34" charset="0"/>
            </a:rPr>
            <a:t>Impulsvorträge</a:t>
          </a:r>
        </a:p>
      </dgm:t>
    </dgm:pt>
    <dgm:pt modelId="{9AEB4C77-B41D-4C12-8F63-0453530AD568}" type="parTrans" cxnId="{AB7B4624-7126-448F-B6E5-0D819DA80B29}">
      <dgm:prSet/>
      <dgm:spPr/>
      <dgm:t>
        <a:bodyPr/>
        <a:lstStyle/>
        <a:p>
          <a:endParaRPr lang="de-DE"/>
        </a:p>
      </dgm:t>
    </dgm:pt>
    <dgm:pt modelId="{F1451490-5816-4B62-BE67-7970527D6538}" type="sibTrans" cxnId="{AB7B4624-7126-448F-B6E5-0D819DA80B29}">
      <dgm:prSet/>
      <dgm:spPr/>
      <dgm:t>
        <a:bodyPr/>
        <a:lstStyle/>
        <a:p>
          <a:endParaRPr lang="de-DE"/>
        </a:p>
      </dgm:t>
    </dgm:pt>
    <dgm:pt modelId="{1765C12A-34B8-436B-961D-231C4298EAA7}">
      <dgm:prSet phldrT="[Text]" custT="1"/>
      <dgm:spPr/>
      <dgm:t>
        <a:bodyPr/>
        <a:lstStyle/>
        <a:p>
          <a:r>
            <a:rPr lang="de-DE" sz="2000" dirty="0">
              <a:latin typeface="Tahoma" panose="020B0604030504040204" pitchFamily="34" charset="0"/>
              <a:ea typeface="Tahoma" panose="020B0604030504040204" pitchFamily="34" charset="0"/>
              <a:cs typeface="Tahoma" panose="020B0604030504040204" pitchFamily="34" charset="0"/>
            </a:rPr>
            <a:t>interaktive Workshops (Führungskräfte und MA)</a:t>
          </a:r>
        </a:p>
      </dgm:t>
    </dgm:pt>
    <dgm:pt modelId="{AE595C5F-7F45-4E0E-B812-D040507C4DEB}" type="parTrans" cxnId="{C810AD10-AEDF-41D9-A0AB-D8F9090C7E83}">
      <dgm:prSet/>
      <dgm:spPr/>
      <dgm:t>
        <a:bodyPr/>
        <a:lstStyle/>
        <a:p>
          <a:endParaRPr lang="de-DE"/>
        </a:p>
      </dgm:t>
    </dgm:pt>
    <dgm:pt modelId="{66531433-4EEA-4824-A3BB-D0EEFF2E12F4}" type="sibTrans" cxnId="{C810AD10-AEDF-41D9-A0AB-D8F9090C7E83}">
      <dgm:prSet/>
      <dgm:spPr/>
      <dgm:t>
        <a:bodyPr/>
        <a:lstStyle/>
        <a:p>
          <a:endParaRPr lang="de-DE"/>
        </a:p>
      </dgm:t>
    </dgm:pt>
    <dgm:pt modelId="{24FA9AC1-94BF-46DA-9A03-D07CF5CEDFBB}">
      <dgm:prSet phldrT="[Text]" custT="1"/>
      <dgm:spPr/>
      <dgm:t>
        <a:bodyPr/>
        <a:lstStyle/>
        <a:p>
          <a:r>
            <a:rPr lang="de-DE" sz="2000" dirty="0">
              <a:latin typeface="Tahoma" panose="020B0604030504040204" pitchFamily="34" charset="0"/>
              <a:ea typeface="Tahoma" panose="020B0604030504040204" pitchFamily="34" charset="0"/>
              <a:cs typeface="Tahoma" panose="020B0604030504040204" pitchFamily="34" charset="0"/>
            </a:rPr>
            <a:t>Maßnahmen basierend auf selbstorganisiertem Lernen</a:t>
          </a:r>
        </a:p>
      </dgm:t>
    </dgm:pt>
    <dgm:pt modelId="{BFBCB171-EE1D-4908-AE2F-11D379412609}" type="parTrans" cxnId="{E343676E-D913-4D46-A19E-ED52EC47CEF2}">
      <dgm:prSet/>
      <dgm:spPr/>
      <dgm:t>
        <a:bodyPr/>
        <a:lstStyle/>
        <a:p>
          <a:endParaRPr lang="de-DE"/>
        </a:p>
      </dgm:t>
    </dgm:pt>
    <dgm:pt modelId="{83F31279-CAC6-4A84-AC66-5488C199C3B4}" type="sibTrans" cxnId="{E343676E-D913-4D46-A19E-ED52EC47CEF2}">
      <dgm:prSet/>
      <dgm:spPr/>
      <dgm:t>
        <a:bodyPr/>
        <a:lstStyle/>
        <a:p>
          <a:endParaRPr lang="de-DE"/>
        </a:p>
      </dgm:t>
    </dgm:pt>
    <dgm:pt modelId="{AD49C8CF-4A6C-46C4-A8A1-91004400AABE}">
      <dgm:prSet phldrT="[Text]" custT="1"/>
      <dgm:spPr/>
      <dgm:t>
        <a:bodyPr/>
        <a:lstStyle/>
        <a:p>
          <a:r>
            <a:rPr lang="de-DE" sz="2000" dirty="0">
              <a:latin typeface="Tahoma" panose="020B0604030504040204" pitchFamily="34" charset="0"/>
              <a:ea typeface="Tahoma" panose="020B0604030504040204" pitchFamily="34" charset="0"/>
              <a:cs typeface="Tahoma" panose="020B0604030504040204" pitchFamily="34" charset="0"/>
            </a:rPr>
            <a:t>begleitende Beratung</a:t>
          </a:r>
        </a:p>
      </dgm:t>
    </dgm:pt>
    <dgm:pt modelId="{A74B1247-C3E5-4C8E-994F-DFD5624BD947}" type="parTrans" cxnId="{588F5CC6-1DC3-4A42-BD01-C8D90854D2FB}">
      <dgm:prSet/>
      <dgm:spPr/>
      <dgm:t>
        <a:bodyPr/>
        <a:lstStyle/>
        <a:p>
          <a:endParaRPr lang="de-DE"/>
        </a:p>
      </dgm:t>
    </dgm:pt>
    <dgm:pt modelId="{A4A85205-D28B-4B0D-B9EC-0A3F3CAD9294}" type="sibTrans" cxnId="{588F5CC6-1DC3-4A42-BD01-C8D90854D2FB}">
      <dgm:prSet/>
      <dgm:spPr/>
      <dgm:t>
        <a:bodyPr/>
        <a:lstStyle/>
        <a:p>
          <a:endParaRPr lang="de-DE"/>
        </a:p>
      </dgm:t>
    </dgm:pt>
    <dgm:pt modelId="{EC18E7D9-7E92-4ED7-9F30-BFBC30C19EE0}">
      <dgm:prSet phldrT="[Text]" custT="1"/>
      <dgm:spPr/>
      <dgm:t>
        <a:bodyPr/>
        <a:lstStyle/>
        <a:p>
          <a:r>
            <a:rPr lang="de-DE" sz="2000" dirty="0">
              <a:latin typeface="Tahoma" panose="020B0604030504040204" pitchFamily="34" charset="0"/>
              <a:ea typeface="Tahoma" panose="020B0604030504040204" pitchFamily="34" charset="0"/>
              <a:cs typeface="Tahoma" panose="020B0604030504040204" pitchFamily="34" charset="0"/>
            </a:rPr>
            <a:t>gemeinsame Follow-</a:t>
          </a:r>
          <a:r>
            <a:rPr lang="de-DE" sz="2000" dirty="0" err="1">
              <a:latin typeface="Tahoma" panose="020B0604030504040204" pitchFamily="34" charset="0"/>
              <a:ea typeface="Tahoma" panose="020B0604030504040204" pitchFamily="34" charset="0"/>
              <a:cs typeface="Tahoma" panose="020B0604030504040204" pitchFamily="34" charset="0"/>
            </a:rPr>
            <a:t>up</a:t>
          </a:r>
          <a:r>
            <a:rPr lang="de-DE" sz="2000" dirty="0">
              <a:latin typeface="Tahoma" panose="020B0604030504040204" pitchFamily="34" charset="0"/>
              <a:ea typeface="Tahoma" panose="020B0604030504040204" pitchFamily="34" charset="0"/>
              <a:cs typeface="Tahoma" panose="020B0604030504040204" pitchFamily="34" charset="0"/>
            </a:rPr>
            <a:t>-Sessions</a:t>
          </a:r>
        </a:p>
      </dgm:t>
    </dgm:pt>
    <dgm:pt modelId="{AC436D30-C79D-45D3-A621-BC2DB18AB938}" type="parTrans" cxnId="{F81ADEFF-A3AE-4BF0-8701-4448996FE0B2}">
      <dgm:prSet/>
      <dgm:spPr/>
      <dgm:t>
        <a:bodyPr/>
        <a:lstStyle/>
        <a:p>
          <a:endParaRPr lang="de-DE"/>
        </a:p>
      </dgm:t>
    </dgm:pt>
    <dgm:pt modelId="{B28047B9-E3B6-4FA5-BFEA-C9D0422D7765}" type="sibTrans" cxnId="{F81ADEFF-A3AE-4BF0-8701-4448996FE0B2}">
      <dgm:prSet/>
      <dgm:spPr/>
      <dgm:t>
        <a:bodyPr/>
        <a:lstStyle/>
        <a:p>
          <a:endParaRPr lang="de-DE"/>
        </a:p>
      </dgm:t>
    </dgm:pt>
    <dgm:pt modelId="{F97FB381-3C08-45DF-BFB2-466153FBB868}" type="pres">
      <dgm:prSet presAssocID="{9CD94CA8-8B01-4469-AB6F-4AC2084AF29A}" presName="Name0" presStyleCnt="0">
        <dgm:presLayoutVars>
          <dgm:chMax val="7"/>
          <dgm:chPref val="7"/>
          <dgm:dir/>
        </dgm:presLayoutVars>
      </dgm:prSet>
      <dgm:spPr/>
      <dgm:t>
        <a:bodyPr/>
        <a:lstStyle/>
        <a:p>
          <a:endParaRPr lang="de-AT"/>
        </a:p>
      </dgm:t>
    </dgm:pt>
    <dgm:pt modelId="{EDFC2CD7-0922-49D4-A222-D1C55895D48A}" type="pres">
      <dgm:prSet presAssocID="{9CD94CA8-8B01-4469-AB6F-4AC2084AF29A}" presName="Name1" presStyleCnt="0"/>
      <dgm:spPr/>
    </dgm:pt>
    <dgm:pt modelId="{A71BB9F6-8C40-4A8E-8497-84A96B98BE8E}" type="pres">
      <dgm:prSet presAssocID="{9CD94CA8-8B01-4469-AB6F-4AC2084AF29A}" presName="cycle" presStyleCnt="0"/>
      <dgm:spPr/>
    </dgm:pt>
    <dgm:pt modelId="{80BFC8AC-FD24-4C53-9F1D-1020A6792DE0}" type="pres">
      <dgm:prSet presAssocID="{9CD94CA8-8B01-4469-AB6F-4AC2084AF29A}" presName="srcNode" presStyleLbl="node1" presStyleIdx="0" presStyleCnt="5"/>
      <dgm:spPr/>
    </dgm:pt>
    <dgm:pt modelId="{673BD1F1-9C2B-422A-AA11-6C968C5043E6}" type="pres">
      <dgm:prSet presAssocID="{9CD94CA8-8B01-4469-AB6F-4AC2084AF29A}" presName="conn" presStyleLbl="parChTrans1D2" presStyleIdx="0" presStyleCnt="1"/>
      <dgm:spPr/>
      <dgm:t>
        <a:bodyPr/>
        <a:lstStyle/>
        <a:p>
          <a:endParaRPr lang="de-AT"/>
        </a:p>
      </dgm:t>
    </dgm:pt>
    <dgm:pt modelId="{766FFA7C-9E09-46C7-9E9D-9E86E562519D}" type="pres">
      <dgm:prSet presAssocID="{9CD94CA8-8B01-4469-AB6F-4AC2084AF29A}" presName="extraNode" presStyleLbl="node1" presStyleIdx="0" presStyleCnt="5"/>
      <dgm:spPr/>
    </dgm:pt>
    <dgm:pt modelId="{91453649-559F-4C2F-BD0F-D1E5AB37BAAC}" type="pres">
      <dgm:prSet presAssocID="{9CD94CA8-8B01-4469-AB6F-4AC2084AF29A}" presName="dstNode" presStyleLbl="node1" presStyleIdx="0" presStyleCnt="5"/>
      <dgm:spPr/>
    </dgm:pt>
    <dgm:pt modelId="{F6AE7A97-9D27-46C6-8C7C-C1188427135B}" type="pres">
      <dgm:prSet presAssocID="{E94E63E6-BA5D-4DC8-8442-23F3DFBE8469}" presName="text_1" presStyleLbl="node1" presStyleIdx="0" presStyleCnt="5">
        <dgm:presLayoutVars>
          <dgm:bulletEnabled val="1"/>
        </dgm:presLayoutVars>
      </dgm:prSet>
      <dgm:spPr/>
      <dgm:t>
        <a:bodyPr/>
        <a:lstStyle/>
        <a:p>
          <a:endParaRPr lang="de-AT"/>
        </a:p>
      </dgm:t>
    </dgm:pt>
    <dgm:pt modelId="{E85194A7-0BAF-482B-919C-C2B948657FE6}" type="pres">
      <dgm:prSet presAssocID="{E94E63E6-BA5D-4DC8-8442-23F3DFBE8469}" presName="accent_1" presStyleCnt="0"/>
      <dgm:spPr/>
    </dgm:pt>
    <dgm:pt modelId="{F2C66534-BB74-4DA5-B400-6D9625659E3F}" type="pres">
      <dgm:prSet presAssocID="{E94E63E6-BA5D-4DC8-8442-23F3DFBE8469}" presName="accentRepeatNode" presStyleLbl="solidFgAcc1" presStyleIdx="0" presStyleCnt="5"/>
      <dgm:spPr/>
    </dgm:pt>
    <dgm:pt modelId="{F42BE214-BBAA-451C-AAE7-4E59DE2F49B6}" type="pres">
      <dgm:prSet presAssocID="{1765C12A-34B8-436B-961D-231C4298EAA7}" presName="text_2" presStyleLbl="node1" presStyleIdx="1" presStyleCnt="5">
        <dgm:presLayoutVars>
          <dgm:bulletEnabled val="1"/>
        </dgm:presLayoutVars>
      </dgm:prSet>
      <dgm:spPr/>
      <dgm:t>
        <a:bodyPr/>
        <a:lstStyle/>
        <a:p>
          <a:endParaRPr lang="de-AT"/>
        </a:p>
      </dgm:t>
    </dgm:pt>
    <dgm:pt modelId="{EAE7BE14-0BD6-4727-80A0-A5AC332F88E7}" type="pres">
      <dgm:prSet presAssocID="{1765C12A-34B8-436B-961D-231C4298EAA7}" presName="accent_2" presStyleCnt="0"/>
      <dgm:spPr/>
    </dgm:pt>
    <dgm:pt modelId="{9F7BA35F-7E7F-46F7-9335-D5097C6ACDBA}" type="pres">
      <dgm:prSet presAssocID="{1765C12A-34B8-436B-961D-231C4298EAA7}" presName="accentRepeatNode" presStyleLbl="solidFgAcc1" presStyleIdx="1" presStyleCnt="5"/>
      <dgm:spPr/>
    </dgm:pt>
    <dgm:pt modelId="{62E9DE02-A7CF-438A-A0AD-979D7D0E0336}" type="pres">
      <dgm:prSet presAssocID="{24FA9AC1-94BF-46DA-9A03-D07CF5CEDFBB}" presName="text_3" presStyleLbl="node1" presStyleIdx="2" presStyleCnt="5">
        <dgm:presLayoutVars>
          <dgm:bulletEnabled val="1"/>
        </dgm:presLayoutVars>
      </dgm:prSet>
      <dgm:spPr/>
      <dgm:t>
        <a:bodyPr/>
        <a:lstStyle/>
        <a:p>
          <a:endParaRPr lang="de-AT"/>
        </a:p>
      </dgm:t>
    </dgm:pt>
    <dgm:pt modelId="{564CEE1E-0EED-4821-BC65-04C9836D769A}" type="pres">
      <dgm:prSet presAssocID="{24FA9AC1-94BF-46DA-9A03-D07CF5CEDFBB}" presName="accent_3" presStyleCnt="0"/>
      <dgm:spPr/>
    </dgm:pt>
    <dgm:pt modelId="{30A3928D-A407-4839-9133-197C6AE29DB4}" type="pres">
      <dgm:prSet presAssocID="{24FA9AC1-94BF-46DA-9A03-D07CF5CEDFBB}" presName="accentRepeatNode" presStyleLbl="solidFgAcc1" presStyleIdx="2" presStyleCnt="5"/>
      <dgm:spPr/>
    </dgm:pt>
    <dgm:pt modelId="{184A9BA6-25CB-4A18-9B75-EA4813C7B717}" type="pres">
      <dgm:prSet presAssocID="{AD49C8CF-4A6C-46C4-A8A1-91004400AABE}" presName="text_4" presStyleLbl="node1" presStyleIdx="3" presStyleCnt="5">
        <dgm:presLayoutVars>
          <dgm:bulletEnabled val="1"/>
        </dgm:presLayoutVars>
      </dgm:prSet>
      <dgm:spPr/>
      <dgm:t>
        <a:bodyPr/>
        <a:lstStyle/>
        <a:p>
          <a:endParaRPr lang="de-AT"/>
        </a:p>
      </dgm:t>
    </dgm:pt>
    <dgm:pt modelId="{92DE36EA-13EF-4EC7-9FE1-18FC2B84EB50}" type="pres">
      <dgm:prSet presAssocID="{AD49C8CF-4A6C-46C4-A8A1-91004400AABE}" presName="accent_4" presStyleCnt="0"/>
      <dgm:spPr/>
    </dgm:pt>
    <dgm:pt modelId="{4F45320D-5647-4595-BDEF-6B500E364A06}" type="pres">
      <dgm:prSet presAssocID="{AD49C8CF-4A6C-46C4-A8A1-91004400AABE}" presName="accentRepeatNode" presStyleLbl="solidFgAcc1" presStyleIdx="3" presStyleCnt="5"/>
      <dgm:spPr/>
    </dgm:pt>
    <dgm:pt modelId="{1FB626D4-55B2-42C4-AED7-86F439500992}" type="pres">
      <dgm:prSet presAssocID="{EC18E7D9-7E92-4ED7-9F30-BFBC30C19EE0}" presName="text_5" presStyleLbl="node1" presStyleIdx="4" presStyleCnt="5">
        <dgm:presLayoutVars>
          <dgm:bulletEnabled val="1"/>
        </dgm:presLayoutVars>
      </dgm:prSet>
      <dgm:spPr/>
      <dgm:t>
        <a:bodyPr/>
        <a:lstStyle/>
        <a:p>
          <a:endParaRPr lang="de-AT"/>
        </a:p>
      </dgm:t>
    </dgm:pt>
    <dgm:pt modelId="{1A0FF2CD-9BE4-405A-9E5E-03A89D460B25}" type="pres">
      <dgm:prSet presAssocID="{EC18E7D9-7E92-4ED7-9F30-BFBC30C19EE0}" presName="accent_5" presStyleCnt="0"/>
      <dgm:spPr/>
    </dgm:pt>
    <dgm:pt modelId="{972AC35E-3066-41F7-979D-365809950A2A}" type="pres">
      <dgm:prSet presAssocID="{EC18E7D9-7E92-4ED7-9F30-BFBC30C19EE0}" presName="accentRepeatNode" presStyleLbl="solidFgAcc1" presStyleIdx="4" presStyleCnt="5"/>
      <dgm:spPr/>
    </dgm:pt>
  </dgm:ptLst>
  <dgm:cxnLst>
    <dgm:cxn modelId="{272110E1-3DB7-448A-8E47-A545516A1856}" type="presOf" srcId="{AD49C8CF-4A6C-46C4-A8A1-91004400AABE}" destId="{184A9BA6-25CB-4A18-9B75-EA4813C7B717}" srcOrd="0" destOrd="0" presId="urn:microsoft.com/office/officeart/2008/layout/VerticalCurvedList"/>
    <dgm:cxn modelId="{7529DFD2-CF62-4EA6-95C8-F1117A8773A8}" type="presOf" srcId="{9CD94CA8-8B01-4469-AB6F-4AC2084AF29A}" destId="{F97FB381-3C08-45DF-BFB2-466153FBB868}" srcOrd="0" destOrd="0" presId="urn:microsoft.com/office/officeart/2008/layout/VerticalCurvedList"/>
    <dgm:cxn modelId="{86267B3A-2523-4985-8D5D-91012363FF3A}" type="presOf" srcId="{F1451490-5816-4B62-BE67-7970527D6538}" destId="{673BD1F1-9C2B-422A-AA11-6C968C5043E6}" srcOrd="0" destOrd="0" presId="urn:microsoft.com/office/officeart/2008/layout/VerticalCurvedList"/>
    <dgm:cxn modelId="{588F5CC6-1DC3-4A42-BD01-C8D90854D2FB}" srcId="{9CD94CA8-8B01-4469-AB6F-4AC2084AF29A}" destId="{AD49C8CF-4A6C-46C4-A8A1-91004400AABE}" srcOrd="3" destOrd="0" parTransId="{A74B1247-C3E5-4C8E-994F-DFD5624BD947}" sibTransId="{A4A85205-D28B-4B0D-B9EC-0A3F3CAD9294}"/>
    <dgm:cxn modelId="{E1B4F3B2-9A03-4CE8-A5DF-AA5904A9C315}" type="presOf" srcId="{24FA9AC1-94BF-46DA-9A03-D07CF5CEDFBB}" destId="{62E9DE02-A7CF-438A-A0AD-979D7D0E0336}" srcOrd="0" destOrd="0" presId="urn:microsoft.com/office/officeart/2008/layout/VerticalCurvedList"/>
    <dgm:cxn modelId="{0A91D3E1-8E16-44B7-BBE7-D5B396BDA2EC}" type="presOf" srcId="{E94E63E6-BA5D-4DC8-8442-23F3DFBE8469}" destId="{F6AE7A97-9D27-46C6-8C7C-C1188427135B}" srcOrd="0" destOrd="0" presId="urn:microsoft.com/office/officeart/2008/layout/VerticalCurvedList"/>
    <dgm:cxn modelId="{522C4018-E856-4331-BC9B-46AE8EC8C0BF}" type="presOf" srcId="{1765C12A-34B8-436B-961D-231C4298EAA7}" destId="{F42BE214-BBAA-451C-AAE7-4E59DE2F49B6}" srcOrd="0" destOrd="0" presId="urn:microsoft.com/office/officeart/2008/layout/VerticalCurvedList"/>
    <dgm:cxn modelId="{F81ADEFF-A3AE-4BF0-8701-4448996FE0B2}" srcId="{9CD94CA8-8B01-4469-AB6F-4AC2084AF29A}" destId="{EC18E7D9-7E92-4ED7-9F30-BFBC30C19EE0}" srcOrd="4" destOrd="0" parTransId="{AC436D30-C79D-45D3-A621-BC2DB18AB938}" sibTransId="{B28047B9-E3B6-4FA5-BFEA-C9D0422D7765}"/>
    <dgm:cxn modelId="{C810AD10-AEDF-41D9-A0AB-D8F9090C7E83}" srcId="{9CD94CA8-8B01-4469-AB6F-4AC2084AF29A}" destId="{1765C12A-34B8-436B-961D-231C4298EAA7}" srcOrd="1" destOrd="0" parTransId="{AE595C5F-7F45-4E0E-B812-D040507C4DEB}" sibTransId="{66531433-4EEA-4824-A3BB-D0EEFF2E12F4}"/>
    <dgm:cxn modelId="{AB7B4624-7126-448F-B6E5-0D819DA80B29}" srcId="{9CD94CA8-8B01-4469-AB6F-4AC2084AF29A}" destId="{E94E63E6-BA5D-4DC8-8442-23F3DFBE8469}" srcOrd="0" destOrd="0" parTransId="{9AEB4C77-B41D-4C12-8F63-0453530AD568}" sibTransId="{F1451490-5816-4B62-BE67-7970527D6538}"/>
    <dgm:cxn modelId="{62B16931-3CF0-4CB9-A5E2-F4A45A1B3BA5}" type="presOf" srcId="{EC18E7D9-7E92-4ED7-9F30-BFBC30C19EE0}" destId="{1FB626D4-55B2-42C4-AED7-86F439500992}" srcOrd="0" destOrd="0" presId="urn:microsoft.com/office/officeart/2008/layout/VerticalCurvedList"/>
    <dgm:cxn modelId="{E343676E-D913-4D46-A19E-ED52EC47CEF2}" srcId="{9CD94CA8-8B01-4469-AB6F-4AC2084AF29A}" destId="{24FA9AC1-94BF-46DA-9A03-D07CF5CEDFBB}" srcOrd="2" destOrd="0" parTransId="{BFBCB171-EE1D-4908-AE2F-11D379412609}" sibTransId="{83F31279-CAC6-4A84-AC66-5488C199C3B4}"/>
    <dgm:cxn modelId="{06B081E1-91CA-46DB-B9D7-942D2C77B4C6}" type="presParOf" srcId="{F97FB381-3C08-45DF-BFB2-466153FBB868}" destId="{EDFC2CD7-0922-49D4-A222-D1C55895D48A}" srcOrd="0" destOrd="0" presId="urn:microsoft.com/office/officeart/2008/layout/VerticalCurvedList"/>
    <dgm:cxn modelId="{09821E77-3982-4A17-969A-1109298CD238}" type="presParOf" srcId="{EDFC2CD7-0922-49D4-A222-D1C55895D48A}" destId="{A71BB9F6-8C40-4A8E-8497-84A96B98BE8E}" srcOrd="0" destOrd="0" presId="urn:microsoft.com/office/officeart/2008/layout/VerticalCurvedList"/>
    <dgm:cxn modelId="{D3EF3525-0F59-4562-B5BD-4CCAAB526401}" type="presParOf" srcId="{A71BB9F6-8C40-4A8E-8497-84A96B98BE8E}" destId="{80BFC8AC-FD24-4C53-9F1D-1020A6792DE0}" srcOrd="0" destOrd="0" presId="urn:microsoft.com/office/officeart/2008/layout/VerticalCurvedList"/>
    <dgm:cxn modelId="{B959F00F-5391-4590-BE3B-D0A62794FB15}" type="presParOf" srcId="{A71BB9F6-8C40-4A8E-8497-84A96B98BE8E}" destId="{673BD1F1-9C2B-422A-AA11-6C968C5043E6}" srcOrd="1" destOrd="0" presId="urn:microsoft.com/office/officeart/2008/layout/VerticalCurvedList"/>
    <dgm:cxn modelId="{6010DA2D-159E-4BDD-AE0C-CF14BCEB8F6B}" type="presParOf" srcId="{A71BB9F6-8C40-4A8E-8497-84A96B98BE8E}" destId="{766FFA7C-9E09-46C7-9E9D-9E86E562519D}" srcOrd="2" destOrd="0" presId="urn:microsoft.com/office/officeart/2008/layout/VerticalCurvedList"/>
    <dgm:cxn modelId="{F00BBD5A-4BBF-4D60-978A-B38524701718}" type="presParOf" srcId="{A71BB9F6-8C40-4A8E-8497-84A96B98BE8E}" destId="{91453649-559F-4C2F-BD0F-D1E5AB37BAAC}" srcOrd="3" destOrd="0" presId="urn:microsoft.com/office/officeart/2008/layout/VerticalCurvedList"/>
    <dgm:cxn modelId="{2E66F95A-ACC3-45F4-B31D-93CA6531CB18}" type="presParOf" srcId="{EDFC2CD7-0922-49D4-A222-D1C55895D48A}" destId="{F6AE7A97-9D27-46C6-8C7C-C1188427135B}" srcOrd="1" destOrd="0" presId="urn:microsoft.com/office/officeart/2008/layout/VerticalCurvedList"/>
    <dgm:cxn modelId="{A3DF7A13-CE2E-4C6F-A9E5-391387433000}" type="presParOf" srcId="{EDFC2CD7-0922-49D4-A222-D1C55895D48A}" destId="{E85194A7-0BAF-482B-919C-C2B948657FE6}" srcOrd="2" destOrd="0" presId="urn:microsoft.com/office/officeart/2008/layout/VerticalCurvedList"/>
    <dgm:cxn modelId="{C798B2EC-A8F2-44BD-B3AA-E514CAE57F06}" type="presParOf" srcId="{E85194A7-0BAF-482B-919C-C2B948657FE6}" destId="{F2C66534-BB74-4DA5-B400-6D9625659E3F}" srcOrd="0" destOrd="0" presId="urn:microsoft.com/office/officeart/2008/layout/VerticalCurvedList"/>
    <dgm:cxn modelId="{1D9BEDA5-5931-4326-9F95-EECB56E3B37E}" type="presParOf" srcId="{EDFC2CD7-0922-49D4-A222-D1C55895D48A}" destId="{F42BE214-BBAA-451C-AAE7-4E59DE2F49B6}" srcOrd="3" destOrd="0" presId="urn:microsoft.com/office/officeart/2008/layout/VerticalCurvedList"/>
    <dgm:cxn modelId="{D901367B-75C5-49E4-9FE4-B1159D9C402A}" type="presParOf" srcId="{EDFC2CD7-0922-49D4-A222-D1C55895D48A}" destId="{EAE7BE14-0BD6-4727-80A0-A5AC332F88E7}" srcOrd="4" destOrd="0" presId="urn:microsoft.com/office/officeart/2008/layout/VerticalCurvedList"/>
    <dgm:cxn modelId="{B5B88BED-C3C6-4844-BCD3-72C41CF50577}" type="presParOf" srcId="{EAE7BE14-0BD6-4727-80A0-A5AC332F88E7}" destId="{9F7BA35F-7E7F-46F7-9335-D5097C6ACDBA}" srcOrd="0" destOrd="0" presId="urn:microsoft.com/office/officeart/2008/layout/VerticalCurvedList"/>
    <dgm:cxn modelId="{8D52119F-5468-4BF7-9058-12D677FC5E57}" type="presParOf" srcId="{EDFC2CD7-0922-49D4-A222-D1C55895D48A}" destId="{62E9DE02-A7CF-438A-A0AD-979D7D0E0336}" srcOrd="5" destOrd="0" presId="urn:microsoft.com/office/officeart/2008/layout/VerticalCurvedList"/>
    <dgm:cxn modelId="{77C3A0FD-D1FA-48A4-9001-AB0B79FB4FEC}" type="presParOf" srcId="{EDFC2CD7-0922-49D4-A222-D1C55895D48A}" destId="{564CEE1E-0EED-4821-BC65-04C9836D769A}" srcOrd="6" destOrd="0" presId="urn:microsoft.com/office/officeart/2008/layout/VerticalCurvedList"/>
    <dgm:cxn modelId="{25FB03AC-A859-4BA2-A5E4-C843B332BB95}" type="presParOf" srcId="{564CEE1E-0EED-4821-BC65-04C9836D769A}" destId="{30A3928D-A407-4839-9133-197C6AE29DB4}" srcOrd="0" destOrd="0" presId="urn:microsoft.com/office/officeart/2008/layout/VerticalCurvedList"/>
    <dgm:cxn modelId="{B2566B88-8C9E-4290-8347-0F6CC7DDC16C}" type="presParOf" srcId="{EDFC2CD7-0922-49D4-A222-D1C55895D48A}" destId="{184A9BA6-25CB-4A18-9B75-EA4813C7B717}" srcOrd="7" destOrd="0" presId="urn:microsoft.com/office/officeart/2008/layout/VerticalCurvedList"/>
    <dgm:cxn modelId="{30A9F4D9-0007-4225-8201-A7243D8F0B68}" type="presParOf" srcId="{EDFC2CD7-0922-49D4-A222-D1C55895D48A}" destId="{92DE36EA-13EF-4EC7-9FE1-18FC2B84EB50}" srcOrd="8" destOrd="0" presId="urn:microsoft.com/office/officeart/2008/layout/VerticalCurvedList"/>
    <dgm:cxn modelId="{3D691EC3-754B-4292-B993-0C71B5F63683}" type="presParOf" srcId="{92DE36EA-13EF-4EC7-9FE1-18FC2B84EB50}" destId="{4F45320D-5647-4595-BDEF-6B500E364A06}" srcOrd="0" destOrd="0" presId="urn:microsoft.com/office/officeart/2008/layout/VerticalCurvedList"/>
    <dgm:cxn modelId="{038F6C4F-30B5-41E0-8167-9DA673190CF4}" type="presParOf" srcId="{EDFC2CD7-0922-49D4-A222-D1C55895D48A}" destId="{1FB626D4-55B2-42C4-AED7-86F439500992}" srcOrd="9" destOrd="0" presId="urn:microsoft.com/office/officeart/2008/layout/VerticalCurvedList"/>
    <dgm:cxn modelId="{1AAD3773-9BA4-44D6-A6F0-5423B7EA9467}" type="presParOf" srcId="{EDFC2CD7-0922-49D4-A222-D1C55895D48A}" destId="{1A0FF2CD-9BE4-405A-9E5E-03A89D460B25}" srcOrd="10" destOrd="0" presId="urn:microsoft.com/office/officeart/2008/layout/VerticalCurvedList"/>
    <dgm:cxn modelId="{D8BB4466-448D-431D-82B3-86FB2E92CED5}" type="presParOf" srcId="{1A0FF2CD-9BE4-405A-9E5E-03A89D460B25}" destId="{972AC35E-3066-41F7-979D-365809950A2A}" srcOrd="0" destOrd="0" presId="urn:microsoft.com/office/officeart/2008/layout/VerticalCurvedList"/>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B49D6F4-5AE7-4D3F-9A4F-6B1B8AF6BE6C}">
      <dsp:nvSpPr>
        <dsp:cNvPr id="0" name=""/>
        <dsp:cNvSpPr/>
      </dsp:nvSpPr>
      <dsp:spPr>
        <a:xfrm>
          <a:off x="1335068" y="0"/>
          <a:ext cx="5340273" cy="5340273"/>
        </a:xfrm>
        <a:prstGeom prst="quadArrow">
          <a:avLst>
            <a:gd name="adj1" fmla="val 2000"/>
            <a:gd name="adj2" fmla="val 4000"/>
            <a:gd name="adj3" fmla="val 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EB31F8-C166-40EB-801B-71EB5E8A1F6B}">
      <dsp:nvSpPr>
        <dsp:cNvPr id="0" name=""/>
        <dsp:cNvSpPr/>
      </dsp:nvSpPr>
      <dsp:spPr>
        <a:xfrm>
          <a:off x="1682185" y="347117"/>
          <a:ext cx="2136109" cy="213610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err="1">
              <a:latin typeface="Tahoma" panose="020B0604030504040204" pitchFamily="34" charset="0"/>
              <a:ea typeface="Tahoma" panose="020B0604030504040204" pitchFamily="34" charset="0"/>
              <a:cs typeface="Tahoma" panose="020B0604030504040204" pitchFamily="34" charset="0"/>
            </a:rPr>
            <a:t>Mitarbeiter</a:t>
          </a:r>
          <a:r>
            <a:rPr lang="en-US" sz="2000" kern="1200" dirty="0">
              <a:latin typeface="Tahoma" panose="020B0604030504040204" pitchFamily="34" charset="0"/>
              <a:ea typeface="Tahoma" panose="020B0604030504040204" pitchFamily="34" charset="0"/>
              <a:cs typeface="Tahoma" panose="020B0604030504040204" pitchFamily="34" charset="0"/>
            </a:rPr>
            <a:t>-</a:t>
          </a:r>
        </a:p>
        <a:p>
          <a:pPr lvl="0" algn="ctr" defTabSz="889000">
            <a:lnSpc>
              <a:spcPct val="90000"/>
            </a:lnSpc>
            <a:spcBef>
              <a:spcPct val="0"/>
            </a:spcBef>
            <a:spcAft>
              <a:spcPct val="35000"/>
            </a:spcAft>
          </a:pPr>
          <a:r>
            <a:rPr lang="en-US" sz="2000" kern="1200" dirty="0" err="1">
              <a:latin typeface="Tahoma" panose="020B0604030504040204" pitchFamily="34" charset="0"/>
              <a:ea typeface="Tahoma" panose="020B0604030504040204" pitchFamily="34" charset="0"/>
              <a:cs typeface="Tahoma" panose="020B0604030504040204" pitchFamily="34" charset="0"/>
            </a:rPr>
            <a:t>Innen</a:t>
          </a:r>
          <a:r>
            <a:rPr lang="en-US" sz="2000" kern="1200" dirty="0">
              <a:latin typeface="Tahoma" panose="020B0604030504040204" pitchFamily="34" charset="0"/>
              <a:ea typeface="Tahoma" panose="020B0604030504040204" pitchFamily="34" charset="0"/>
              <a:cs typeface="Tahoma" panose="020B0604030504040204" pitchFamily="34" charset="0"/>
            </a:rPr>
            <a:t> (MA) als </a:t>
          </a:r>
          <a:r>
            <a:rPr lang="en-US" sz="2000" kern="1200" dirty="0" err="1">
              <a:latin typeface="Tahoma" panose="020B0604030504040204" pitchFamily="34" charset="0"/>
              <a:ea typeface="Tahoma" panose="020B0604030504040204" pitchFamily="34" charset="0"/>
              <a:cs typeface="Tahoma" panose="020B0604030504040204" pitchFamily="34" charset="0"/>
            </a:rPr>
            <a:t>zentrale</a:t>
          </a:r>
          <a:r>
            <a:rPr lang="en-US" sz="2000" kern="1200" dirty="0">
              <a:latin typeface="Tahoma" panose="020B0604030504040204" pitchFamily="34" charset="0"/>
              <a:ea typeface="Tahoma" panose="020B0604030504040204" pitchFamily="34" charset="0"/>
              <a:cs typeface="Tahoma" panose="020B0604030504040204" pitchFamily="34" charset="0"/>
            </a:rPr>
            <a:t> </a:t>
          </a:r>
          <a:r>
            <a:rPr lang="en-US" sz="2000" kern="1200" dirty="0" err="1">
              <a:latin typeface="Tahoma" panose="020B0604030504040204" pitchFamily="34" charset="0"/>
              <a:ea typeface="Tahoma" panose="020B0604030504040204" pitchFamily="34" charset="0"/>
              <a:cs typeface="Tahoma" panose="020B0604030504040204" pitchFamily="34" charset="0"/>
            </a:rPr>
            <a:t>Unternehmens-ressource</a:t>
          </a:r>
          <a:endParaRPr lang="en-US" sz="2000" kern="1200" dirty="0"/>
        </a:p>
      </dsp:txBody>
      <dsp:txXfrm>
        <a:off x="1682185" y="347117"/>
        <a:ext cx="2136109" cy="2136109"/>
      </dsp:txXfrm>
    </dsp:sp>
    <dsp:sp modelId="{66F9ED37-5D6E-4004-BFF3-60F919BF8C9D}">
      <dsp:nvSpPr>
        <dsp:cNvPr id="0" name=""/>
        <dsp:cNvSpPr/>
      </dsp:nvSpPr>
      <dsp:spPr>
        <a:xfrm>
          <a:off x="4192114" y="347117"/>
          <a:ext cx="2136109" cy="213610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latin typeface="Tahoma" panose="020B0604030504040204" pitchFamily="34" charset="0"/>
              <a:ea typeface="Tahoma" panose="020B0604030504040204" pitchFamily="34" charset="0"/>
              <a:cs typeface="Tahoma" panose="020B0604030504040204" pitchFamily="34" charset="0"/>
            </a:rPr>
            <a:t>demo-</a:t>
          </a:r>
          <a:r>
            <a:rPr lang="en-US" sz="2000" kern="1200" dirty="0" err="1">
              <a:latin typeface="Tahoma" panose="020B0604030504040204" pitchFamily="34" charset="0"/>
              <a:ea typeface="Tahoma" panose="020B0604030504040204" pitchFamily="34" charset="0"/>
              <a:cs typeface="Tahoma" panose="020B0604030504040204" pitchFamily="34" charset="0"/>
            </a:rPr>
            <a:t>grafischer</a:t>
          </a:r>
          <a:r>
            <a:rPr lang="en-US" sz="2000" kern="1200" dirty="0">
              <a:latin typeface="Tahoma" panose="020B0604030504040204" pitchFamily="34" charset="0"/>
              <a:ea typeface="Tahoma" panose="020B0604030504040204" pitchFamily="34" charset="0"/>
              <a:cs typeface="Tahoma" panose="020B0604030504040204" pitchFamily="34" charset="0"/>
            </a:rPr>
            <a:t> </a:t>
          </a:r>
          <a:r>
            <a:rPr lang="en-US" sz="2000" kern="1200" dirty="0" err="1">
              <a:latin typeface="Tahoma" panose="020B0604030504040204" pitchFamily="34" charset="0"/>
              <a:ea typeface="Tahoma" panose="020B0604030504040204" pitchFamily="34" charset="0"/>
              <a:cs typeface="Tahoma" panose="020B0604030504040204" pitchFamily="34" charset="0"/>
            </a:rPr>
            <a:t>Wande</a:t>
          </a:r>
          <a:r>
            <a:rPr lang="en-US" sz="2200" kern="1200" dirty="0" err="1">
              <a:latin typeface="Tahoma" panose="020B0604030504040204" pitchFamily="34" charset="0"/>
              <a:ea typeface="Tahoma" panose="020B0604030504040204" pitchFamily="34" charset="0"/>
              <a:cs typeface="Tahoma" panose="020B0604030504040204" pitchFamily="34" charset="0"/>
            </a:rPr>
            <a:t>l</a:t>
          </a:r>
          <a:endParaRPr lang="en-US" sz="2200" kern="1200" dirty="0"/>
        </a:p>
      </dsp:txBody>
      <dsp:txXfrm>
        <a:off x="4192114" y="347117"/>
        <a:ext cx="2136109" cy="2136109"/>
      </dsp:txXfrm>
    </dsp:sp>
    <dsp:sp modelId="{5CD6AA72-8500-4B90-BEA7-78B0AC6A3627}">
      <dsp:nvSpPr>
        <dsp:cNvPr id="0" name=""/>
        <dsp:cNvSpPr/>
      </dsp:nvSpPr>
      <dsp:spPr>
        <a:xfrm>
          <a:off x="1682185" y="2857046"/>
          <a:ext cx="2136109" cy="213610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err="1">
              <a:latin typeface="Tahoma" panose="020B0604030504040204" pitchFamily="34" charset="0"/>
              <a:ea typeface="Tahoma" panose="020B0604030504040204" pitchFamily="34" charset="0"/>
              <a:cs typeface="Tahoma" panose="020B0604030504040204" pitchFamily="34" charset="0"/>
            </a:rPr>
            <a:t>Fachkräfte-mangel</a:t>
          </a:r>
          <a:endParaRPr lang="en-US" sz="2000" kern="1200" dirty="0"/>
        </a:p>
      </dsp:txBody>
      <dsp:txXfrm>
        <a:off x="1682185" y="2857046"/>
        <a:ext cx="2136109" cy="2136109"/>
      </dsp:txXfrm>
    </dsp:sp>
    <dsp:sp modelId="{681FB1A6-ED84-4609-85D9-C09DCC3FFF87}">
      <dsp:nvSpPr>
        <dsp:cNvPr id="0" name=""/>
        <dsp:cNvSpPr/>
      </dsp:nvSpPr>
      <dsp:spPr>
        <a:xfrm>
          <a:off x="4192114" y="2857046"/>
          <a:ext cx="2136109" cy="213610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latin typeface="Tahoma" panose="020B0604030504040204" pitchFamily="34" charset="0"/>
              <a:ea typeface="Tahoma" panose="020B0604030504040204" pitchFamily="34" charset="0"/>
              <a:cs typeface="Tahoma" panose="020B0604030504040204" pitchFamily="34" charset="0"/>
            </a:rPr>
            <a:t>Engagement und </a:t>
          </a:r>
          <a:r>
            <a:rPr lang="en-US" sz="2000" kern="1200" dirty="0" err="1">
              <a:latin typeface="Tahoma" panose="020B0604030504040204" pitchFamily="34" charset="0"/>
              <a:ea typeface="Tahoma" panose="020B0604030504040204" pitchFamily="34" charset="0"/>
              <a:cs typeface="Tahoma" panose="020B0604030504040204" pitchFamily="34" charset="0"/>
            </a:rPr>
            <a:t>Glücks-empfinden</a:t>
          </a:r>
          <a:r>
            <a:rPr lang="en-US" sz="2000" kern="1200" dirty="0">
              <a:latin typeface="Tahoma" panose="020B0604030504040204" pitchFamily="34" charset="0"/>
              <a:ea typeface="Tahoma" panose="020B0604030504040204" pitchFamily="34" charset="0"/>
              <a:cs typeface="Tahoma" panose="020B0604030504040204" pitchFamily="34" charset="0"/>
            </a:rPr>
            <a:t> </a:t>
          </a:r>
          <a:r>
            <a:rPr lang="en-US" sz="2000" kern="1200" dirty="0" err="1">
              <a:latin typeface="Tahoma" panose="020B0604030504040204" pitchFamily="34" charset="0"/>
              <a:ea typeface="Tahoma" panose="020B0604030504040204" pitchFamily="34" charset="0"/>
              <a:cs typeface="Tahoma" panose="020B0604030504040204" pitchFamily="34" charset="0"/>
            </a:rPr>
            <a:t>als</a:t>
          </a:r>
          <a:r>
            <a:rPr lang="en-US" sz="2000" kern="1200" dirty="0">
              <a:latin typeface="Tahoma" panose="020B0604030504040204" pitchFamily="34" charset="0"/>
              <a:ea typeface="Tahoma" panose="020B0604030504040204" pitchFamily="34" charset="0"/>
              <a:cs typeface="Tahoma" panose="020B0604030504040204" pitchFamily="34" charset="0"/>
            </a:rPr>
            <a:t> </a:t>
          </a:r>
          <a:r>
            <a:rPr lang="en-US" sz="2000" kern="1200" dirty="0" err="1">
              <a:latin typeface="Tahoma" panose="020B0604030504040204" pitchFamily="34" charset="0"/>
              <a:ea typeface="Tahoma" panose="020B0604030504040204" pitchFamily="34" charset="0"/>
              <a:cs typeface="Tahoma" panose="020B0604030504040204" pitchFamily="34" charset="0"/>
            </a:rPr>
            <a:t>beste</a:t>
          </a:r>
          <a:r>
            <a:rPr lang="en-US" sz="2000" kern="1200" dirty="0">
              <a:latin typeface="Tahoma" panose="020B0604030504040204" pitchFamily="34" charset="0"/>
              <a:ea typeface="Tahoma" panose="020B0604030504040204" pitchFamily="34" charset="0"/>
              <a:cs typeface="Tahoma" panose="020B0604030504040204" pitchFamily="34" charset="0"/>
            </a:rPr>
            <a:t> </a:t>
          </a:r>
          <a:r>
            <a:rPr lang="en-US" sz="2000" kern="1200" dirty="0" err="1">
              <a:latin typeface="Tahoma" panose="020B0604030504040204" pitchFamily="34" charset="0"/>
              <a:ea typeface="Tahoma" panose="020B0604030504040204" pitchFamily="34" charset="0"/>
              <a:cs typeface="Tahoma" panose="020B0604030504040204" pitchFamily="34" charset="0"/>
            </a:rPr>
            <a:t>Prädiktoren</a:t>
          </a:r>
          <a:endParaRPr lang="en-US" sz="2000" kern="1200" dirty="0">
            <a:latin typeface="Tahoma" panose="020B0604030504040204" pitchFamily="34" charset="0"/>
            <a:ea typeface="Tahoma" panose="020B0604030504040204" pitchFamily="34" charset="0"/>
            <a:cs typeface="Tahoma" panose="020B0604030504040204" pitchFamily="34" charset="0"/>
          </a:endParaRPr>
        </a:p>
      </dsp:txBody>
      <dsp:txXfrm>
        <a:off x="4192114" y="2857046"/>
        <a:ext cx="2136109" cy="213610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2DCA34A-B4FA-4CCA-87F9-0FA466A5747A}">
      <dsp:nvSpPr>
        <dsp:cNvPr id="0" name=""/>
        <dsp:cNvSpPr/>
      </dsp:nvSpPr>
      <dsp:spPr>
        <a:xfrm>
          <a:off x="-4657946" y="-704407"/>
          <a:ext cx="5472816" cy="5472816"/>
        </a:xfrm>
        <a:prstGeom prst="blockArc">
          <a:avLst>
            <a:gd name="adj1" fmla="val 18900000"/>
            <a:gd name="adj2" fmla="val 2700000"/>
            <a:gd name="adj3" fmla="val 39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5D9723-5649-4C96-A9CC-EB91DADE0EB8}">
      <dsp:nvSpPr>
        <dsp:cNvPr id="0" name=""/>
        <dsp:cNvSpPr/>
      </dsp:nvSpPr>
      <dsp:spPr>
        <a:xfrm>
          <a:off x="375327" y="355600"/>
          <a:ext cx="6640354" cy="914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0960" rIns="60960" bIns="60960" numCol="1" spcCol="1270" anchor="ctr" anchorCtr="0">
          <a:noAutofit/>
        </a:bodyPr>
        <a:lstStyle/>
        <a:p>
          <a:pPr lvl="0" algn="l"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Abstraktions- und Problemlösefähigkeiten im Umgang mit erhöhter Komplexität</a:t>
          </a:r>
        </a:p>
      </dsp:txBody>
      <dsp:txXfrm>
        <a:off x="375327" y="355600"/>
        <a:ext cx="6640354" cy="914400"/>
      </dsp:txXfrm>
    </dsp:sp>
    <dsp:sp modelId="{5A09448D-A81D-41DD-AAB8-90FA2757AAB8}">
      <dsp:nvSpPr>
        <dsp:cNvPr id="0" name=""/>
        <dsp:cNvSpPr/>
      </dsp:nvSpPr>
      <dsp:spPr>
        <a:xfrm>
          <a:off x="-6631" y="304800"/>
          <a:ext cx="1016000" cy="101600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C2809A-8F59-4FD6-AE66-2B52C83723C4}">
      <dsp:nvSpPr>
        <dsp:cNvPr id="0" name=""/>
        <dsp:cNvSpPr/>
      </dsp:nvSpPr>
      <dsp:spPr>
        <a:xfrm>
          <a:off x="707183" y="1570540"/>
          <a:ext cx="6301256" cy="914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0960" rIns="60960" bIns="60960" numCol="1" spcCol="1270" anchor="ctr" anchorCtr="0">
          <a:noAutofit/>
        </a:bodyPr>
        <a:lstStyle/>
        <a:p>
          <a:pPr lvl="0" algn="l"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Flexibilität und Lernbereitschaft</a:t>
          </a:r>
        </a:p>
      </dsp:txBody>
      <dsp:txXfrm>
        <a:off x="707183" y="1570540"/>
        <a:ext cx="6301256" cy="914400"/>
      </dsp:txXfrm>
    </dsp:sp>
    <dsp:sp modelId="{BE8DF3AA-E870-4C6F-A909-44AAAC65DFE9}">
      <dsp:nvSpPr>
        <dsp:cNvPr id="0" name=""/>
        <dsp:cNvSpPr/>
      </dsp:nvSpPr>
      <dsp:spPr>
        <a:xfrm>
          <a:off x="288821" y="1523999"/>
          <a:ext cx="1016000" cy="101600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8F5C18-3B0D-4E6D-826E-4BF597EC1069}">
      <dsp:nvSpPr>
        <dsp:cNvPr id="0" name=""/>
        <dsp:cNvSpPr/>
      </dsp:nvSpPr>
      <dsp:spPr>
        <a:xfrm>
          <a:off x="373762" y="2794000"/>
          <a:ext cx="6642718" cy="9144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0960" rIns="60960" bIns="60960" numCol="1" spcCol="1270" anchor="ctr" anchorCtr="0">
          <a:noAutofit/>
        </a:bodyPr>
        <a:lstStyle/>
        <a:p>
          <a:pPr lvl="0" algn="l"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Eigenverantwortung und Selbstorganisation</a:t>
          </a:r>
        </a:p>
      </dsp:txBody>
      <dsp:txXfrm>
        <a:off x="373762" y="2794000"/>
        <a:ext cx="6642718" cy="914400"/>
      </dsp:txXfrm>
    </dsp:sp>
    <dsp:sp modelId="{8A0086AA-A436-46FC-AB8B-EC54FF81B800}">
      <dsp:nvSpPr>
        <dsp:cNvPr id="0" name=""/>
        <dsp:cNvSpPr/>
      </dsp:nvSpPr>
      <dsp:spPr>
        <a:xfrm>
          <a:off x="-6631" y="2743200"/>
          <a:ext cx="1016000" cy="101600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CB90458-B28D-4E19-A44B-8A10315410EE}">
      <dsp:nvSpPr>
        <dsp:cNvPr id="0" name=""/>
        <dsp:cNvSpPr/>
      </dsp:nvSpPr>
      <dsp:spPr>
        <a:xfrm>
          <a:off x="2900054" y="2312710"/>
          <a:ext cx="2698620" cy="262758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sz="2400" kern="1200" dirty="0" err="1">
              <a:latin typeface="Tahoma" panose="020B0604030504040204" pitchFamily="34" charset="0"/>
              <a:ea typeface="Tahoma" panose="020B0604030504040204" pitchFamily="34" charset="0"/>
              <a:cs typeface="Tahoma" panose="020B0604030504040204" pitchFamily="34" charset="0"/>
            </a:rPr>
            <a:t>Generationen</a:t>
          </a:r>
          <a:endParaRPr lang="en-US" sz="2400" kern="1200" dirty="0">
            <a:latin typeface="Tahoma" panose="020B0604030504040204" pitchFamily="34" charset="0"/>
            <a:ea typeface="Tahoma" panose="020B0604030504040204" pitchFamily="34" charset="0"/>
            <a:cs typeface="Tahoma" panose="020B0604030504040204" pitchFamily="34" charset="0"/>
          </a:endParaRPr>
        </a:p>
      </dsp:txBody>
      <dsp:txXfrm>
        <a:off x="2900054" y="2312710"/>
        <a:ext cx="2698620" cy="2627584"/>
      </dsp:txXfrm>
    </dsp:sp>
    <dsp:sp modelId="{CE99C913-C547-41CA-A232-E6222CF8B461}">
      <dsp:nvSpPr>
        <dsp:cNvPr id="0" name=""/>
        <dsp:cNvSpPr/>
      </dsp:nvSpPr>
      <dsp:spPr>
        <a:xfrm rot="12633402">
          <a:off x="1168204" y="2107470"/>
          <a:ext cx="2081329" cy="628735"/>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5874E3-5903-4FB5-8E40-AC263F7B682C}">
      <dsp:nvSpPr>
        <dsp:cNvPr id="0" name=""/>
        <dsp:cNvSpPr/>
      </dsp:nvSpPr>
      <dsp:spPr>
        <a:xfrm>
          <a:off x="0" y="1114611"/>
          <a:ext cx="2829225" cy="167662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kollektive Erfahrungen und gesellschaftliche Entwicklungen</a:t>
          </a:r>
          <a:endParaRPr lang="en-US" sz="2400" kern="1200" dirty="0"/>
        </a:p>
      </dsp:txBody>
      <dsp:txXfrm>
        <a:off x="0" y="1114611"/>
        <a:ext cx="2829225" cy="1676627"/>
      </dsp:txXfrm>
    </dsp:sp>
    <dsp:sp modelId="{AB5A35AC-42B6-42A5-9C33-BDA7D5D00F14}">
      <dsp:nvSpPr>
        <dsp:cNvPr id="0" name=""/>
        <dsp:cNvSpPr/>
      </dsp:nvSpPr>
      <dsp:spPr>
        <a:xfrm rot="15961042">
          <a:off x="3367329" y="1184033"/>
          <a:ext cx="1467743" cy="628735"/>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BA632C-1CE8-4DF5-B5D6-382FCED6D36E}">
      <dsp:nvSpPr>
        <dsp:cNvPr id="0" name=""/>
        <dsp:cNvSpPr/>
      </dsp:nvSpPr>
      <dsp:spPr>
        <a:xfrm>
          <a:off x="2664298" y="-72012"/>
          <a:ext cx="2771864" cy="167662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gemeinsame Wertvorstellungen als konstituierendes Merkmal</a:t>
          </a:r>
          <a:endParaRPr lang="en-US" sz="2400" kern="1200" dirty="0"/>
        </a:p>
      </dsp:txBody>
      <dsp:txXfrm>
        <a:off x="2664298" y="-72012"/>
        <a:ext cx="2771864" cy="1676627"/>
      </dsp:txXfrm>
    </dsp:sp>
    <dsp:sp modelId="{AFB50AF4-BE91-44B4-916F-34CF16879142}">
      <dsp:nvSpPr>
        <dsp:cNvPr id="0" name=""/>
        <dsp:cNvSpPr/>
      </dsp:nvSpPr>
      <dsp:spPr>
        <a:xfrm rot="19339672">
          <a:off x="5057581" y="1866639"/>
          <a:ext cx="1935650" cy="628735"/>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624A7A0-27AB-4777-B2B7-1E8C17BDCE1E}">
      <dsp:nvSpPr>
        <dsp:cNvPr id="0" name=""/>
        <dsp:cNvSpPr/>
      </dsp:nvSpPr>
      <dsp:spPr>
        <a:xfrm>
          <a:off x="5404459" y="720072"/>
          <a:ext cx="3046851" cy="167662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Besonders prägend wirken Ereignisse der formativen Lebensphase.</a:t>
          </a:r>
          <a:endParaRPr lang="en-US" sz="2400" kern="1200" dirty="0"/>
        </a:p>
      </dsp:txBody>
      <dsp:txXfrm>
        <a:off x="5404459" y="720072"/>
        <a:ext cx="3046851" cy="1676627"/>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EA7D67-7762-46D1-AC05-551EA65AFA32}">
      <dsp:nvSpPr>
        <dsp:cNvPr id="0" name=""/>
        <dsp:cNvSpPr/>
      </dsp:nvSpPr>
      <dsp:spPr>
        <a:xfrm>
          <a:off x="0" y="1056050"/>
          <a:ext cx="7056784" cy="226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6FF3AC-D829-4E33-921E-C360ED304E38}">
      <dsp:nvSpPr>
        <dsp:cNvPr id="0" name=""/>
        <dsp:cNvSpPr/>
      </dsp:nvSpPr>
      <dsp:spPr>
        <a:xfrm>
          <a:off x="352494" y="57319"/>
          <a:ext cx="6319911" cy="11315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711" tIns="0" rIns="186711" bIns="0" numCol="1" spcCol="1270" anchor="ctr" anchorCtr="0">
          <a:noAutofit/>
        </a:bodyPr>
        <a:lstStyle/>
        <a:p>
          <a:pPr lvl="0" algn="l"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Instrumente und Maßnahmen – körperliche und seelische Gesundheit der MA</a:t>
          </a:r>
        </a:p>
      </dsp:txBody>
      <dsp:txXfrm>
        <a:off x="352494" y="57319"/>
        <a:ext cx="6319911" cy="1131570"/>
      </dsp:txXfrm>
    </dsp:sp>
    <dsp:sp modelId="{579C4E3D-9A16-46B8-8AB3-098783CC44F1}">
      <dsp:nvSpPr>
        <dsp:cNvPr id="0" name=""/>
        <dsp:cNvSpPr/>
      </dsp:nvSpPr>
      <dsp:spPr>
        <a:xfrm>
          <a:off x="0" y="2330181"/>
          <a:ext cx="7056784" cy="226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623F08-C284-4231-85E4-91D5D995718A}">
      <dsp:nvSpPr>
        <dsp:cNvPr id="0" name=""/>
        <dsp:cNvSpPr/>
      </dsp:nvSpPr>
      <dsp:spPr>
        <a:xfrm>
          <a:off x="352494" y="1331450"/>
          <a:ext cx="6319911" cy="11315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711" tIns="0" rIns="186711" bIns="0" numCol="1" spcCol="1270" anchor="ctr" anchorCtr="0">
          <a:noAutofit/>
        </a:bodyPr>
        <a:lstStyle/>
        <a:p>
          <a:pPr lvl="0" algn="l" defTabSz="1066800">
            <a:lnSpc>
              <a:spcPct val="90000"/>
            </a:lnSpc>
            <a:spcBef>
              <a:spcPct val="0"/>
            </a:spcBef>
            <a:spcAft>
              <a:spcPct val="35000"/>
            </a:spcAft>
          </a:pPr>
          <a:r>
            <a:rPr lang="de-DE" sz="2400" kern="1200" dirty="0">
              <a:latin typeface="Tahoma" panose="020B0604030504040204" pitchFamily="34" charset="0"/>
              <a:ea typeface="Tahoma" panose="020B0604030504040204" pitchFamily="34" charset="0"/>
              <a:cs typeface="Tahoma" panose="020B0604030504040204" pitchFamily="34" charset="0"/>
            </a:rPr>
            <a:t>Gesunde Menschen – agiles, dynamisches Unternehmen</a:t>
          </a:r>
        </a:p>
      </dsp:txBody>
      <dsp:txXfrm>
        <a:off x="352494" y="1331450"/>
        <a:ext cx="6319911" cy="1131570"/>
      </dsp:txXfrm>
    </dsp:sp>
    <dsp:sp modelId="{42AE60C8-4549-43EB-AC75-824E6289A3F9}">
      <dsp:nvSpPr>
        <dsp:cNvPr id="0" name=""/>
        <dsp:cNvSpPr/>
      </dsp:nvSpPr>
      <dsp:spPr>
        <a:xfrm>
          <a:off x="0" y="3604312"/>
          <a:ext cx="7056784" cy="226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B90613-11AF-4B0C-B923-6092555FAFFF}">
      <dsp:nvSpPr>
        <dsp:cNvPr id="0" name=""/>
        <dsp:cNvSpPr/>
      </dsp:nvSpPr>
      <dsp:spPr>
        <a:xfrm>
          <a:off x="352494" y="2605581"/>
          <a:ext cx="6319911" cy="11315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711" tIns="0" rIns="186711" bIns="0" numCol="1" spcCol="1270" anchor="ctr" anchorCtr="0">
          <a:noAutofit/>
        </a:bodyPr>
        <a:lstStyle/>
        <a:p>
          <a:pPr lvl="0" algn="l" defTabSz="1066800">
            <a:lnSpc>
              <a:spcPct val="90000"/>
            </a:lnSpc>
            <a:spcBef>
              <a:spcPct val="0"/>
            </a:spcBef>
            <a:spcAft>
              <a:spcPct val="35000"/>
            </a:spcAft>
          </a:pPr>
          <a:r>
            <a:rPr lang="de-DE" sz="2400" kern="1200" dirty="0" err="1">
              <a:latin typeface="Tahoma" panose="020B0604030504040204" pitchFamily="34" charset="0"/>
              <a:ea typeface="Tahoma" panose="020B0604030504040204" pitchFamily="34" charset="0"/>
              <a:cs typeface="Tahoma" panose="020B0604030504040204" pitchFamily="34" charset="0"/>
            </a:rPr>
            <a:t>Salutogenetischer</a:t>
          </a:r>
          <a:r>
            <a:rPr lang="de-DE" sz="2400" kern="1200" dirty="0">
              <a:latin typeface="Tahoma" panose="020B0604030504040204" pitchFamily="34" charset="0"/>
              <a:ea typeface="Tahoma" panose="020B0604030504040204" pitchFamily="34" charset="0"/>
              <a:cs typeface="Tahoma" panose="020B0604030504040204" pitchFamily="34" charset="0"/>
            </a:rPr>
            <a:t> Ansatz: 1970er, A. </a:t>
          </a:r>
          <a:r>
            <a:rPr lang="de-DE" sz="2400" kern="1200" dirty="0" err="1">
              <a:latin typeface="Tahoma" panose="020B0604030504040204" pitchFamily="34" charset="0"/>
              <a:ea typeface="Tahoma" panose="020B0604030504040204" pitchFamily="34" charset="0"/>
              <a:cs typeface="Tahoma" panose="020B0604030504040204" pitchFamily="34" charset="0"/>
            </a:rPr>
            <a:t>Antonovsky</a:t>
          </a:r>
          <a:r>
            <a:rPr lang="de-DE" sz="2400" kern="1200" dirty="0">
              <a:latin typeface="Tahoma" panose="020B0604030504040204" pitchFamily="34" charset="0"/>
              <a:ea typeface="Tahoma" panose="020B0604030504040204" pitchFamily="34" charset="0"/>
              <a:cs typeface="Tahoma" panose="020B0604030504040204" pitchFamily="34" charset="0"/>
            </a:rPr>
            <a:t>: Was erhält den Menschen gesund?</a:t>
          </a:r>
        </a:p>
      </dsp:txBody>
      <dsp:txXfrm>
        <a:off x="352494" y="2605581"/>
        <a:ext cx="6319911" cy="113157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2D8E214-48EC-4716-91B9-82E7D53EAC27}">
      <dsp:nvSpPr>
        <dsp:cNvPr id="0" name=""/>
        <dsp:cNvSpPr/>
      </dsp:nvSpPr>
      <dsp:spPr>
        <a:xfrm>
          <a:off x="1378912" y="-53842"/>
          <a:ext cx="2968504" cy="2968504"/>
        </a:xfrm>
        <a:prstGeom prst="circularArrow">
          <a:avLst>
            <a:gd name="adj1" fmla="val 4668"/>
            <a:gd name="adj2" fmla="val 272909"/>
            <a:gd name="adj3" fmla="val 13023283"/>
            <a:gd name="adj4" fmla="val 17901415"/>
            <a:gd name="adj5" fmla="val 484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CD3278-E9E4-4392-8D01-B405733331A2}">
      <dsp:nvSpPr>
        <dsp:cNvPr id="0" name=""/>
        <dsp:cNvSpPr/>
      </dsp:nvSpPr>
      <dsp:spPr>
        <a:xfrm>
          <a:off x="1923688" y="935"/>
          <a:ext cx="1878951" cy="9394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Klärung: </a:t>
          </a:r>
        </a:p>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Wo stehe ich?</a:t>
          </a:r>
        </a:p>
      </dsp:txBody>
      <dsp:txXfrm>
        <a:off x="1923688" y="935"/>
        <a:ext cx="1878951" cy="939475"/>
      </dsp:txXfrm>
    </dsp:sp>
    <dsp:sp modelId="{E9E26277-46E9-48EC-8B1A-EFC60877505E}">
      <dsp:nvSpPr>
        <dsp:cNvPr id="0" name=""/>
        <dsp:cNvSpPr/>
      </dsp:nvSpPr>
      <dsp:spPr>
        <a:xfrm>
          <a:off x="2989578" y="1066826"/>
          <a:ext cx="1878951" cy="9394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Entlastung: </a:t>
          </a:r>
        </a:p>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gebundene Energie freisetzen</a:t>
          </a:r>
        </a:p>
      </dsp:txBody>
      <dsp:txXfrm>
        <a:off x="2989578" y="1066826"/>
        <a:ext cx="1878951" cy="939475"/>
      </dsp:txXfrm>
    </dsp:sp>
    <dsp:sp modelId="{DEF9B383-AA78-4F6B-B504-1C85C443D7E8}">
      <dsp:nvSpPr>
        <dsp:cNvPr id="0" name=""/>
        <dsp:cNvSpPr/>
      </dsp:nvSpPr>
      <dsp:spPr>
        <a:xfrm>
          <a:off x="1923688" y="2132716"/>
          <a:ext cx="1878951" cy="9394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Ausrichtung: </a:t>
          </a:r>
        </a:p>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Wo will ich hin?</a:t>
          </a:r>
        </a:p>
      </dsp:txBody>
      <dsp:txXfrm>
        <a:off x="1923688" y="2132716"/>
        <a:ext cx="1878951" cy="939475"/>
      </dsp:txXfrm>
    </dsp:sp>
    <dsp:sp modelId="{9A422462-936A-48FF-BB8B-A99C44F65606}">
      <dsp:nvSpPr>
        <dsp:cNvPr id="0" name=""/>
        <dsp:cNvSpPr/>
      </dsp:nvSpPr>
      <dsp:spPr>
        <a:xfrm>
          <a:off x="857798" y="1066826"/>
          <a:ext cx="1878951" cy="93947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e-DE" sz="1400" kern="1200" dirty="0">
              <a:latin typeface="Tahoma" panose="020B0604030504040204" pitchFamily="34" charset="0"/>
              <a:ea typeface="Tahoma" panose="020B0604030504040204" pitchFamily="34" charset="0"/>
              <a:cs typeface="Tahoma" panose="020B0604030504040204" pitchFamily="34" charset="0"/>
            </a:rPr>
            <a:t>Umsetzung: Verantwortung übernehmen, dranbleiben?</a:t>
          </a:r>
        </a:p>
      </dsp:txBody>
      <dsp:txXfrm>
        <a:off x="857798" y="1066826"/>
        <a:ext cx="1878951" cy="939475"/>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E7000E3-6795-43A2-8D12-0F84431694A0}">
      <dsp:nvSpPr>
        <dsp:cNvPr id="0" name=""/>
        <dsp:cNvSpPr/>
      </dsp:nvSpPr>
      <dsp:spPr>
        <a:xfrm>
          <a:off x="2286014" y="0"/>
          <a:ext cx="4064000" cy="4064000"/>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C4B8E5-96B1-431E-8C39-68DC21EB8FBB}">
      <dsp:nvSpPr>
        <dsp:cNvPr id="0" name=""/>
        <dsp:cNvSpPr/>
      </dsp:nvSpPr>
      <dsp:spPr>
        <a:xfrm>
          <a:off x="1420657" y="295642"/>
          <a:ext cx="5852147" cy="61850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 dass Unternehmen lernen, mit den aktuellen Herausforderungen wirksam umzugehen.</a:t>
          </a:r>
        </a:p>
      </dsp:txBody>
      <dsp:txXfrm>
        <a:off x="1420657" y="295642"/>
        <a:ext cx="5852147" cy="618504"/>
      </dsp:txXfrm>
    </dsp:sp>
    <dsp:sp modelId="{2FCF431A-10FA-4559-AF62-2F268A7ACD2E}">
      <dsp:nvSpPr>
        <dsp:cNvPr id="0" name=""/>
        <dsp:cNvSpPr/>
      </dsp:nvSpPr>
      <dsp:spPr>
        <a:xfrm>
          <a:off x="1417328" y="1041672"/>
          <a:ext cx="5852147" cy="61451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 die Fähigkeit, sich rasch von Rückschlägen </a:t>
          </a:r>
        </a:p>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zu erholen.</a:t>
          </a:r>
        </a:p>
      </dsp:txBody>
      <dsp:txXfrm>
        <a:off x="1417328" y="1041672"/>
        <a:ext cx="5852147" cy="614512"/>
      </dsp:txXfrm>
    </dsp:sp>
    <dsp:sp modelId="{01A469B9-0B7C-4DD9-8A63-8ABCACB31E0C}">
      <dsp:nvSpPr>
        <dsp:cNvPr id="0" name=""/>
        <dsp:cNvSpPr/>
      </dsp:nvSpPr>
      <dsp:spPr>
        <a:xfrm>
          <a:off x="1417315" y="1771354"/>
          <a:ext cx="5855344" cy="604909"/>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 die Fähigkeit, den ursprünglichen Sinn zu bewahren.</a:t>
          </a:r>
        </a:p>
      </dsp:txBody>
      <dsp:txXfrm>
        <a:off x="1417315" y="1771354"/>
        <a:ext cx="5855344" cy="604909"/>
      </dsp:txXfrm>
    </dsp:sp>
    <dsp:sp modelId="{5802E954-9353-495F-8F16-EB7680905622}">
      <dsp:nvSpPr>
        <dsp:cNvPr id="0" name=""/>
        <dsp:cNvSpPr/>
      </dsp:nvSpPr>
      <dsp:spPr>
        <a:xfrm>
          <a:off x="1417328" y="2484714"/>
          <a:ext cx="5852147" cy="61163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 dass Diversität im Unternehmen als Chance zur </a:t>
          </a:r>
          <a:r>
            <a:rPr lang="de-DE" sz="1800" kern="1200" dirty="0" err="1">
              <a:latin typeface="Tahoma" panose="020B0604030504040204" pitchFamily="34" charset="0"/>
              <a:ea typeface="Tahoma" panose="020B0604030504040204" pitchFamily="34" charset="0"/>
              <a:cs typeface="Tahoma" panose="020B0604030504040204" pitchFamily="34" charset="0"/>
            </a:rPr>
            <a:t>Resilienzförderung</a:t>
          </a:r>
          <a:r>
            <a:rPr lang="de-DE" sz="1800" kern="1200" dirty="0">
              <a:latin typeface="Tahoma" panose="020B0604030504040204" pitchFamily="34" charset="0"/>
              <a:ea typeface="Tahoma" panose="020B0604030504040204" pitchFamily="34" charset="0"/>
              <a:cs typeface="Tahoma" panose="020B0604030504040204" pitchFamily="34" charset="0"/>
            </a:rPr>
            <a:t> gesehen wird.</a:t>
          </a:r>
        </a:p>
      </dsp:txBody>
      <dsp:txXfrm>
        <a:off x="1417328" y="2484714"/>
        <a:ext cx="5852147" cy="611632"/>
      </dsp:txXfrm>
    </dsp:sp>
    <dsp:sp modelId="{C5B36F64-9415-4418-912D-33BFC6F2B9F3}">
      <dsp:nvSpPr>
        <dsp:cNvPr id="0" name=""/>
        <dsp:cNvSpPr/>
      </dsp:nvSpPr>
      <dsp:spPr>
        <a:xfrm>
          <a:off x="1417328" y="3210511"/>
          <a:ext cx="5852147" cy="627315"/>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a:latin typeface="Tahoma" panose="020B0604030504040204" pitchFamily="34" charset="0"/>
              <a:ea typeface="Tahoma" panose="020B0604030504040204" pitchFamily="34" charset="0"/>
              <a:cs typeface="Tahoma" panose="020B0604030504040204" pitchFamily="34" charset="0"/>
            </a:rPr>
            <a:t>… dass Unternehmen erfolgreich sind und nicht ausbrennen.</a:t>
          </a:r>
        </a:p>
      </dsp:txBody>
      <dsp:txXfrm>
        <a:off x="1417328" y="3210511"/>
        <a:ext cx="5852147" cy="627315"/>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73BD1F1-9C2B-422A-AA11-6C968C5043E6}">
      <dsp:nvSpPr>
        <dsp:cNvPr id="0" name=""/>
        <dsp:cNvSpPr/>
      </dsp:nvSpPr>
      <dsp:spPr>
        <a:xfrm>
          <a:off x="-5116992" y="-783865"/>
          <a:ext cx="6093694" cy="6093694"/>
        </a:xfrm>
        <a:prstGeom prst="blockArc">
          <a:avLst>
            <a:gd name="adj1" fmla="val 18900000"/>
            <a:gd name="adj2" fmla="val 2700000"/>
            <a:gd name="adj3" fmla="val 354"/>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AE7A97-9D27-46C6-8C7C-C1188427135B}">
      <dsp:nvSpPr>
        <dsp:cNvPr id="0" name=""/>
        <dsp:cNvSpPr/>
      </dsp:nvSpPr>
      <dsp:spPr>
        <a:xfrm>
          <a:off x="427226" y="282782"/>
          <a:ext cx="7739890" cy="5659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204" tIns="50800" rIns="50800" bIns="50800" numCol="1" spcCol="1270" anchor="ctr" anchorCtr="0">
          <a:noAutofit/>
        </a:bodyPr>
        <a:lstStyle/>
        <a:p>
          <a:pPr lvl="0" algn="l" defTabSz="889000">
            <a:lnSpc>
              <a:spcPct val="90000"/>
            </a:lnSpc>
            <a:spcBef>
              <a:spcPct val="0"/>
            </a:spcBef>
            <a:spcAft>
              <a:spcPct val="35000"/>
            </a:spcAft>
          </a:pPr>
          <a:r>
            <a:rPr lang="de-DE" sz="2000" kern="1200" dirty="0">
              <a:latin typeface="Tahoma" panose="020B0604030504040204" pitchFamily="34" charset="0"/>
              <a:ea typeface="Tahoma" panose="020B0604030504040204" pitchFamily="34" charset="0"/>
              <a:cs typeface="Tahoma" panose="020B0604030504040204" pitchFamily="34" charset="0"/>
            </a:rPr>
            <a:t>Impulsvorträge</a:t>
          </a:r>
        </a:p>
      </dsp:txBody>
      <dsp:txXfrm>
        <a:off x="427226" y="282782"/>
        <a:ext cx="7739890" cy="565926"/>
      </dsp:txXfrm>
    </dsp:sp>
    <dsp:sp modelId="{F2C66534-BB74-4DA5-B400-6D9625659E3F}">
      <dsp:nvSpPr>
        <dsp:cNvPr id="0" name=""/>
        <dsp:cNvSpPr/>
      </dsp:nvSpPr>
      <dsp:spPr>
        <a:xfrm>
          <a:off x="73522" y="212041"/>
          <a:ext cx="707408" cy="70740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42BE214-BBAA-451C-AAE7-4E59DE2F49B6}">
      <dsp:nvSpPr>
        <dsp:cNvPr id="0" name=""/>
        <dsp:cNvSpPr/>
      </dsp:nvSpPr>
      <dsp:spPr>
        <a:xfrm>
          <a:off x="832752" y="1131400"/>
          <a:ext cx="7334364" cy="5659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204" tIns="50800" rIns="50800" bIns="50800" numCol="1" spcCol="1270" anchor="ctr" anchorCtr="0">
          <a:noAutofit/>
        </a:bodyPr>
        <a:lstStyle/>
        <a:p>
          <a:pPr lvl="0" algn="l" defTabSz="889000">
            <a:lnSpc>
              <a:spcPct val="90000"/>
            </a:lnSpc>
            <a:spcBef>
              <a:spcPct val="0"/>
            </a:spcBef>
            <a:spcAft>
              <a:spcPct val="35000"/>
            </a:spcAft>
          </a:pPr>
          <a:r>
            <a:rPr lang="de-DE" sz="2000" kern="1200" dirty="0">
              <a:latin typeface="Tahoma" panose="020B0604030504040204" pitchFamily="34" charset="0"/>
              <a:ea typeface="Tahoma" panose="020B0604030504040204" pitchFamily="34" charset="0"/>
              <a:cs typeface="Tahoma" panose="020B0604030504040204" pitchFamily="34" charset="0"/>
            </a:rPr>
            <a:t>interaktive Workshops (Führungskräfte und MA)</a:t>
          </a:r>
        </a:p>
      </dsp:txBody>
      <dsp:txXfrm>
        <a:off x="832752" y="1131400"/>
        <a:ext cx="7334364" cy="565926"/>
      </dsp:txXfrm>
    </dsp:sp>
    <dsp:sp modelId="{9F7BA35F-7E7F-46F7-9335-D5097C6ACDBA}">
      <dsp:nvSpPr>
        <dsp:cNvPr id="0" name=""/>
        <dsp:cNvSpPr/>
      </dsp:nvSpPr>
      <dsp:spPr>
        <a:xfrm>
          <a:off x="479048" y="1060659"/>
          <a:ext cx="707408" cy="70740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E9DE02-A7CF-438A-A0AD-979D7D0E0336}">
      <dsp:nvSpPr>
        <dsp:cNvPr id="0" name=""/>
        <dsp:cNvSpPr/>
      </dsp:nvSpPr>
      <dsp:spPr>
        <a:xfrm>
          <a:off x="957216" y="1980018"/>
          <a:ext cx="7209900" cy="5659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204" tIns="50800" rIns="50800" bIns="50800" numCol="1" spcCol="1270" anchor="ctr" anchorCtr="0">
          <a:noAutofit/>
        </a:bodyPr>
        <a:lstStyle/>
        <a:p>
          <a:pPr lvl="0" algn="l" defTabSz="889000">
            <a:lnSpc>
              <a:spcPct val="90000"/>
            </a:lnSpc>
            <a:spcBef>
              <a:spcPct val="0"/>
            </a:spcBef>
            <a:spcAft>
              <a:spcPct val="35000"/>
            </a:spcAft>
          </a:pPr>
          <a:r>
            <a:rPr lang="de-DE" sz="2000" kern="1200" dirty="0">
              <a:latin typeface="Tahoma" panose="020B0604030504040204" pitchFamily="34" charset="0"/>
              <a:ea typeface="Tahoma" panose="020B0604030504040204" pitchFamily="34" charset="0"/>
              <a:cs typeface="Tahoma" panose="020B0604030504040204" pitchFamily="34" charset="0"/>
            </a:rPr>
            <a:t>Maßnahmen basierend auf selbstorganisiertem Lernen</a:t>
          </a:r>
        </a:p>
      </dsp:txBody>
      <dsp:txXfrm>
        <a:off x="957216" y="1980018"/>
        <a:ext cx="7209900" cy="565926"/>
      </dsp:txXfrm>
    </dsp:sp>
    <dsp:sp modelId="{30A3928D-A407-4839-9133-197C6AE29DB4}">
      <dsp:nvSpPr>
        <dsp:cNvPr id="0" name=""/>
        <dsp:cNvSpPr/>
      </dsp:nvSpPr>
      <dsp:spPr>
        <a:xfrm>
          <a:off x="603512" y="1909277"/>
          <a:ext cx="707408" cy="70740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4A9BA6-25CB-4A18-9B75-EA4813C7B717}">
      <dsp:nvSpPr>
        <dsp:cNvPr id="0" name=""/>
        <dsp:cNvSpPr/>
      </dsp:nvSpPr>
      <dsp:spPr>
        <a:xfrm>
          <a:off x="832752" y="2828636"/>
          <a:ext cx="7334364" cy="5659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204" tIns="50800" rIns="50800" bIns="50800" numCol="1" spcCol="1270" anchor="ctr" anchorCtr="0">
          <a:noAutofit/>
        </a:bodyPr>
        <a:lstStyle/>
        <a:p>
          <a:pPr lvl="0" algn="l" defTabSz="889000">
            <a:lnSpc>
              <a:spcPct val="90000"/>
            </a:lnSpc>
            <a:spcBef>
              <a:spcPct val="0"/>
            </a:spcBef>
            <a:spcAft>
              <a:spcPct val="35000"/>
            </a:spcAft>
          </a:pPr>
          <a:r>
            <a:rPr lang="de-DE" sz="2000" kern="1200" dirty="0">
              <a:latin typeface="Tahoma" panose="020B0604030504040204" pitchFamily="34" charset="0"/>
              <a:ea typeface="Tahoma" panose="020B0604030504040204" pitchFamily="34" charset="0"/>
              <a:cs typeface="Tahoma" panose="020B0604030504040204" pitchFamily="34" charset="0"/>
            </a:rPr>
            <a:t>begleitende Beratung</a:t>
          </a:r>
        </a:p>
      </dsp:txBody>
      <dsp:txXfrm>
        <a:off x="832752" y="2828636"/>
        <a:ext cx="7334364" cy="565926"/>
      </dsp:txXfrm>
    </dsp:sp>
    <dsp:sp modelId="{4F45320D-5647-4595-BDEF-6B500E364A06}">
      <dsp:nvSpPr>
        <dsp:cNvPr id="0" name=""/>
        <dsp:cNvSpPr/>
      </dsp:nvSpPr>
      <dsp:spPr>
        <a:xfrm>
          <a:off x="479048" y="2757895"/>
          <a:ext cx="707408" cy="70740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B626D4-55B2-42C4-AED7-86F439500992}">
      <dsp:nvSpPr>
        <dsp:cNvPr id="0" name=""/>
        <dsp:cNvSpPr/>
      </dsp:nvSpPr>
      <dsp:spPr>
        <a:xfrm>
          <a:off x="427226" y="3677254"/>
          <a:ext cx="7739890" cy="5659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204" tIns="50800" rIns="50800" bIns="50800" numCol="1" spcCol="1270" anchor="ctr" anchorCtr="0">
          <a:noAutofit/>
        </a:bodyPr>
        <a:lstStyle/>
        <a:p>
          <a:pPr lvl="0" algn="l" defTabSz="889000">
            <a:lnSpc>
              <a:spcPct val="90000"/>
            </a:lnSpc>
            <a:spcBef>
              <a:spcPct val="0"/>
            </a:spcBef>
            <a:spcAft>
              <a:spcPct val="35000"/>
            </a:spcAft>
          </a:pPr>
          <a:r>
            <a:rPr lang="de-DE" sz="2000" kern="1200" dirty="0">
              <a:latin typeface="Tahoma" panose="020B0604030504040204" pitchFamily="34" charset="0"/>
              <a:ea typeface="Tahoma" panose="020B0604030504040204" pitchFamily="34" charset="0"/>
              <a:cs typeface="Tahoma" panose="020B0604030504040204" pitchFamily="34" charset="0"/>
            </a:rPr>
            <a:t>gemeinsame Follow-</a:t>
          </a:r>
          <a:r>
            <a:rPr lang="de-DE" sz="2000" kern="1200" dirty="0" err="1">
              <a:latin typeface="Tahoma" panose="020B0604030504040204" pitchFamily="34" charset="0"/>
              <a:ea typeface="Tahoma" panose="020B0604030504040204" pitchFamily="34" charset="0"/>
              <a:cs typeface="Tahoma" panose="020B0604030504040204" pitchFamily="34" charset="0"/>
            </a:rPr>
            <a:t>up</a:t>
          </a:r>
          <a:r>
            <a:rPr lang="de-DE" sz="2000" kern="1200" dirty="0">
              <a:latin typeface="Tahoma" panose="020B0604030504040204" pitchFamily="34" charset="0"/>
              <a:ea typeface="Tahoma" panose="020B0604030504040204" pitchFamily="34" charset="0"/>
              <a:cs typeface="Tahoma" panose="020B0604030504040204" pitchFamily="34" charset="0"/>
            </a:rPr>
            <a:t>-Sessions</a:t>
          </a:r>
        </a:p>
      </dsp:txBody>
      <dsp:txXfrm>
        <a:off x="427226" y="3677254"/>
        <a:ext cx="7739890" cy="565926"/>
      </dsp:txXfrm>
    </dsp:sp>
    <dsp:sp modelId="{972AC35E-3066-41F7-979D-365809950A2A}">
      <dsp:nvSpPr>
        <dsp:cNvPr id="0" name=""/>
        <dsp:cNvSpPr/>
      </dsp:nvSpPr>
      <dsp:spPr>
        <a:xfrm>
          <a:off x="73522" y="3606513"/>
          <a:ext cx="707408" cy="707408"/>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6247" cy="496811"/>
          </a:xfrm>
          <a:prstGeom prst="rect">
            <a:avLst/>
          </a:prstGeom>
        </p:spPr>
        <p:txBody>
          <a:bodyPr vert="horz" lIns="92103" tIns="46051" rIns="92103" bIns="46051" rtlCol="0"/>
          <a:lstStyle>
            <a:lvl1pPr algn="l">
              <a:defRPr sz="1200"/>
            </a:lvl1pPr>
          </a:lstStyle>
          <a:p>
            <a:endParaRPr lang="de-DE"/>
          </a:p>
        </p:txBody>
      </p:sp>
      <p:sp>
        <p:nvSpPr>
          <p:cNvPr id="3" name="Datumsplatzhalter 2"/>
          <p:cNvSpPr>
            <a:spLocks noGrp="1"/>
          </p:cNvSpPr>
          <p:nvPr>
            <p:ph type="dt" sz="quarter" idx="1"/>
          </p:nvPr>
        </p:nvSpPr>
        <p:spPr>
          <a:xfrm>
            <a:off x="3849826" y="2"/>
            <a:ext cx="2946246" cy="496811"/>
          </a:xfrm>
          <a:prstGeom prst="rect">
            <a:avLst/>
          </a:prstGeom>
        </p:spPr>
        <p:txBody>
          <a:bodyPr vert="horz" lIns="92103" tIns="46051" rIns="92103" bIns="46051" rtlCol="0"/>
          <a:lstStyle>
            <a:lvl1pPr algn="r">
              <a:defRPr sz="1200"/>
            </a:lvl1pPr>
          </a:lstStyle>
          <a:p>
            <a:fld id="{307F4638-F8C1-4C26-A6F2-7D19E569BF21}" type="datetimeFigureOut">
              <a:rPr lang="de-DE" smtClean="0"/>
              <a:pPr/>
              <a:t>02.09.2019</a:t>
            </a:fld>
            <a:endParaRPr lang="de-DE"/>
          </a:p>
        </p:txBody>
      </p:sp>
      <p:sp>
        <p:nvSpPr>
          <p:cNvPr id="4" name="Fußzeilenplatzhalter 3"/>
          <p:cNvSpPr>
            <a:spLocks noGrp="1"/>
          </p:cNvSpPr>
          <p:nvPr>
            <p:ph type="ftr" sz="quarter" idx="2"/>
          </p:nvPr>
        </p:nvSpPr>
        <p:spPr>
          <a:xfrm>
            <a:off x="1" y="9429817"/>
            <a:ext cx="2946247" cy="496810"/>
          </a:xfrm>
          <a:prstGeom prst="rect">
            <a:avLst/>
          </a:prstGeom>
        </p:spPr>
        <p:txBody>
          <a:bodyPr vert="horz" lIns="92103" tIns="46051" rIns="92103" bIns="46051" rtlCol="0" anchor="b"/>
          <a:lstStyle>
            <a:lvl1pPr algn="l">
              <a:defRPr sz="1200"/>
            </a:lvl1pPr>
          </a:lstStyle>
          <a:p>
            <a:endParaRPr lang="de-DE"/>
          </a:p>
        </p:txBody>
      </p:sp>
      <p:sp>
        <p:nvSpPr>
          <p:cNvPr id="5" name="Foliennummernplatzhalter 4"/>
          <p:cNvSpPr>
            <a:spLocks noGrp="1"/>
          </p:cNvSpPr>
          <p:nvPr>
            <p:ph type="sldNum" sz="quarter" idx="3"/>
          </p:nvPr>
        </p:nvSpPr>
        <p:spPr>
          <a:xfrm>
            <a:off x="3849826" y="9429817"/>
            <a:ext cx="2946246" cy="496810"/>
          </a:xfrm>
          <a:prstGeom prst="rect">
            <a:avLst/>
          </a:prstGeom>
        </p:spPr>
        <p:txBody>
          <a:bodyPr vert="horz" lIns="92103" tIns="46051" rIns="92103" bIns="46051" rtlCol="0" anchor="b"/>
          <a:lstStyle>
            <a:lvl1pPr algn="r">
              <a:defRPr sz="1200"/>
            </a:lvl1pPr>
          </a:lstStyle>
          <a:p>
            <a:fld id="{1E71DA13-9EA2-4106-8192-B69EB46602C3}" type="slidenum">
              <a:rPr lang="de-DE" smtClean="0"/>
              <a:pPr/>
              <a:t>‹Nr.›</a:t>
            </a:fld>
            <a:endParaRPr lang="de-DE"/>
          </a:p>
        </p:txBody>
      </p:sp>
    </p:spTree>
    <p:extLst>
      <p:ext uri="{BB962C8B-B14F-4D97-AF65-F5344CB8AC3E}">
        <p14:creationId xmlns:p14="http://schemas.microsoft.com/office/powerpoint/2010/main" xmlns="" val="20045086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01.123"/>
    </inkml:context>
    <inkml:brush xml:id="br0">
      <inkml:brushProperty name="width" value="0.1" units="cm"/>
      <inkml:brushProperty name="height" value="0.1" units="cm"/>
    </inkml:brush>
  </inkml:definitions>
  <inkml:trace contextRef="#ctx0" brushRef="#br0">179 1 1840 0 0,'1'1'133'0'0,"2"2"143"0"0,-2-2 1015 0 0,-1-1 433 0 0,0 0 78 0 0,3-1 1328 0 0,-1 1-221 0 0,-1-1-2547 0 0,0 1 1 0 0,0 0-1 0 0,0-1 1 0 0,0 1-1 0 0,0 0 0 0 0,0 0 1 0 0,0 0-1 0 0,0 0 0 0 0,1 0 1 0 0,-1 0-1 0 0,0 0 1 0 0,0 0-363 0 0,1 1 153 0 0,1-1 0 0 0,-1 1 0 0 0,1-1 1 0 0,-1 1-1 0 0,0 0 0 0 0,0 0 0 0 0,1 0 0 0 0,0 1-153 0 0,-1 1 182 0 0,0-1-1 0 0,0 1 0 0 0,0 0 1 0 0,0-1-1 0 0,-1 1 0 0 0,1 0 1 0 0,-1 0-1 0 0,1 3-181 0 0,5 17 1405 0 0,-5-19-1333 0 0,-1-1 0 0 0,0 1 0 0 0,0 0-1 0 0,0-1 1 0 0,0 1 0 0 0,0 1-72 0 0,-1-3 113 0 0,3 16 198 0 0,1-2-161 0 0,-3-11-108 0 0,0 1 1 0 0,1 0-1 0 0,0 0 0 0 0,0 0 1 0 0,0-1-1 0 0,4 6-42 0 0,-4-1 93 0 0,1-1-12 0 0,-2-7-73 0 0,0 0-1 0 0,0 1 1 0 0,0-1 0 0 0,0 1-1 0 0,0-1 1 0 0,0 1-1 0 0,-1 0 1 0 0,1-1 0 0 0,-1 2-8 0 0,1 8 32 0 0,-1-10-24 0 0,0 1 1 0 0,0-1-1 0 0,1 1 0 0 0,-1-1 0 0 0,1 1 0 0 0,-1-1 1 0 0,1 0-1 0 0,0 1 0 0 0,0-1 0 0 0,0 0 1 0 0,0 0-1 0 0,0 0 0 0 0,0 0 0 0 0,1 0 1 0 0,-1 0-9 0 0,0 0 11 0 0,0-1 0 0 0,0 1 1 0 0,0-1-1 0 0,0 0 0 0 0,-1 1 1 0 0,1 0-1 0 0,-1-1 0 0 0,1 1 1 0 0,-1-1-1 0 0,1 1 0 0 0,-1 0 1 0 0,0 0-12 0 0,1 5 31 0 0,1-1 0 0 0,-1 1 1 0 0,1-1-1 0 0,0 1 0 0 0,1-1 1 0 0,0 1-32 0 0,6 10 11 0 0,-8-16-11 0 0,0 0 1 0 0,-1 0 0 0 0,1 0 0 0 0,-1 1 0 0 0,1-1 0 0 0,-1 0 0 0 0,1 0-1 0 0,-1 1 1 0 0,0-1 0 0 0,1 0 0 0 0,-1 0 0 0 0,0 1-1 0 0,0 1 13 0 0,5 10 27 0 0,1-1-40 0 0,-7-10 0 0 0,1-1 0 0 0,0 0 0 0 0,0-1 0 0 0,0 1 0 0 0,0-1 0 0 0,0 1 0 0 0,0-1 0 0 0,0 1 0 0 0,0-1 0 0 0,0 1 0 0 0,0-1 0 0 0,0 1 0 0 0,0-1 0 0 0,0 1 0 0 0,0-1 0 0 0,1 1 0 0 0,-1-1 0 0 0,0 1 0 0 0,0-1 0 0 0,1 1 0 0 0,-1-1 0 0 0,0 0 0 0 0,1 1 0 0 0,-1-1 0 0 0,0 1 0 0 0,4 9 0 0 0,-3-3-210 0 0,-1-6-880 0 0,8-4-2940 0 0,-7 3-2791 0 0</inkml:trace>
  <inkml:trace contextRef="#ctx0" brushRef="#br0" timeOffset="2506.872">364 421 1376 0 0,'0'0'65'0'0,"0"0"253"0"0,0 0 1036 0 0,0 0 454 0 0,0 0 89 0 0,0 0-97 0 0,0 0-488 0 0,0 0-208 0 0,0 0-44 0 0,0 0-85 0 0,0 0-315 0 0,0 0-137 0 0,0 0-31 0 0,0 0 0 0 0,0 0 16 0 0,0 0 4 0 0,0 0-1 0 0,0 0-68 0 0,0 0-222 0 0,-4-6 1163 0 0,4 5-1289 0 0,0 1-82 0 0,0 0 0 0 0,0 0 0 0 0,0-1 0 0 0,0 1 0 0 0,0 0-1 0 0,1-1 1 0 0,-1 1 0 0 0,0 0 0 0 0,0 0 0 0 0,0-1-1 0 0,0 1 1 0 0,0 0 0 0 0,-1 0 0 0 0,1-1 0 0 0,0 1 0 0 0,0 0-1 0 0,0-1 1 0 0,0 1 0 0 0,0 0 0 0 0,0 0 0 0 0,0-1 0 0 0,0 1-1 0 0,-1 0 1 0 0,1 0 0 0 0,0-1 0 0 0,0 1 0 0 0,0 0-1 0 0,0 0 1 0 0,-1 0 0 0 0,1-1 0 0 0,0 1 0 0 0,0 0 0 0 0,-1 0-1 0 0,1 0 1 0 0,0 0 0 0 0,0 0 0 0 0,-1 0 0 0 0,1-1 0 0 0,0 1-1 0 0,-1 0-12 0 0,-1-2 110 0 0,0 1-1 0 0,0-1 0 0 0,-1 0 0 0 0,1 1 1 0 0,0 0-1 0 0,-1 0 0 0 0,1-1 1 0 0,-1 1-1 0 0,0 1 0 0 0,1-1 0 0 0,-1 0 1 0 0,0 1-1 0 0,1-1 0 0 0,-1 1 0 0 0,0 0 1 0 0,0 0-1 0 0,0 0 0 0 0,1 0 1 0 0,-3 1-110 0 0,-8-1-241 0 0,11 0 268 0 0,0 0 0 0 0,0 1 0 0 0,0 0 0 0 0,-1-1-1 0 0,1 1 1 0 0,0 0 0 0 0,1 0 0 0 0,-2 0-27 0 0,-8 4 76 0 0,7-4 149 0 0,-6 2 74 0 0,0 0 0 0 0,0 1-1 0 0,0 0 1 0 0,-1 1-299 0 0,-3-1 13 0 0,13-3 4 0 0,-1-1 1 0 0,0 1-1 0 0,0-1 0 0 0,1 1 1 0 0,-1-1-1 0 0,1 1 1 0 0,-1 0-1 0 0,1 0 0 0 0,-1 0 1 0 0,1 0-1 0 0,-2 1-17 0 0,-6 3 110 0 0,8-5-100 0 0,1 0 1 0 0,-1 0 0 0 0,0 1-1 0 0,0-1 1 0 0,1 0 0 0 0,-1 0-1 0 0,0 1 1 0 0,0-1 0 0 0,1 1-1 0 0,-1-1 1 0 0,0 1-1 0 0,1-1 1 0 0,-1 1 0 0 0,1-1-1 0 0,-1 1-10 0 0,-8 7 52 0 0,0-1-1 0 0,-1 0 1 0 0,0-1-1 0 0,-9 5-51 0 0,-5 3-82 0 0,20-12 82 0 0,-12 12 0 0 0,10-6 0 0 0,6-4 0 0 0,1-3 0 0 0,-3 7 0 0 0,1-5 0 0 0,0-1 0 0 0,0 1 0 0 0,0 0 0 0 0,0-1 0 0 0,0 1 0 0 0,0-1 0 0 0,-1 1 0 0 0,1-1 0 0 0,-1 1 0 0 0,-1 0 0 0 0,1 0 0 0 0,1 0 0 0 0,-1 0 0 0 0,1 0 0 0 0,0 0 0 0 0,0 0 0 0 0,0 1 0 0 0,0-1 0 0 0,0 2 0 0 0,1-2 0 0 0,-1 0 0 0 0,0 1 0 0 0,0-1 0 0 0,0 0 0 0 0,0 0 0 0 0,-1 0 0 0 0,0 2 0 0 0,-1-4 0 0 0,2 2 0 0 0,0 16 0 0 0,0-16 0 0 0,1-2 0 0 0,0 0 0 0 0,0 0 0 0 0,0 0 0 0 0,-1 0 0 0 0,1-1 0 0 0,0 1 0 0 0,0 0 0 0 0,0 0 0 0 0,1 0 0 0 0,-1 0 0 0 0,0 0 0 0 0,0 0 0 0 0,0-1 0 0 0,1 1 0 0 0,-1 0 0 0 0,0 0 0 0 0,1 0 0 0 0,2 10 0 0 0,-2-8 0 0 0,0 1 0 0 0,0-1 0 0 0,0 1 0 0 0,0-1 0 0 0,-1 1 0 0 0,0 0 0 0 0,1 6 20 0 0,-1-8 2 0 0,0 0 0 0 0,0 0 0 0 0,0 1 0 0 0,0-1 0 0 0,0 0 0 0 0,0 0 0 0 0,0 0 0 0 0,-1 0 0 0 0,1 0 0 0 0,-1 0 0 0 0,0 0 0 0 0,1 0 0 0 0,-2 1-22 0 0,2-2 12 0 0,0-1 1 0 0,0 1 0 0 0,-1 0 0 0 0,1 0 0 0 0,0-1 0 0 0,0 1-1 0 0,0 0 1 0 0,0-1 0 0 0,0 1 0 0 0,0 0 0 0 0,0 0 0 0 0,0-1 0 0 0,0 1-1 0 0,0 0 1 0 0,0 0 0 0 0,0-1 0 0 0,0 1 0 0 0,1 0-13 0 0,-1 0-32 0 0,0 0-1 0 0,0 0 1 0 0,0-1 0 0 0,1 1 0 0 0,-1 0 0 0 0,0 0 0 0 0,0 0 0 0 0,0 0 0 0 0,0 0 0 0 0,-1 0-1 0 0,1 0 1 0 0,0-1 0 0 0,0 1 0 0 0,0 0 0 0 0,-1 1 32 0 0,-2 0-27 0 0,3-2 27 0 0,0 1 0 0 0,-1 0-1 0 0,1 0 1 0 0,0-1 0 0 0,0 1 0 0 0,0 0 0 0 0,0-1-1 0 0,0 1 1 0 0,0 0 0 0 0,0 0 0 0 0,0-1-1 0 0,0 1 1 0 0,0 0 0 0 0,0-1 0 0 0,0 1 0 0 0,1 0-1 0 0,-1 0 1 0 0,0 0 0 0 0,0-1 5 0 0,1 1 0 0 0,-1 0 0 0 0,0 0 0 0 0,0 0 0 0 0,0-1-1 0 0,1 1 1 0 0,-1 0 0 0 0,0 0 0 0 0,0 0 0 0 0,0 0 0 0 0,-1 0 0 0 0,1-1 0 0 0,0 1 0 0 0,0 0 0 0 0,0 0-1 0 0,0 0 1 0 0,-1 0 0 0 0,1-1-5 0 0,-1 2 123 0 0,2-2-126 0 0,-1 0 1 0 0,1 0-1 0 0,-1 0 1 0 0,1 1-1 0 0,-1-1 0 0 0,1 0 1 0 0,-1 0-1 0 0,1 1 1 0 0,-1-1-1 0 0,0 0 0 0 0,1 1 1 0 0,-1-1-1 0 0,1 0 1 0 0,-1 1-1 0 0,0-1 0 0 0,1 1 1 0 0,-1-1-1 0 0,0 1 1 0 0,1-1-1 0 0,-1 1 0 0 0,0-1 1 0 0,0 1-1 0 0,0-1 1 0 0,1 1-1 0 0,-1-1 0 0 0,0 1 1 0 0,0-1-1 0 0,0 1 1 0 0,0-1-1 0 0,0 1 0 0 0,0 0 1 0 0,0-1-1 0 0,0 1 1 0 0,0-1-1 0 0,0 1 1 0 0,0 0 2 0 0,0 1-13 0 0,0 0 0 0 0,0 1 1 0 0,1-1-1 0 0,0 0 1 0 0,-1 1-1 0 0,1-1 1 0 0,0 0-1 0 0,0 0 1 0 0,0 0-1 0 0,0 0 13 0 0,3 6 0 0 0,-3 0 0 0 0,2 0 0 0 0,2-1 0 0 0,-4-6 22 0 0,-1 1 1 0 0,1-1-1 0 0,0 1 0 0 0,0-1 0 0 0,-1 1 0 0 0,1-1 0 0 0,-1 1 0 0 0,1-1 1 0 0,-1 1-1 0 0,0 0 0 0 0,1-1 0 0 0,-1 1 0 0 0,0-1 0 0 0,0 1-22 0 0,1 7 64 0 0,0-7-246 0 0,-2 8-12 0 0,2 2 204 0 0,3-5-10 0 0,9 8 0 0 0,-7-7 0 0 0,-4 0 0 0 0,0-1 0 0 0,0 1 0 0 0,2 2 0 0 0,3 2-2 0 0,3-4 28 0 0,-8-5 70 0 0,0-1-16 0 0,0 0 0 0 0,-1 0-1 0 0,1 0 1 0 0,0-1 0 0 0,0 1 0 0 0,0 0-1 0 0,0-1 1 0 0,1 0 0 0 0,-1 1 0 0 0,2 0-80 0 0,-2-2 9 0 0,2 4 8 0 0,2 2 31 0 0,1-2 16 0 0,11 4 54 0 0,6 3-33 0 0,-21-10-42 0 0,-1-1-35 0 0,0-1 0 0 0,0 1 0 0 0,0 1 0 0 0,0-1 1 0 0,0 0-1 0 0,0 0 0 0 0,0 1 0 0 0,0-1 0 0 0,1 1-8 0 0,12 4 65 0 0,-2-1-57 0 0,-13-3 10 0 0,29 4 20 0 0,-17-3-38 0 0,-4 0 11 0 0,-5-1 42 0 0,8-1 1 0 0,1 3-44 0 0,-1-2 1 0 0,-7-1 32 0 0,6 1-33 0 0,1 1 1 0 0,-7-2 32 0 0,6 1-22 0 0,4 1 22 0 0,-1-2-33 0 0,1 0 1 0 0,-9 0 32 0 0,3 0-22 0 0,-6 0 32 0 0,0 0 1 0 0,9 0-33 0 0,5-3 22 0 0,-5 1-22 0 0,-7 0 22 0 0,6-4-33 0 0,3 1-10 0 0,-1 1 11 0 0,1-2 32 0 0,-1 1-33 0 0,-2-2-10 0 0,1-1 0 0 0,-5 0 11 0 0,3-1 16 0 0,-7 10 11 0 0,1-1-2 0 0,7-10-20 0 0,-6 2-16 0 0,0 1 0 0 0,2-3 0 0 0,18-16 0 0 0,-19 20 0 0 0,-1-1 0 0 0,0 0 11 0 0,3 0 32 0 0,2-9-33 0 0,-5 9-10 0 0,-3-1 0 0 0,-1 7-3 0 0,0 0 1 0 0,0 0-1 0 0,0 0 0 0 0,0 0 0 0 0,0 0 0 0 0,0 0 1 0 0,0 0-1 0 0,0 0 0 0 0,1 0 0 0 0,-1 0 0 0 0,0 0 1 0 0,1 0-1 0 0,-1 0 0 0 0,1 1 0 0 0,-1-1 1 0 0,1 0-1 0 0,-1 0 0 0 0,1 0 0 0 0,0 0 3 0 0,0-1-36 0 0,0 1-59 0 0,4-4-29 0 0,-2-5 244 0 0,-2 5-115 0 0,1 1 1 0 0,-1-1-1 0 0,1 1 0 0 0,0-1 1 0 0,0 1-1 0 0,1-1-5 0 0,6-38 212 0 0,-5 36-212 0 0,-3 6 0 0 0,0-1 0 0 0,0 1 0 0 0,-1-1 0 0 0,1 1 0 0 0,0-1 0 0 0,-1 1 0 0 0,1-1 0 0 0,-1 0 0 0 0,1 0 0 0 0,-1 1 0 0 0,0-1 0 0 0,11-29-424 0 0,-10 24 424 0 0,0-15 0 0 0,-2 11-1 0 0,-1-5 14 0 0,2-11 367 0 0,0 22-674 0 0,0 4 289 0 0,0 0 0 0 0,0 1 0 0 0,0-1 0 0 0,0 0 0 0 0,0 0 1 0 0,0 1-1 0 0,0-1 0 0 0,0 0 0 0 0,0 0 0 0 0,0 1 0 0 0,-1-1 0 0 0,1 0 0 0 0,0 1 1 0 0,-1-1-1 0 0,1 0 0 0 0,0 1 0 0 0,-1-1 0 0 0,1 0 0 0 0,-1 1 0 0 0,1-1 5 0 0,-2-1 0 0 0,1 0 0 0 0,0-1 0 0 0,0 1 0 0 0,0-1 0 0 0,0 0 0 0 0,1 1 0 0 0,-1-1 0 0 0,1 1 0 0 0,-1-3 0 0 0,-4-16 0 0 0,2 17 12 0 0,2 3 55 0 0,-6-15-26 0 0,6 3-164 0 0,-1 11 139 0 0,1 1-17 0 0,0 0 68 0 0,1 1 40 0 0,-9-17 35 0 0,-3 8-100 0 0,11 9-157 0 0,1 0-12 0 0,0 0 34 0 0,0 0 145 0 0,0 0 63 0 0,0 0 11 0 0,0 0-32 0 0,-4-9-494 0 0,-11 0 394 0 0,14 8 92 0 0,1 1 39 0 0,-2-2 92 0 0,-12-4-138 0 0,-8-5-15 0 0,21 11-61 0 0,0 0 0 0 0,0-1 1 0 0,0 1-1 0 0,0-1 0 0 0,0 1 1 0 0,1 0-1 0 0,-1-1 0 0 0,0 0 1 0 0,0 1-1 0 0,0-1 0 0 0,0 0 1 0 0,0 1-1 0 0,1-1 0 0 0,-1 0 0 0 0,0 0 1 0 0,1 0-1 0 0,-1 0-3 0 0,0 0 1 0 0,1 0-1 0 0,-1 0 1 0 0,0 0-1 0 0,0 0 1 0 0,0 0 0 0 0,0 1-1 0 0,1-1 1 0 0,-1 0-1 0 0,0 0 1 0 0,0 0 0 0 0,-1 1-1 0 0,1-1 1 0 0,0 0-1 0 0,0 1 1 0 0,1 0 0 0 0,-1 0 1 0 0,1 0-1 0 0,-1 0 0 0 0,1-1 1 0 0,-1 1-1 0 0,1 0 0 0 0,0 0 0 0 0,-1-1 1 0 0,1 1-1 0 0,-1 0 0 0 0,1-1 1 0 0,0 1-1 0 0,-1 0 0 0 0,1-1 1 0 0,0 1-1 0 0,-1 0 0 0 0,1-1 0 0 0,0 1 1 0 0,0-1-1 0 0,-1 1 0 0 0,1-1 1 0 0,0 1-1 0 0,0-1-1 0 0,-2-2 16 0 0,-13-8-10 0 0,-12-4-6 0 0,21 12 0 0 0,-15 0 0 0 0,9 9 0 0 0,5-2 0 0 0,-4-3 0 0 0,9 0-31 0 0,0-1-1 0 0,0 1 1 0 0,0 0-1 0 0,0 0 1 0 0,1 0-1 0 0,-1 0 1 0 0,0 0-1 0 0,0 1 32 0 0,0-1-46 0 0,1 1-1 0 0,-1-1 1 0 0,0 0-1 0 0,0 0 1 0 0,0 0-1 0 0,0 0 1 0 0,0 0-1 0 0,-1 0 47 0 0,-4 1-472 0 0,6-2-1024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37.374"/>
    </inkml:context>
    <inkml:brush xml:id="br0">
      <inkml:brushProperty name="width" value="0.35" units="cm"/>
      <inkml:brushProperty name="height" value="2.1" units="cm"/>
      <inkml:brushProperty name="color" value="#CC0066"/>
      <inkml:brushProperty name="inkEffects" value="pencil"/>
    </inkml:brush>
  </inkml:definitions>
  <inkml:trace contextRef="#ctx0" brushRef="#br0">6249 1238 1376 233125 35917,'0'0'128'0'0,"0"0"-128"0"0,0 0 0 0 0,0 0 0 0 0,0 0 408 0 0,0 0 56 0 0,0 0 16 0 0,0 0 0 0 0,0 0-184 0 0,1 1-32 0 0,1 0-8 0 0,2-1 0 0 0,1-1 96 0 0,4-1 376 0 0,1-1-360 0 0,0 0 24 0 0,2-1 408 0 0,0-1-400 0 0,-1-1-80 0 0,1 0-24 0 0,-2 0 0 0 0,3-3 272 0 0,1-1-304 0 0,0 0 0 0 0,3-1 232 0 0,0-1-272 0 0,1 0 0 0 0,-1 0 0 0 0,-1 1-8 0 0,-1 0-8 0 0,2 0 0 0 0,3-2 192 0 0,6-2-32 0 0,1 0-184 0 0,-1 2 8 0 0,-4 0 0 0 0,-2 2 0 0 0,-1 0 0 0 0,0 0-32 2 700,2-2 160 1-132,7-2 0-3-568,5-1 0 0 0,1 0-160 0 0,-2 1-56 0 0,-3 2-8 0 0,-2 1-8-3 560,-4 2 0 3-560,-1 1-16 0 0,0 0 0 0 0,-1 1 0 0 0,-1-1 0 0 0,1 0-72 0 0,0-1 80 0 0,2-1-80 0 0,1 0 80 0 0,1-2-16 0 0,8-3 32 0 0,9-5 104 0 0,5-2-48 0 0,-2 0 0 0 0,-3 1 0 0 0,-2 2-64 0 0,2-2 56 0 0,0 1-72 0 0,-2 1 32 0 0,3-2 119 0 0,-1 0-111 0 0,-3 1-24 0 0,-2 3-8 0 0,-2 1 0 0 0,7-2 64 0 0,2 0-144 0 0,-1 3 96 0 0,-2 0-32 0 0,0 1-64 0 0,2-1 64 0 0,4-2 0 0 0,0 1-64 0 0,-4 2 0 0 0,-4 1 0 0 0,-4 1 0 0 0,-4 3 64 0 0,-2 1-64 0 0,-2 1 0 0 0,-2-1 0 0 0,-1 1 64 0 0,0 1-64 0 0,0 0 0 0 0,-1 0 136 0 0,1 1-8 0 0,2-1-8 0 0,0 0 0 0 0,2-1-120 0 0,-1 1 0 0 0,-1-2 0 0 0,5 0 0 0 0,2 0 0 0 0,0 1 0 0 0,0 0 0 0 0,0 1 0 0 0,5 0 0 0 0,-1 1 0 0 0,-2 0 0 0 0,2 0 0 0 0,0-1 0 0 0,-4 2 0 0 0,-2 0 0 0 0,-2-1 0 0 0,-3 1 0 0 0,-2 1 0 0 0,3-2 0 0 0,4 0 0 0 0,0 1 0 0 0,0 0 0 0 0,-1-1 0 0 0,0 2 96 0 0,4-1 40 0 573,9 0-72 7 534,3 0-64-10-578,-1 0 0 1-16,2 0 0 2-513,-1 0 0 0 0,-4 1 0 547 588,-4 0 0-27-589,-4 0 0-520 1,1 0 0 1045-1,-1-1 0-1045 1,-1 0 0 0 0,-3 0 0 0 0,-1 0 0 0 0,0 0 0 0 0,-2 1 0 0 0,5 0 0 0 0,2 0 0 0 0,-1 1 0 0 0,3 1 64 0 0,-1 1 0 0 0,-2 2-64 0 0,-2 2 0 0 0,-3 1 0 0 0,-1 2 0 0 0,-2 1 0 0 0,-1-1 0 0 0,-3 1 0 0 0,-2-1 0 0 0,-1 1 0 0 0,-2-1 0 0 0,-1 0 0 0 0,1 0 64 0 0,-1 0-64 0 0,1-1 0 0 0,-1 0 64 0 0,1-1-64 0 0,0 1 64 0 0,2-1-64 0 0,1 0 64 0 0,2 0-64 0 0,5 0 64 0 0,2 1 0 0 0,1 0-64 536 4,3 1 0-31-5,2 2 0 54 562,-1 1 0-559-561,-3-1 0 0 0,-2-1 64 0 0,-3-1-64 0 0,-3 2 0 0 0,-1-1 0 0 0,-2 2 0 0 0,-1-1 0 0 0,1 3 0 0 0,0 0 64 0 0,-2 1-64 0 0,-1-1 0 0 0,-2-1 0 0 0,0 2 0 0 0,0 3 0 0 0,0 2 0 0 0,-3 1 0 0 0,-1-2 72 0 0,-3-2-72 0 0,-1 0 0 0 0,-1-2 72 0 0,-2-2-72 0 0,0-2 0 0 0,-1-3 88 0 0,0 1-88 0 0,-1 1 80 0 0,1 1-80 0 0,0 2 72 0 0,0 4-8 0 0,1 2-64 0 0,-2 1 72 0 0,0-1-72 0 0,0 0 80 0 0,-1-1-80 0 0,0 0 64 0 0,0 1-64 0 0,-1-1 0 0 0,-1 1 64 0 0,-1 1-64 0 0,0-1 0 0 0,0-2 72 0 0,0-1-72 0 0,0 0 0 0 0,-2-1 0 0 0,0-1 0 0 0,0 0 64 0 0,-1 0-64 0 0,-2 1 64 0 0,0-2 0-3 607,0-2-64 3-607,-1 0 96 0 0,-1 1 64 0 0,-1-2-64 0 0,0 0 0 0 0,-1-1 0 0 0,0-1-32 0 0,-3 2 64 0 0,-3 0-64 0 0,-1 0-64 0 0,1 1 72 0 0,0-1-72 0 0,1 0 96 0 0,0 0-24 0 0,1-1 0 0 0,1 0 0 0 0,2-1-72 0 0,0 0 64 0 0,0 0-64 0 0,-1 1 64 0 0,0 1-64 528 0,-2 0 0-528 0,0 0 0 0 0,0 1 0 0 0,-2-1 0 0 0,-4 1 0 0 0,-3-1 0 0 0,2 1 0 0 0,1-1 0 0 0,1 0 64 0 0,1-2-64 0 0,2 0 0 0 0,1-1 0 0 0,1 1 72 0 0,0 0-72 0 0,0 1 80 0 0,-3 1-16 0 0,-2 1 32 0 0,-1 0-24 0 0,0 0-8 0 0,0 1 0 0 0,-1-1 0 0 0,0-1-64 0 0,0-1 0 0 0,-1 1 0 0 0,-1-1 64 0 0,0 0-64 0 0,-4 1 0 0 0,0 3 64 0 0,-1-1-64 0 0,2-1 0 0 0,1 1 72 0 0,-2 2-72-9-601,-3 3 0 9 601,-1 0 64 0 0,3-1-64 0 0,-3 0 0 0 0,1-1 64 0 0,2 0-64 0 0,-5-1 0 0 0,-6 0 64 0 0,-2-1-64 0 0,1-1 0 0 0,-4 1 0 0 0,0 0 0 0 0,4 0 0 0 0,3 0 0 0 0,3 0 0 0 0,3-1 64 0 0,3 0-64 1-535,1 0 64 3-18,2 1-64 1-18,-4 1 0-5 571,-4 1 0 1-560,-1-1 0-1 560,2 0 0 0 0,2-1 0 0 0,2 0 0 0 0,-3 0 80 0 0,-3 0-80 0 0,1 0 0 0 0,0 0 0 0 0,2 0 0 0 0,-1 0 0 0 0,-1 3 0 0 0,-3 1 0 0 0,2 1 0 0 0,5-2 0 0 0,6-2 0 0 0,3-2 0 0 0,4-1 0 0 0,4-1 0 0 0,2 0 0 0 0,1-1 0 0 0,4-1-80 0 0,2 0 80 0 0,2-1 0 0 0,2-1 0 0 0,0-1 0 0 0,2-1 0 0 0,-1-1 0 0 0,2 1 0 0 0,0-1 0 0 0,0 1 0 0 0,1-1 0 0 0,3 0 0 0 0,4-2 0 0 0,4-1 0 0 0,-1-2 0 0 0,1 0 64 0 0,-1 0-64 0 0,0-1 64 0 0,0 0-64 0 0,0-1 0 0 0,1 0 0 0 0,1-2 0 0 0,5 0 0 0 0,0 1 0 0 0,1 1 0 0 0,4-1 0 0 0,0 0 0 0 0,-1 0 0 0 0,2 0 0 0 0,0 0 0 0 0,-1 0 0 0 0,0-1 0 0 0,-1 0 0 0 0,-2 1 0 0 0,1 0 0 0 0,4-2 0 0 0,0-1 0 0 0,-2 1 0 0 0,-1-1 0 0 0,0 2 0 0 0,-1 0 0 0 0,1 0 0-1-509,-1-1 0 1 509,2 1 0 0 0,7-2 0 0 0,5-2 0 0 0,3 0 0 0 0,0 0 0 0 0,1 0 0 0 0,5-2 0 0 499,7-3 0 0-499,4-4 0 0 0,3-4 0 0 0,-5-1 0 0 0,-4 2 0 0 0,-7 1 0 0 0,-5 3 0 0 0,1-1 0 0 0,-2 1 0 0 0,-1 0 0 0 0,-2 2 0 0 0,-2 1 0 0 0,1-1 80-5 1250,1 0-16 1-717,-3 1-64 4-533,-2 0 96 0 0,-3 2-96 5 508,-1-2-64-5-508,1-4-40 0 0,0-1 104 0 0,-1 2 0 0 0,0-3 0 0 0,0 0 0 0 0,-2 1 0 0 0,3-2 0 0 0,1 0 0 0 0,-1 1 0 0 0,2-2 0 0 0,1 2 0 0 0,-3 0 0 0 0,1-1 0 0 0,-2 1 80 0 0,-3 2-16 0 0,-4 2-64 5 719,-3 1 0-8-179,-3 1-88 3-540,-4 2 88 0 0,-2 0 0 0 0,-4 0 0 0 0,-3 2 0 0 0,-3-2 0 0 0,-2-1 64 0 0,-2 0-64 0 0,-2 1 0 0 0,-1 3 64 0 0,-1 2-64 0 0,-7 0 0 0 0,-3 1 0 0 0,-1 0 0 0 0,-6 2 0 0 0,-7-2 0 0 0,-1 1 0 0 0,2 1 0 0 0,1-2 0 0 0,2 0 0 0 0,2 1 0 0 0,-2 0 0 0 0,-7-1 0 0 0,-2 0 0 0 0,0 1 0 0 0,1 0 0 0 0,2 1 0 0 0,1 1 0 0 0,1 1 0 0 0,-4 0 0-3-501,-3 2 0 3 501,1 0 0 0 0,-5 0 0 0 0,1 1 0 0 0,1 1 0 0 0,-8 1 0 0 0,-3 1 0 0 0,-3-1 0 0 0,-1 3 0 0 0,2 1 0 0 0,3 1 0 0 0,1 3 0 0 0,-6 3 0 0 0,0 2 0-5-551,4 2 0 10-34,-4 2 0-5 585,2 0 0 0 0,5-2 0 0 0,-1 0 0 0 0,5-1 0 0 0,6-2 0 0 0,7-2 0 0 0,6-1 0 0 0,6-2 0 0 0,5-2 0 0 0,6-1 0 0 0,3-1 0 0 0,4-1 0 0 0,2-1 0 0 0,3-1 0 0 0,3-1 0 0 0,6-3 0 0 0,9-2-64 0 0,11-3 64 0 0,9-3-80 0 0,9-3 80 0 0,1 1 0 0 0,-3 0 0 0 0,-2 2 0 0 0,-2 1-64 0 0,0 1 64 0 0,-2 1 0 0 0,0 0 0 0 0,3 0 0 0 0,2 1 0 0 0,3 0 0 0 0,9 1 0 0 0,5 0 0 0 0,-1 1 0 0 0,4 1 0 0 0,-1 1 0 0 0,-4 0-64 0 0,4 2 64 0 0,-2 1 0 0 0,-6 3 0 0 0,-4 1 0 0 0,-4 3 0 0 0,-5 3 0 0 0,-5 0 0 0 0,2 4-80 0 0,-2 2 80 0 0,-4 1 64 0 0,-1 3-64 0 0,0 3 0 0 0,0 5-96 0 0,-2 1 96 0 0,-4-2 0 0 0,-3 2 0 0 0,-3-1 0 0 0,-3-1 0 0 0,-4-3 0 0 0,-2-1 0 0 0,-1 0 0 0 0,-2 1 0 0 0,-1-2 0 501-1,-3 0 0-501 1,-2-1 0 0 0,-4 2 0 0 0,-4 2 0 0 0,-3 0 0 0 0,-4 4 0 0 0,-1 0 0 0 0,-3 0 0 9 510,-3 2 0-9-510,-3 0 0 0 0,-1-2 80 0 0,-8 2-80 0 0,-5-1 0 0 0,-1-2 0 0 0,-2-2 0 0 0,1-2 0 0 0,-1 0 0 0 0,1-1 0 0 0,-7 2 0 0 0,-2 1 0 513-1,1-1 0-513 1,2-2 0 0 0,2-2 0 0 0,-5 1 0 0 0,-5-2 0 0 0,-1-1 0 4 859,-9 0 0-11-341,-10 2 0 7-518,-7 2 0 0 0,-6 4 0-1-651,6-1 0 8 25,9-3 0-13 18,8-1 0 6 608,8-2 0 0 0,7-2 0 0 0,1-2 64 0 0,1 0-64 0 0,0-1 0 0 0,0 0 0 0 0,0 1 0 0 0,-12 3 0 0 0,-5 1 0 0 0,2-1 64 0 0,1 0-64 0 0,3-1 0 0 0,1 0 0 0 0,3-1 0 0 0,1 0 0 0 0,0 0 0 0 0,0 0 0 0 0,0 0 0 0 0,-8 3 0 4-652,-4 1 0-4 652,1 0 0 0 0,3 0 0 0 0,5-1 0 0 0,2-1 0 0 0,5-2 0 0 0,2-1 0 0 0,3-1 0 0 0,1-1 0 0 0,2 0 0 0 0,1-2 0 0 0,1 0 0 0 0,-3 2 0 0 0,0 1 0 0 0,3 0 0 0 0,2 0 0 0 0,5-2 0 0 0,3 0 0 0 0,4-2 0 0 0,4 0 0 0 0,3-1 0 0 0,2-1 0 0 0,4-1 0 0 0,2-1-64 0 0,3-1 64 0 0,2-2 0 0 0,3-1 0 0 0,3-1 0 0 0,10-2 0 0 0,9-4 0 0 0,7-3 0 0 0,4-2-80 0 0,8-3 80 0 0,12-4 0 0 0,4 0 0 0 0,-1 0 0 0 0,5-3 0 0 0,0 1 0 0 0,-2 1 0 0 0,-3 1 0 0 0,0 1 0 0 0,-1 1 0 0 0,-3 1 0 0 0,-3 1 0 0 0,-2 2 0 0 0,-1 2 64 0 0,0 1-64 0 0,-1 2 0 0 0,0 0 0 0 0,-2 1 0 0 0,-1 1 0 0 0,0 1 0 0 0,-2 2-88 0 0,9-1 88 0 0,10 0 0 0 0,9 2 80 0 0,9-1-80 0 0,-1 0 0 0 0,-5 2 0 0 0,-9 1 0 0 0,-5 0 0 0 0,0 0 0 0 0,5 2-80 0 0,4 2 80-2-573,-3 0 0 2 573,-3 0 0 0 0,-5 1 80 0 0,-3 1-80 0 0,-3 1 0 0 0,-1 1-80 0 0,-1 2 80 0 0,-1 0 0 0 0,-1 0 0 0 552,-2 0 0-9 59,-1 1 0 9-611,-2-1 0 0 0,-2 0 0 0 0,-1 0 0 0 0,0 1 0 0 0,0 0 0 0 0,5 3 0 537 4,3 1 0-537-4,-2 0 0 0 0,0 1 0 0 0,-4 0 0 0 0,5 3 0 0 0,-1 3 0 0 0,-2 0 0 0 0,-5 0 0 0 0,-3-1 0-4 585,-6 0 0 4-585,-2-2 0 0 0,-4 0 0 0 0,-2-1 0 0 0,-2 0 0 0 0,-3 0 0 0 0,-1 0 0 0 0,1 1 0 0 0,1 2 0 0 0,2 4 72 0 0,-1 1-72 0 0,-1-2 0 0 0,0 1 72 0 0,-3 0 24 0 0,-1-3-96 0 0,-4 0 96 0 0,-2-3-96 0 0,-2 1 80 0 0,0-2-80 0 0,-3 2 152 0 0,-1 1-80 0 0,-1-1 0 0 0,-2 4 64 10 1131,-1 3-8-10-1131,-1 3-64-2 701,-3 4 0 2-701,0 2 0 0 0,-1-1 0 0 0,0-5-64 0 0,0-3 64 0 0,1-5-64 0 0,-1-2 0 0 0,-1-2 72 0 0,-3 1 32 0 0,-2 1-8 0 0,-2-1-8 0 0,-4 2 64 0 0,-7 3-24 0 0,-2-1-64 0 0,0-1-64 0 0,-4 0 0 0 0,0-2 0 0 0,0-3 0 0 0,-2 0 0 0 0,-7 1 88 0 0,1-1-24 0 0,2-2-64 0 0,2-2 96 0 0,2-3-24 0 0,-7 1 56 0 0,-2 0-64 0 0,-1-2 0 0 0,-8 3 64 1 1109,-3 0-64-1-1109,1-1-64 0 0,5 0 0 0 0,3 0 0 0 0,-5 2 0 0 0,0 0 0 0 0,2 1 0 0 0,4-1 0 0 0,2-1 0 0 0,-6 0 0 0 0,-12 1 0-11 513,-3 0 0 11-513,5-1 0 0 0,-2 0 0 0 0,3 0 0 0 0,6-1 0 0 0,6-1 0 0 0,5-2 0 0 0,-2 0 64 0 0,1 0 32 0 0,3-3-96 0 0,2-1 0 0 0,2-1-80 0 0,0-1 80 0 0,2-1 0 0 0,1-1 0 0 0,2 1 104 0 0,-6 1-32 0 0,-7 1-224 0 0,-1 1 88 0 0,2 0 64 0 0,4-1 88 0 0,4 0-24 0 0,4-1 0 0 0,4 1-64 0 0,1 2 0 0 0,0 0 0 0 0,4-1 0 0 0,-1 1 0 0 0,0-1 0 0 0,1-1-96 0 0,5 0 32 0 0,3-2 64 0 0,4 0 0 0 0,2-1 0 0 0,3-1 0 0 0,3 0 0 0 0,2 0 0 0 0,2 0 0 0 0,1-1 0 0 0,0 1 0 0 0,1 0 0 0 0,0 0 0 0 0,-1 0 0 0 0,0 0 0 0 0,1 0 0 0 0,1 1 0 0 0,3 0 0 0 0,6 2 0 0 0,1-1 0 0 0,1 1 0 0 0,2-2 64 0 0,0 0-64 0 0,1-2 0 0 0,-1 0 0 0 0,-1-2 0 0 0,-1 0 0 0 0,1-1 0 0 0,1 0-88 0 0,2 0 24 0 0,0-2 0 0 0,2 1 64 0 0,1-1 112 0 0,2 0-24 0 0,0-1-8 0 0,0 0-80 0 0,-2 0-88 0 0,1 0 24 0 0,1 0 0 0 0,-2 1 64 0 0,-1 0 0 0 0,2 0 0 0 0,4 0 0 0 0,2-1 0 0 0,-1 1 0 0 0,4 1 0 0 0,0 0 64 0 0,-1 1-64 0 0,1-1 64 0 0,-1 1-64 0 0,-2-1 0 0 0,1 1 0 0 0,4-1 0 0 0,0-1 0 0 0,-1 0 0 0 0,3-1 0 0 0,2-1 0 0 0,-1 0 0 0 0,-2 0 0 0 0,1-3 0 0 0,3 0 0 0 0,0-1 64 0 0,-1 1-64 0 0,3 1-64 0 0,5-1-32 0 0,3-1 296 0 0,3 1-120 0 0,-3 0-80 0 0,-6 2-96 0 0,-1-1 96 0 0,-2 2 0 0 0,-2 1 0 2-566,2 1-88-2 566,3 0 24 0 0,5-1 64 0 0,7-2 0 0 0,-1 1 0-1 515,-2-1 0-1 33,-4 1 0 2-548,-5 0 0 0 0,2-2 0 10 542,4-2 0-10-542,-3-1 0 0 0,-3 1 0 0 0,0-1 0 0 0,-2 0 88 0 0,-4 1-88 0 0,-2 1 0 0 0,-3-1 0 0 0,-1 0 0 0 0,-2 2 0 0 0,6-4-80 502-3,6-2 80-502 3,7-5 88 0 0,1-2-24 0 0,-3 1-64 0 0,1-2 0 0 0,-5 1 0 0 0,-5 0 0 0 0,-6 2 0 0 0,-5-1 0 0 0,-3 2 0 0 0,-1 0 0 0 0,3-4 0 0 0,1-1 0 0 0,-1 1 0 0 0,1 1 0 0 0,-2 2 0 0 0,-1 1 0 0 0,-2 2 0 0 0,-3 1 64 0 0,-1 1-64 0 0,-3-1 0 512-3,-2 2 0 1 8,-2-1 0-513-5,-1 2 0 0 0,-2 0 0 0 0,-1 0 0 0 0,-2-1-128 0 0,0 0 32 0 0,-3-3 0 0 0,-2-4 96 0 0,-5-3 64 0 0,-2-1 24 0 0,-2 1 8 0 0,-1-2 0 0 0,-2 1-96 0 0,0 1 0 0 0,-1 3 0 0 0,1 0 0 0 0,2 3 0 0 0,0-1 0 0 0,1 2 0 0 0,-1-1 0 0 0,1 0 0 0 0,-2 1 0 0 0,0-1 0 0 0,-1 0 0 0 0,-2 0 0 0 0,-1 0 0 0 0,-6-4 0 0 0,-10-2 0 0 0,-5 0 0 0 0,-2 3 0 0 0,-1 3 0 0 0,0 3 0 0 0,1 4 0-5-499,0 2 0 558-186,-5 1 0-548-592,-3 2 0 504 715,1 1 0-505 53,0 3 0-4 509,-1 2 0-6-530,-1 0 0 6 530,-2-1 0-1 549,-11 0 0 1-549,-11 1 0 0 0,-1 0 0 0 0,4 2 0-4-520,0 0 0 4 520,6 2 0 0 0,7 0 0 2-567,1 0 0-2 567,4-1 0 0 0,5-1 0 0 0,6-1 0 0 0,3 0 0 0 0,-1 1 0 0 0,2-1 0 0 0,3 1 0 0 0,3-2 0 0 0,4 0-80 0 0,6 1 80 0 0,7 1-72 0 0,7-1 72 0 0,4 1-72 0 0,4 0 72 0 0,4 2 0 0 0,5 2-88 0 0,8 3 24 0 0,9 3 64 0 0,8 3 0 0 0,3-1 0 0 0,1 1 0 0 0,3 0-64 0 0,2-1 64 0 0,-2-1 0 0 0,-1-1-64 0 0,-1-1 64 0 0,-1 0 0 0 0,2 0 0 0 0,12 3 64 4-1030,5 2-64-4 1030,3 2-88 0 0,9 5 88 0 0,6 6-64 1 515,5 6 64-1-515,-6 2 0 0 0,-10-2 0 507 7,-9-2 0-507-7,-10-3 0 0 0,-9-3 0 0 0,-4-2 0 0 0,0 2 80 0 0,0 1-80 0 0,-3-1 0 513-5,0 3-88-521 618,-2 0 88 10-75,-4-1 0-2-538,-3-2-64 1 559,-5-1 64 0 20,-3-2 0-1-579,-4 0 0 0 0,-3 3 0 4 533,-3 1 0-4-533,-2 0 0 0 0,-3-1 0 0 0,-2-1 0-6 510,-2 0 0 6-510,-2-1 0 0 0,-4 3 0 0 0,-3 1 0 0 0,-1 0 0 0 0,-5 2 0 521 4,-2 0 0-2-4,0-3 0-1-4,-4 1 0-518 4,-3 2 0 0 0,-1-1 64 0 0,2-4-64 0 0,-1-3 0 0 0,-4-2 0-10 621,-1-4 0 10-621,1-4 0 0 0,1-4 0 0 0,1-1 64 11 567,-1-3-64-11-567,-1-1 64 0 0,-6 1 0 0 0,-2-1-64 0 0,1 0 64 0 0,2 0-64 0 0,4 0 0 0 0,3 0 64 0 0,3 0-64 0 0,-1 0 0 0 0,2-2 0 0 0,-4 0 0-3-535,-6 1-64 3 535,-5 1 64 0 0,-6 0 0 0 0,-6 1 0 0 0,0 1 0 0 0,2-2 0 0 0,-1 1 0 0 0,5 1 0 0 0,4-2 0 0 0,-1 2 0 0 0,-3 0 0 0 0,1 1 0 0 0,3 1 0 0 0,5-2 64 0 0,5 1-64 0 0,3 0 0 0 0,2-1 0 0 0,-6 1 0 0 0,-8 1 0 0 0,-4 1 0 0 0,2 1 0 0 0,3 0 0 0 0,3 0 0 0 0,0-1 0 0 0,1 1 0 0 0,-6 2 0 0 0,-3 0 0 0 0,3 0 0 0 0,-4 1 0 0 0,1 0 0 0 0,4-2 0 0 0,-3 1 0 0 0,0-1 0 0 0,3 0 0 0 0,1-2 0 0 0,3 0 0 0 0,0-1 0 0 0,1 1 0 0 0,-6 1-64 0 0,-2 2 64 0 0,1-2 0 0 0,3 0 0 0 0,4 0 0-3-554,-3 0 64 3 554,-3 1-64 0 0,-8 2 0 0 0,0-1 0 0 0,3 0 0 0 0,1 0 0 0 0,2-1 0 0 0,4 0 0 0 0,0 0-64 0 0,-4 2 64 0 0,1 0 0 0 0,5-1 0 0 0,4-1 0 0 0,4 0 0 0 0,-1 1 64 0 0,1 1-64 0 0,2 0 0 0 0,-1 0 0 0 0,1 1 0 0 0,0 0 0 0 0,1-1 0 0 0,1 0 0-500-2,-1-1 0 500 2,0 0 0 0 0,-3-1 0 0 0,-2 0 0 0 0,1 0 0-520 0,1 0-64 520 0,2-1 64 0 0,1 0 0 0 0,2 1 0 0 0,-2 1 0 0 0,-1 2 0 0 0,3 0 0 0 0,2 0 64 0 0,2 1-64 0 0,2-1 0 0 0,2 2 0 0 0,2-2 0 0 0,1 1 0 0 0,0-1 0 0 0,1 0 0-501 2,-1 0 0 501-2,1 0 0-532 1,-1-1 0 532-1,-1 0 0 0 0,-3 1 0-514 3,-6 1 0 514-3,-4 2 0 0 0,1-1 0-496-5,1 0 0-29 9,1-2 0 525-4,-1 1 0-498-1,3-3 0 498 1,4 0 0 0 0,3-2 0 0 0,1-1 0 0 0,2-1 0 0 0,2 1 0-2-615,-1-1 0 2 615,2 1-72 0 0,-4 0 72-4-544,-1 1 0 4 544,0-1 0 0 0,2-1 0 0 0,2 0 0 0 0,2-1 0 0 0,2 0 0 0 0,2 0 0 0 0,2-2 0-1-540,2-1 64 1 540,2-1-64 0 0,1 0 0 0 0,-1 1 0 0 0,1-1 0 0 0,0 0 0 0 0,-1 0 0 0 0,0 1 0 0 0,0-1 0 0 0,2-1 0 0 0,-1 1 0 0 0,-1 0 0 0 0,0-1 0 0 0,-1 1 0 0 0,-1 0 0 0 0,-1 1 0 0 0,-1 1 0 0 0,0 0 0 0 0,0 0 0 0 0,-1 0 0 0 0,-1 1 0 0 0,-1 1 0 0 0,-2 0 0 0 0,-2 1 0 0 0,-1 2 0 0 0,0 0 0 0 0,-4 4 0 0 0,-3 1 0 0 0,0 1 0 0 0,-5 3 64 0 0,-2 0-64 0 0,1 1-80-505 2,2-1 80 505-2,1 2 0 0 0,2 0 0 0 0,1 0 0-588-4,-2 4 0 588 4,-1 2 0 0 0,2 0 0 0 0,-2 1 0 0 0,-3 2 0 0 0,0-1 0 0 0,1-3 0 0 0,-1 0 0 0 0,0-1 0 0 0,2-2 0 0 0,-3-1 0-2-501,0 1 0 2 501,2-1 0 0 0,1-1 0 0 0,1-1 0-515 4,-4 3 0-491-9,-1 2 0 1006 5,1 1 0-529-1,-2 2 0 29 7,-5 3 0 500-6,-1 2 0 0 0,0 1 0-513-2,3 2 0 513 2,3 0 0 0 0,2-1 0 0 0,5-1 0 0 0,4-4 0 0 0,6-4 0 0 0,2-2 0 0 0,2-3 0 0 0,3-2 0 0 0,2-2 0 0 0,0-2 0 0 0,1-1 0 0 0,0-1 0 0 0,-1 1 0 0 0,-1 1 0 0 0,1-2 0 0 0,-1 2 0 0 0,0 2 0 0 0,-1 0 0 0 0,1 0 0 0 0,0 0 0 0 0,0 1 0 0 0,0-1 0 0 0,2-2 0 0 0,0-1 0 0 0,1 0 0 0 0,-1 1 0 0 0,0 1 0 0 0,-2 2-64 0 0,0 0 64 0 0,1 0 0 0 0,2-1 0 0 0,0-1 0 0 0,0 2 0 0 0,0 1 0 0 0,1 0 0 0 0,1-2 0 0 0,-1 1 0 0 0,1-1 0 0 0,1 1 0 0 0,-1-2 0 0 0,0-1 0 0 0,0 0 0 0 0,0-2 0 0 0,0 0 0 0 0,0 1 0-503-1,-1 0 80 503 1,0 1-80 0 0,-1 0 0 0 0,1 0 0 0 0,0 1-88 0 0,-1 1 88-535 4,0 0 0 535-4,1 0 0 0 0,-3 2 0 0 0,0 1 0 0 0,-1 1 0 0 0,-1-1 0 0 0,-1 0 0 0 0,-1 0 0 0 0,0 0 0 0 0,-4 2 0 0 0,-1 1 0 0 0,-1 0 0 0 0,0 0 0 0 0,-1-2 0 0 0,-5 4 0 0 0,-2 0 0 0 0,0 0 0 0 0,-1-1 0 0 0,0 0 0 0 0,0-1 0-546-4,0 0 0-1 7,-4 3 0 547-3,-5 5 0-530 509,0 1 72 530-509,0-2-72 0 0,-3 1 0 0 0,-5 3 0 0 0,-5 0 64 0 0,1-2-64 0 0,3-3 0 0 0,2-4 0 0 0,3-3 0 0 0,-5 0 0 0 0,-9 3 0 0 0,-1 0 0 0 0,0-1-64 0 0,1-2 64 0 0,1 0 72 0 0,1-2 40 0 0,1-1 8 0 0,-5 2 0 0 0,-2 0-120 0 0,1-1 64 0 0,3-1-64-512-2,1-1 0-72 0,-7 1 64 584 2,-3 0-64-524 7,0-1 0-21-13,2 0 88 545 6,1 0-88 0 0,4-1 80 0 0,1 0-80 0 0,-3 0 0 0 0,-1-1 0 0 0,1-1 0 0 0,-7-1 0 0 0,-11-1 0 0 0,1-1 64-546 1,2-2-64 9-1,7-3 0 537 0,6-1 64 0 0,6-2-64 0 0,4-2 0 0 0,-3-2 64 0 0,2-2-64 0 0,2-2 72 0 0,-4-4-72 0 0,-1-2 64 0 0,2-2-64 0 0,3-1 0 0 0,1-1 0 0 0,3 0 0 0 0,1 0 0-506 0,2 0 64 506 0,0 1-64 0 0,0-1 0 0 0,1 1 0 0 0,1-1 64 0 0,2 0-64 0 0,1 0 0 0 0,2-1 0 0 0,2 0 0 0 0,1-1 0 0 0,0-1 0 0 0,1-1 0 0 0,-2-1 0 0 0,0-1 0 0 0,0-2 0 0 0,1-1 0 0 0,0-2 64 0 0,3-1-64 0 0,0-2 0 0 0,1-3 0 0 0,4-1 0 0 0,1-2 0 0 0,2-8 0 0 0,0-10 64 0-519,4-3-64 0 519,2 2 0 0 0,3-5 0 0 0,4-8 0 0 0,1 2 0 0 0,3 3 0 0 0,0 5 0 0 0,1 4 0 0 0,1-5 0 0 0,1-2 0 0 0,1 1 0 0 0,-1-8 0 0 0,4-12 0 0 0,1-12 64-10-529,3-14-64 10 529,1 1 0 0 0,2 6 0 0 0,4-2 0 0 0,5-7 0 0 0,4 3 0 0 0,1 7 0 0 0,1 8 0 0 0,-1 6 0 0 0,4-8 0 0 0,5-13 0 0 0,-1-1 0 0 0,-1 5 0 2-523,2-5 0-2 523,2 2 0 0 0,-2 7 0 0 0,-2 9 0 0 0,0 6 0 0 0,3-6 0 0 0,2 0 0 0 0,-1 3 0 0 0,-1 4 0 0 0,-1 4 0 0 0,7-9 0 0 0,0 0 0 0 0,0 2 0 0 0,1-6 0 0 0,2-11 0 0 0,2-9 0 0 0,-4 2 0 0 0,-5 10 0 529 3,-5 10 0-529-3,-4 10 0 0 0,-5 8 0 0 0,-2 8 0-4-671,-3 4 0 4 671,-3 4 0 0 0,-1-6 0 535-594,-2-1 0-2 601,-3 4 0-533-7,-5-1 0 1052-3,-4 1 64-1044-506,-5 7-64-8 509,-4 7 0 0 0,-6 5 0 0 0,-3 8 0 0 0,-3 5 0 0 0,0 6 0 0 0,-2 5 0-3-570,-1 2 0 3 570,-2 2 0 0 0,-5 1 0 0 0,-4 0 0 0 0,-3 2 0 0 0,0 1 0 0 0,-2 1 0 0 0,-2 1 0 0 0,1 1 0 0 0,-5 2 0 0 0,-3 2 0 0 0,1 1 0 0 0,1 3 0 0 0,4 0 0 0 0,3 1 0 0 0,2 1 0 0 0,4 1-64 0 0,0 1 64 0 0,-1 2 0 0 0,-4 2 0 0 0,-6 3 0 0 0,-5 4-64 0 0,-3 3 64 0 0,1 2-64 0 0,6-3 64 0 0,7 0-80 0 0,5-1 80 0 0,4-1-80 0 0,2 0 80 0 0,1-1-64 0 0,1-1 64 0 0,1 0-64 0 0,0 0 64 0 0,-1 0-64 0 0,-2 3 0 0 0,2-1 64 0 0,3-3-72 0 0,2-2 72 0 0,2-2 0 0 0,4-3-72 2-498,4-4 72-2 498,4-2 0 0 0,3-3-64 5-504,1-2 64-5 504,1 0 0 0 0,3 0-64 0 0,3 2 64 0 0,1 0 0 0 0,0 0 0 0 0,1 0 0 0 0,3 0 0 0 0,5-1 0 0 0,2 1 0 0 0,2 0 0 0 0,0-1 0 0 0,-1 0 0 0 0,0 0 0 0 0,-1 0 0 0 0,-1 0 0 0 0,-1 0 0 0 0,0 0 0 0 0,0-1 0 0 0,3 0 0 0 0,1 0 0 0 0,0 1-64 0 0,0-1 64 0 0,-1 0 0 0 0,-2 0 0 0 0,0 1 0 0 0,0 1 0 0 0,-2-1 0 0 0,-1 0 0 0 0,0 2 0 0 0,-2 1 0 0 0,-1 0-64 0 0,-3 0 64 0 0,0 0 0 0 0,-2 1 0 0 0,0 1 0 0 0,-2 0 0 0 0,1 2 0 0 0,-2 0 0 0 0,-1 1 0 0 0,-2 1 0 0 0,-1 1 0 0 0,-2 0 0 0 0,-5 3 0 0 0,-1 0 0 0 0,-2 2 0 0 0,0 0 0 0 0,0 4-3000 0 0,2-2-19599 0 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6.709"/>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1 2760 0 0,'0'0'344'0'0,"0"0"403"0"0,0 0 174 0 0,0 0 36 0 0,0 0-56 0 0,0 0-274 0 0,0 0-126 0 0,0 0-21 0 0,0 0-17 0 0,0 0-47 0 0,0 0-21 0 0,0 0-3 0 0,0 0-2 0 0,9 1 380 0 0,10 0 372 0 0,-17-1-1084 0 0,0 0 0 0 0,-1 0-1 0 0,1 0 1 0 0,-1 0 0 0 0,1 0 0 0 0,-1 0-1 0 0,1 1 1 0 0,0-1 0 0 0,-1 1 0 0 0,1-1-58 0 0,38 11 569 0 0,-18-3-564 0 0,0 0 0 0 0,1-2 0 0 0,-1 0-5 0 0,-15-5 3 0 0,0 0 0 0 0,-1 0 1 0 0,1-1-1 0 0,2 0-3 0 0,22 1-68 0 0,-2 5-542 0 0,-7-1-3193 0 0,-9-4-33 0 0</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7.604"/>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54 1840 0 0,'0'0'83'0'0,"0"0"218"0"0,0 0 878 0 0,0 0 385 0 0,0 0 71 0 0,0 0-105 0 0,0 0-518 0 0,0 0-226 0 0,0 0-46 0 0,0 0-50 0 0,0 0-169 0 0,10-4 1138 0 0,-9 3-1550 0 0,0-1 1 0 0,0 1 0 0 0,1-1-1 0 0,-1 1 1 0 0,0 0 0 0 0,1 0 0 0 0,-1 0-1 0 0,1-1 1 0 0,0 1 0 0 0,-1 1 0 0 0,1-1-1 0 0,0 0 1 0 0,-1 0 0 0 0,1 1 0 0 0,0-1-1 0 0,0 1 1 0 0,1-1-110 0 0,38-3 144 0 0,-11 1-45 0 0,64-8-221 0 0,-9 1-691 0 0,-47 6-1142 0 0,-23 4 1245 0 0</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8.09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0 1376 0 0,'0'0'65'0'0,"0"0"245"0"0,0 0 1002 0 0,9 0 3943 0 0,-2 0-4498 0 0,1-1 0 0 0,-1 1 0 0 0,0-1 0 0 0,1-1-1 0 0,4-1-756 0 0,-9 2 88 0 0,1 1-1 0 0,-1-1 1 0 0,1 1-1 0 0,-1-1 0 0 0,1 1 1 0 0,-1 0-1 0 0,1 1 1 0 0,3 0-88 0 0,4-1 102 0 0,27 5 79 0 0,-17-6-148 0 0,-17 0-26 0 0,0 1 0 0 0,0-1 0 0 0,0 1 0 0 0,0 1 0 0 0,0-1 0 0 0,3 1-7 0 0,-5-1 0 0 0,-1 0 0 0 0,0 1 0 0 0,0-1 0 0 0,0 0 0 0 0,1 0 0 0 0,-1-1 0 0 0,0 1 0 0 0,0 0 0 0 0,0 0 0 0 0,1-1 0 0 0,-1 1 0 0 0,0 0 0 0 0,13-2 0 0 0,-12 3 5 0 0,1-1 1 0 0,0 1 0 0 0,-1-1 0 0 0,1 0 0 0 0,-1 0 0 0 0,1 0-1 0 0,0 0 1 0 0,-1 0 0 0 0,1-1 0 0 0,0 1 0 0 0,0-1-6 0 0,1 1-2 0 0,0-1 0 0 0,0 1 0 0 0,0 0 0 0 0,1 1 0 0 0,-1-1 1 0 0,0 1-1 0 0,0 0 0 0 0,0 0 2 0 0,25 3-209 0 0,14-4-1306 0 0,-29 0 126 0 0</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8.94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8 67 0 0 0,'0'0'1321'0'0,"0"0"-149"0"0,0 0 111 0 0,-5-6 2034 0 0,-2 1-2815 0 0,1-1 5653 0 0,6 6-6095 0 0,0 0 1 0 0,0-1-1 0 0,0 1 1 0 0,0 0-1 0 0,0 0 1 0 0,0 0-1 0 0,0 0 1 0 0,0-1-1 0 0,0 1 1 0 0,0 0-1 0 0,0 0 1 0 0,0 0 0 0 0,1-1-1 0 0,-1 1 1 0 0,0 0-1 0 0,0 0 1 0 0,0 0-1 0 0,0-1 1 0 0,0 1-1 0 0,0 0 1 0 0,0 0-1 0 0,1 0 1 0 0,-1 0-1 0 0,0 0 1 0 0,0-1-1 0 0,0 1 1 0 0,0 0-1 0 0,0 0 1 0 0,1 0-1 0 0,-1 0 1 0 0,0 0-1 0 0,0 0 1 0 0,0 0 0 0 0,1 0-1 0 0,-1 0 1 0 0,0 0-1 0 0,0 0 1 0 0,0 0-1 0 0,1 0-60 0 0,8-4 109 0 0,1 1 1 0 0,1 1-1 0 0,-1 0 0 0 0,0 0 1 0 0,0 1-1 0 0,10 0-109 0 0,14-2 9 0 0,-30 2-22 0 0,47-6-717 0 0,5-4 730 0 0,-5 7-2088 0 0,-35 1 584 0 0</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9.434"/>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103 8464 0 0,'0'0'388'0'0,"0"0"-11"0"0,0 0-105 0 0,0 0 433 0 0,0 0 214 0 0,0 0 45 0 0,0 0-39 0 0,18 6 1606 0 0,-10-7-2206 0 0,1 0 0 0 0,-1 0 0 0 0,0-1 0 0 0,0 0 0 0 0,0-1 0 0 0,1 0-325 0 0,6-2 180 0 0,28-13-18 0 0,-19 8-151 0 0,-20 8-11 0 0,-1 0 0 0 0,1 0 0 0 0,0 1 0 0 0,0 0 0 0 0,0-1 0 0 0,0 1-1 0 0,3 0 1 0 0,-2 0-6 0 0,0 0-1 0 0,0 0 1 0 0,0-1-1 0 0,0 1 0 0 0,0-1 1 0 0,-1 0-1 0 0,1-1 0 0 0,0 0 7 0 0,21-9-249 0 0,26-4-2335 0 0,-32 10 1231 0 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0.22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109 8408 0 0,'0'0'381'0'0,"0"0"-5"0"0,0 0-120 0 0,0 0 367 0 0,0 0 185 0 0,2 1 37 0 0,61 12 2295 0 0,-58-12-2993 0 0,1 0-1 0 0,-1-1 1 0 0,1 0 0 0 0,-1 0 0 0 0,1 0 0 0 0,0-1-1 0 0,4 0-146 0 0,41-12 876 0 0,-19 4-505 0 0,14-4-139 0 0,20-10-232 0 0,12-9-192 0 0,-29 6-2751 0 0,-37 20 1791 0 0</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1.937"/>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5352 0 0,'0'0'241'0'0,"0"0"0"0"0,0 0-59 0 0,0 0 298 0 0,0 0 146 0 0,0 0 29 0 0,0 0 8 0 0,0 0 1 0 0,0 0 0 0 0,0 0 0 0 0,0 15 1200 0 0,8 5-1290 0 0,1 1 0 0 0,1-1 0 0 0,11 18-574 0 0,11 22 574 0 0,-21-37-431 0 0,-3-5-76 0 0,0 0 0 0 0,1-1-1 0 0,1 0 1 0 0,6 6-67 0 0,33 51 67 0 0,-16-27-90 0 0,40 55-1511 0 0,-17-29-3748 0 0,-43-55 1724 0 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2.40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0 3224 0 0,'8'3'368'0'0,"-2"-3"2160"0"0,-6-1-2356 0 0,1 1 1 0 0,-1 0-1 0 0,0 0 1 0 0,0 0 0 0 0,1 0-1 0 0,-1 0 1 0 0,0 0-1 0 0,0 0 1 0 0,1 0 0 0 0,-1 0-1 0 0,0 0 1 0 0,0 0 0 0 0,1 0-1 0 0,-1 0 1 0 0,0 1-1 0 0,0-1 1 0 0,1 0 0 0 0,-1 0-1 0 0,0 0 1 0 0,0 0-1 0 0,1 0 1 0 0,-1 0 0 0 0,0 1-1 0 0,0-1 1 0 0,0 0-1 0 0,1 0 1 0 0,-1 0 0 0 0,0 1-1 0 0,0-1 1 0 0,0 0 0 0 0,0 0-1 0 0,0 0 1 0 0,1 1-1 0 0,-1-1 1 0 0,0 0-173 0 0,6 8 280 0 0,0-1-1 0 0,-1 1 1 0 0,1 0 0 0 0,-1 2-280 0 0,27 33 712 0 0,-1-7-371 0 0,-23-24-298 0 0,-1 0 1 0 0,2 0 0 0 0,9 9-44 0 0,-3-2 0 0 0,-9-11 0 0 0,0-1 0 0 0,1 0 0 0 0,4 4 0 0 0,17 18-111 0 0,-21-21-119 0 0,0-1 1 0 0,0 0-1 0 0,8 6 230 0 0,3 5-1603 0 0,-11-10 150 0 0</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2.83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1 3224 0 0,'2'1'240'0'0,"3"5"9"0"0,-1 0-1 0 0,1 0 1 0 0,-1 0-1 0 0,1 3-248 0 0,-2-3 477 0 0,1 0 0 0 0,0-1 0 0 0,0 1 0 0 0,0-1 0 0 0,1 1 0 0 0,3 2-477 0 0,18 12 1563 0 0,-14-11-1355 0 0,-1 0 1 0 0,0 0 0 0 0,3 4-209 0 0,26 25 1235 0 0,-19-19-1035 0 0,52 45-911 0 0,-61-54-218 0 0</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3.405"/>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456 0 0,'10'14'6533'0'0,"8"3"-3632"0"0,31 24 354 0 0,-21-15-2371 0 0,-21-20-803 0 0,1 1 1 0 0,-1 0-1 0 0,0 0 0 0 0,-1 1 1 0 0,1 0-1 0 0,3 7-81 0 0,-3-5 20 0 0,1 0 1 0 0,0 0-1 0 0,8 7-20 0 0,-5-5-21 0 0,-1 0 0 0 0,0 0-1 0 0,-1 1 1 0 0,-1 0 0 0 0,3 5 21 0 0,3 6-443 0 0,-2-9 94 0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45.739"/>
    </inkml:context>
    <inkml:brush xml:id="br0">
      <inkml:brushProperty name="width" value="0.35" units="cm"/>
      <inkml:brushProperty name="height" value="2.1" units="cm"/>
      <inkml:brushProperty name="color" value="#CC0066"/>
      <inkml:brushProperty name="inkEffects" value="pencil"/>
    </inkml:brush>
  </inkml:definitions>
  <inkml:trace contextRef="#ctx0" brushRef="#br0">174 284 5528 230904 47204,'-8'-5'240'0'0,"-6"-2"56"0"0,-3-1-232 0 0,-3 1-64 0 0,1-1 0 7-846,2 2 0-2-78,1 0 640-11-59,1 1 112 7 185,1 0 24 3 169,3 1 8-8 0,2 1-472 3-6,2 0-96 7 127,2-1-24-6 508,3 0 80 0 0,3-2-272 0 0,3-2 96-3-529,2-1-96 3 529,4 1 224 0 0,3-1-16 0 0,3 0 0 0 0,2 0 0 0 0,2-1 184 0 0,7-4 480 0 0,5-2-432 0 0,4 0-24 0 0,8-2 400 0 0,2 1-408 0 0,1 0-96-1-536,-1 3-24 1 536,-2 2 0 0 0,-1 3 0 0-543,-1 3-104 1-46,6 5 128-1 589,9 6-64 0 0,3 6-152 0 0,-2 3-9 0 0,-4 2 1 0 0,-5 3-24 0 0,-5 1 0 0 0,-3 1 0 0 0,0 6 0 0 0,2 11 16 0 0,-3 3 0 0 0,-4 1-16 0 0,-3 4 32 0 0,0 6 48 0 0,1 6 16 0 0,-5 1-80 0 0,-4-4 32 0 0,-4 6 128 0 0,-6 0-120 0 0,-3-2-16 0 0,-7 8 104 0 0,-4 3-104 0 0,-4-1 16 0 0,-5 8 120 0 0,-8 12-24 0 0,-6 13-40 0 0,-6 11-16 0 0,-1-3-88 0 0,0-11 0 0 0,0-11 0 0 0,1-12 0 0 0,0-9 0 0 0,-1-5 0 0 0,0-5 0 0 0,0-1 56 0 0,-2 0 16 0 0,0 0 0 0 0,1 0 0 0 0,0 1-48 0 0,0 0 0 0 0,-1 0-8 0 0,-4 8 96 0 0,-5 12 8 0 0,0 1-96 0 0,5-3-16 0 0,3 3 80 0 0,2 5-80 0 0,4-5 16 0 0,6-7-96 0 0,5-9 96 0 0,5-7-96 0 0,3 1 64 0 0,3-1 0 0 0,2-4-64 0 0,1 3 0 0 0,2-1 64 0 0,1-2-64 0 0,3 1 0 0 0,1-1 64 0 0,2-4 24 0 0,2-4 0 0 0,0-3 0 0 0,0-4 0 0 0,1-1-88 0 0,2-3 0 0 0,0-1-80 0 0,2-3 80 0 0,0 0 0 0 0,8 3 88 0 0,7 3 48 0 0,3 1-56 0 0,1-3 0 0 0,3 1 72-3 539,6 2-8 3-539,1-1-72 0 0,-2-3-8 1 573,1 1 32-1-573,3 4-32 0 0,-1-2 16 0 0,-4-2-80 0 0,-4-5 80 0 0,-3-2-80 0 0,5-1 64 0 0,2-2 0 0 0,0-1 96 0 0,5 2 184 0 0,2 0-168 0 0,-3-2-176 0 0,5 1 0 0 0,3 3-64 0 0,0-1-56 0 0,-6 0-8 0 0,-6-2 0 0 0,-4-2 192 0 0,-5-2 32 0 0,-3-2 0 0 0,0-3 8 0 0,1-1-104 0 0,9-1 64 0 0,4-2-64 0 0,3-2 0 0 0,0-1 0 0 0,0-1 0 0 0,1-1 0 0 0,-1-2 0 0 0,0-1 0 7 667,-1 0 0-9 172,-3-1 0 2-839,-2-1 80 0 0,-1 0-8 0 0,0-1 0 0 0,10-3 0 0 0,5-2-8 0 0,4-1-64 0 0,10-3 64 0 0,2-1-64 0 0,0-1 0 0 0,5-6 0 0 0,0-2 0 0 0,-3-2 0 0 0,7-5 64 0 0,-1-3-64 0 0,-2-1 72 0 0,5-5-72 0 0,0-1 72 0 0,-6-1-72 0 0,2-3 64 0 0,-4-1-64 0 0,-5 3 0 0 0,-7 5 0 0 0,-5 3 0 0 0,1 1 0 0 0,-4 2 0 0 0,1-1-3104 0 0,-5 2-5687 0 0,-10 6-4105 0 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4.04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5 35 5728 0 0,'-3'-13'613'0'0,"0"9"-613"0"0,2 3 79 0 0,1 0 0 0 0,-1 0 0 0 0,1 0 0 0 0,-1 0 0 0 0,0 0 0 0 0,1 0 0 0 0,0 0 0 0 0,-1 0 0 0 0,1 0 0 0 0,0 0 0 0 0,-1-1-79 0 0,-2-3 1573 0 0,3 6 3497 0 0,11 9-4561 0 0,0 1 1 0 0,-1 1 0 0 0,8 10-510 0 0,13 16 222 0 0,0-2-440 0 0,-18-20-117 0 0,0-1 1 0 0,1-1-1 0 0,1 0 0 0 0,0 0 1 0 0,1-2-1 0 0,1 1 335 0 0,-5-6-1546 0 0</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14.563"/>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0 1840 0 0,'0'0'83'0'0,"1"1"-6"0"0,7 13 232 0 0,-3-7 910 0 0,1 0-1 0 0,0 0 0 0 0,0 0 0 0 0,1-1 1 0 0,0 0-1 0 0,0-1 0 0 0,0 1 1 0 0,4 0-1219 0 0,28 25 1120 0 0,-18-14-1039 0 0,1-1 0 0 0,0 0 1 0 0,1-2-1 0 0,10 4-81 0 0,-16-10-141 0 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1.559"/>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38 3 4752 0 0,'0'0'216'0'0,"0"0"128"0"0,0 0 413 0 0,0 0 184 0 0,0 0 34 0 0,0 0-54 0 0,0 0-255 0 0,0 0-112 0 0,0 0-18 0 0,0 0-10 0 0,0 0-20 0 0,6-2 279 0 0,-4 2 2033 0 0,-1 10-2719 0 0,-1 7 915 0 0,-5 5-688 0 0,-2 9 81 0 0,-8 14-180 0 0,11-32-224 0 0,0 0-1 0 0,-5 9-2 0 0,-24 71 0 0 0,31-88 3 0 0,0 0-1 0 0,0 1 0 0 0,1-1 0 0 0,0 0 0 0 0,0 4-2 0 0,-3 11 135 0 0,-12 56-99 0 0,-1 3-2123 0 0,5-18-807 0 0,4-25-109 0 0,4-25 1862 0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2.18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62 15 1376 0 0,'0'-7'128'0'0,"0"1"132"0"0,0 4 1088 0 0,0 2 461 0 0,0 0 88 0 0,0 0-149 0 0,0 0-708 0 0,0 0-308 0 0,0 0-57 0 0,0 0-62 0 0,0 0-191 0 0,0 0-81 0 0,0 0-18 0 0,0 0-19 0 0,0 0-70 0 0,-8 36 472 0 0,-1 23-317 0 0,4-13-294 0 0,2-24-95 0 0,-18 94 128 0 0,14-66-510 0 0,7-47 143 0 0,0 0 0 0 0,-1 0 1 0 0,1 0-1 0 0,-1 1 0 0 0,0-1 0 0 0,-1 1 239 0 0,-1 9-2984 0 0,2-2-1225 0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2.79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58 5 2304 0 0,'0'-1'99'0'0,"0"1"0"0"0,0 0 1 0 0,1-1-1 0 0,-1 1 0 0 0,0 0 0 0 0,1 0 0 0 0,-1-1 1 0 0,0 1-1 0 0,0 0 0 0 0,1 0 0 0 0,-1 0 1 0 0,0 0-1 0 0,1-1 0 0 0,-1 1 0 0 0,0 0 0 0 0,1 0 1 0 0,-1 0-1 0 0,1 0 0 0 0,-1 0 0 0 0,0 0 1 0 0,1 0-1 0 0,-1 0 0 0 0,0 0 0 0 0,1 0 0 0 0,-1 0 1 0 0,0 0-1 0 0,1 0 0 0 0,-1 0 0 0 0,1 0 1 0 0,-1 1-100 0 0,-2 8 5732 0 0,-1 2-6488 0 0,-6 13 1231 0 0,8-21-428 0 0,0-1-1 0 0,0 1 1 0 0,0 0 0 0 0,0 0-1 0 0,0 0 1 0 0,0-1-1 0 0,1 1 1 0 0,-1 0 0 0 0,1 3-47 0 0,0-4 40 0 0,-1 0 1 0 0,1 0-1 0 0,0 1 1 0 0,-1-1 0 0 0,0 0-1 0 0,1 0 1 0 0,-1 0-1 0 0,-1 2-40 0 0,1-2 34 0 0,0 0 0 0 0,0 0 0 0 0,0 0 0 0 0,1 1 0 0 0,-1-1 0 0 0,1 0 0 0 0,-1 0 0 0 0,1 1 0 0 0,0-1-34 0 0,-1 2 52 0 0,1 0 1 0 0,-1 0-1 0 0,1 0 0 0 0,-1 0 0 0 0,-1 0 0 0 0,1-1 0 0 0,0 1 0 0 0,-2 2-52 0 0,1-2 28 0 0,1-1 1 0 0,-1 1-1 0 0,1-1 0 0 0,0 1 0 0 0,0 0 0 0 0,0 0 0 0 0,1-1 0 0 0,-1 3-28 0 0,-8 38 138 0 0,7-16-80 0 0,1-23-182 0 0,0 1 0 0 0,1 0 0 0 0,0 0 0 0 0,0 0 0 0 0,0 4 124 0 0,3 2-554 0 0,-6-1-12 0 0</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3.327"/>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56 0 7080 0 0,'-4'0'146'0'0,"0"1"1"0"0,1-1 0 0 0,-1 1-1 0 0,1 0 1 0 0,-1 0 0 0 0,-2 1-147 0 0,1 10 2153 0 0,-19 38 280 0 0,9-26-2317 0 0,2 0-1 0 0,1 1 1 0 0,1 0-1 0 0,1 0 1 0 0,1 1 0 0 0,-2 17-116 0 0,-2 47-1019 0 0,9-75-10 0 0</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3.89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82 39 4144 0 0,'4'-3'111'0'0,"-3"2"-100"0"0,-1 1-1 0 0,1 0 1 0 0,0-1-1 0 0,-1 1 1 0 0,1-1 0 0 0,-1 1-1 0 0,1 0 1 0 0,-1-1-1 0 0,1 1 1 0 0,-1-1 0 0 0,0 1-1 0 0,1-1 1 0 0,-1 0 0 0 0,0 1-1 0 0,1-1 1 0 0,-1 1-1 0 0,0-1 1 0 0,0 0 0 0 0,1 1-1 0 0,-1-1 1 0 0,0 1-1 0 0,0-1 1 0 0,0 0 0 0 0,0 1-1 0 0,0-1 1 0 0,0 0-1 0 0,0 1 1 0 0,0-1 0 0 0,0 0-1 0 0,0 1 1 0 0,0-1-11 0 0,-1-6-1232 0 0,1 1 4086 0 0,-1 1 3304 0 0,-2 12-4050 0 0,-8 23-1914 0 0,1 0 0 0 0,1 0 0 0 0,2 1 0 0 0,0 7-194 0 0,-10 46-1164 0 0,15-74 452 0 0,0 1 0 0 0,-1-1 1 0 0,0 0-1 0 0,-3 6 712 0 0,6-15-64 0 0,-12 28-1453 0 0</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4.42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05 0 1376 0 0,'0'1'1'0'0,"0"-1"0"0"0,0 0 0 0 0,0 0 0 0 0,-1 1 0 0 0,1-1-1 0 0,0 0 1 0 0,0 0 0 0 0,0 0 0 0 0,-1 0 0 0 0,1 1 0 0 0,0-1 0 0 0,0 0 0 0 0,0 0 0 0 0,-1 0 0 0 0,1 0-1 0 0,0 0 1 0 0,0 1 0 0 0,-1-1 0 0 0,1 0 0 0 0,0 0 0 0 0,-1 0 0 0 0,1 0 0 0 0,0 0 0 0 0,0 0 0 0 0,-1 0 0 0 0,1 0-1 0 0,0 0 1 0 0,0 0 0 0 0,-1 0 0 0 0,1 0 0 0 0,0 0 0 0 0,-1-1-1 0 0,-8-1 1707 0 0,8 2-1314 0 0,0 0 0 0 0,0 1 0 0 0,-1-1 0 0 0,1 0 0 0 0,0 0 0 0 0,0 0 0 0 0,0 1 0 0 0,0-1 0 0 0,0 1 0 0 0,0-1 0 0 0,0 1 0 0 0,0-1 0 0 0,0 1 0 0 0,0 0 0 0 0,0-1 0 0 0,0 1 0 0 0,-1 0-393 0 0,1 1 331 0 0,-1 1-1 0 0,0-1 1 0 0,1 0 0 0 0,-1 0-1 0 0,1 1 1 0 0,0-1 0 0 0,-1 3-331 0 0,-6 11 395 0 0,6-12-326 0 0,0-1 0 0 0,0 1 0 0 0,0-1 0 0 0,1 1 0 0 0,0 0 0 0 0,-1 0 0 0 0,1 1-69 0 0,-6 17 158 0 0,-1 3-38 0 0,0 20-37 0 0,-1 7-1269 0 0,6-34-87 0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4.989"/>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69 0 3224 0 0,'0'0'143'0'0,"0"0"221"0"0,0 0 822 0 0,0 0 354 0 0,-2 7 1556 0 0,-13 112 1161 0 0,2-8-3969 0 0,-4-12-274 0 0,4-18-740 0 0,9-49-442 0 0,-1 3-3274 0 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39.80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109 3224 0 0,'0'0'143'0'0,"2"-1"-3"0"0,36-17 830 0 0,-12 5 839 0 0,-17 6-1422 0 0,-8 7-338 0 0,-1-1 0 0 0,1 0 0 0 0,0 0 1 0 0,0 1-1 0 0,0-1 0 0 0,0 1 0 0 0,0-1 0 0 0,0 1 0 0 0,0-1 1 0 0,0 1-1 0 0,0-1 0 0 0,0 1 0 0 0,0 0 0 0 0,0 0 1 0 0,0-1-1 0 0,1 1-49 0 0,9-3 349 0 0,-9 2-264 0 0,0 1 0 0 0,0-1 0 0 0,-1 0-1 0 0,1 1 1 0 0,0-1 0 0 0,0 1 0 0 0,0 0-1 0 0,0 0 1 0 0,0 0 0 0 0,-1 0-85 0 0,12-1 235 0 0,-1 0 0 0 0,1-1 0 0 0,-1 0 0 0 0,0-1 0 0 0,7-2-235 0 0,17-4 48 0 0,32-4-48 0 0,-45 9-219 0 0,14-3-593 0 0,-2 0-2397 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52.418"/>
    </inkml:context>
    <inkml:brush xml:id="br0">
      <inkml:brushProperty name="width" value="0.1" units="cm"/>
      <inkml:brushProperty name="height" value="0.2" units="cm"/>
      <inkml:brushProperty name="color" value="#FF40FF"/>
      <inkml:brushProperty name="tip" value="rectangle"/>
      <inkml:brushProperty name="rasterOp" value="maskPen"/>
    </inkml:brush>
  </inkml:definitions>
  <inkml:trace contextRef="#ctx0" brushRef="#br0">13 0 6448 0 0,'0'0'498'0'0,"-1"2"-327"0"0,-1 2 340 0 0,0 1 1 0 0,1-1-1 0 0,-1 1 0 0 0,1-1 1 0 0,0 1-1 0 0,0 0 0 0 0,0 0 1 0 0,1 4-512 0 0,0-6 120 0 0,0 0 0 0 0,0 0 0 0 0,0 1 1 0 0,1-1-1 0 0,0 0 0 0 0,-1 0 0 0 0,1 0 1 0 0,1 0-1 0 0,-1 0 0 0 0,0 0 0 0 0,1 0 0 0 0,-1 0 1 0 0,1 0-1 0 0,0-1 0 0 0,0 1 0 0 0,0-1 1 0 0,0 1-1 0 0,0-1 0 0 0,1 0 0 0 0,-1 0 1 0 0,1 0-1 0 0,-1 0 0 0 0,1 0 0 0 0,1 1-120 0 0,3 0 36 0 0,-1 0 0 0 0,1-1-1 0 0,0 0 1 0 0,0 0 0 0 0,0 0-1 0 0,0-1 1 0 0,0 1 0 0 0,0-2 0 0 0,0 1-1 0 0,4-1-35 0 0,15 0 74 0 0,-9-1 148 0 0,0 0 0 0 0,0 2 0 0 0,0 0 0 0 0,1 1 0 0 0,-1 1 0 0 0,-1 1 0 0 0,1 0 0 0 0,1 1-222 0 0,-8-1 87 0 0,104 45 802 0 0,-90-37-701 0 0,-1 1-1 0 0,0 1 1 0 0,13 11-188 0 0,-6-2 228 0 0,-2 2 0 0 0,8 10-228 0 0,-12-10 234 0 0,-1 2-1 0 0,0 1 0 0 0,-3 0 1 0 0,0 2-1 0 0,-2 0 0 0 0,12 29-233 0 0,25 61 587 0 0,-26-53-499 0 0,-21-48-12 0 0,-2 0-1 0 0,0 0 1 0 0,-1 0 0 0 0,-2 1-1 0 0,1-1 1 0 0,-2 1 0 0 0,-1 0-1 0 0,-1 20-75 0 0,1-11 93 0 0,0-18-52 0 0,-1 0 0 0 0,0 0 0 0 0,-2 9-41 0 0,-16 93 270 0 0,-5 0-1 0 0,-5-2 0 0 0,-8 9-269 0 0,17-53 41 0 0,10-35-3 0 0,-1 0 1 0 0,-2 1-39 0 0,3-9 11 0 0,-4 17-11 0 0,-7 21-1 0 0,-11 23 56 0 0,-5 13-46 0 0,-11 16 119 0 0,4 5-128 0 0,1-4 0 0 0,17-48-1 0 0,11-32 34 0 0,2 0-1 0 0,-7 33-32 0 0,-16 101 0 0 0,14-87 0 0 0,13-50 0 0 0,4-20 4 0 0,1-1-1 0 0,1 1 1 0 0,-1 7-4 0 0,-7 69 82 0 0,4-41 105 0 0,0 47-187 0 0,5 26 150 0 0,3-63-141 0 0,-1-18 56 0 0,6 41-65 0 0,3 15 0 0 0,-8-71 0 0 0,-1 22 0 0 0,-1-29 0 0 0,1-1 0 0 0,2 13 0 0 0,-1-13-1 0 0,-1 0-1 0 0,-1 9 2 0 0,0-10 19 0 0,1-1 0 0 0,0 1 0 0 0,2 4-19 0 0,7 40 28 0 0,-1-8 18 0 0,7 19-46 0 0,7-6 0 0 0,-18-48 0 0 0,0-1 0 0 0,0-1 0 0 0,2 1 0 0 0,5 10 0 0 0,10 17 17 0 0,-14-24-1 0 0,1-1-1 0 0,0 0 1 0 0,10 12-16 0 0,-8-13 21 0 0,0 0 0 0 0,5 13-21 0 0,7 11 22 0 0,-5-14-7 0 0,2-1 0 0 0,1-1 0 0 0,1-1 0 0 0,0-1 0 0 0,17 12-15 0 0,-23-22 18 0 0,0-1 0 0 0,1 0-1 0 0,0-2 1 0 0,0 0 0 0 0,1-1 0 0 0,11 3-18 0 0,-13-4 15 0 0,-1 0 1 0 0,15 10-16 0 0,-15-9 22 0 0,0 0-1 0 0,13 5-21 0 0,23 3 0 0 0,12 5 0 0 0,-48-15 9 0 0,1 0 1 0 0,-1-2-1 0 0,1 0 0 0 0,0 0 0 0 0,0-2 0 0 0,0 0 0 0 0,7 0-9 0 0,-9-2 16 0 0,0 2 0 0 0,13 2-16 0 0,-13-2 16 0 0,1 0 0 0 0,12 0-16 0 0,161 4 54 0 0,-61 2 20 0 0,-99-6-74 0 0,-18-1 0 0 0,0 0 0 0 0,-1-1 0 0 0,5 0 0 0 0,27-2 20 0 0,5 2-20 0 0,39-2 34 0 0,-34-5-21 0 0,-26 4 18 0 0,0 1-1 0 0,4 0-30 0 0,55-3 0 0 0,-51 4 48 0 0,-1-2 0 0 0,1-1 0 0 0,-1-1 0 0 0,0-2 0 0 0,26-10-48 0 0,14-1-16 0 0,-29 7 16 0 0,-31 9 0 0 0,-1-1 0 0 0,11-3 0 0 0,80-29 0 0 0,19-12 0 0 0,5 5 0 0 0,-88 27 0 0 0,-26 11 0 0 0,0-1 0 0 0,12-2 0 0 0,46-12 0 0 0,2 1 0 0 0,4-4 0 0 0,-60 17 0 0 0,4-3 0 0 0,0-1 0 0 0,-1 0 0 0 0,0-2 0 0 0,-1 0 0 0 0,8-7 0 0 0,8-5 0 0 0,5-1-853 0 0,-1-2-1 0 0,-2-2 0 0 0,-1-1 1 0 0,15-17 853 0 0,-17 12-1562 0 0</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0.34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60 1840 0 0,'2'0'133'0'0,"7"0"942"0"0,1-1-1 0 0,-1-1 1 0 0,0 0-1 0 0,0 0 0 0 0,2-2-1074 0 0,1 1 976 0 0,0 0-1 0 0,11-1-975 0 0,-17 3 202 0 0,0 0-1 0 0,0-1 1 0 0,-1 1 0 0 0,5-3-202 0 0,-6 2 75 0 0,1 1 0 0 0,-1-1-1 0 0,1 1 1 0 0,-1 0 0 0 0,1 0 0 0 0,0 1-1 0 0,0-1-74 0 0,31-3 200 0 0,-11 0-122 0 0,53-6-1310 0 0,-59 7-2280 0 0</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0.924"/>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44 2304 0 0,'10'0'1420'0'0,"18"-7"1080"0"0,-26 6-2136 0 0,1 0-164 0 0,0-1 0 0 0,0 1 1 0 0,1 0-1 0 0,-1 1 0 0 0,0-1 1 0 0,0 0-1 0 0,0 1 0 0 0,2 0-200 0 0,42-5 163 0 0,-26 2-132 0 0,36-8-31 0 0,-5 4-231 0 0,-35 4 134 0 0</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1.462"/>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29 3224 0 0,'2'0'347'0'0,"17"-1"2077"0"0,1 0 1 0 0,2-3-2425 0 0,18-1 916 0 0,24-2-116 0 0,-39 6-551 0 0,17-3-249 0 0,-16 1-369 0 0,18 1 369 0 0,-22 2-160 0 0</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2.015"/>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26 2304 0 0,'2'0'313'0'0,"42"-2"4312"0"0,24-6-2451 0 0,-53 6-1960 0 0,-1 1 0 0 0,9 1-214 0 0,24-2 212 0 0,70-5-503 0 0,-89 3 118 0 0</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2.56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54 1376 0 0,'0'0'65'0'0,"2"0"-6"0"0,6 0 617 0 0,0 0 0 0 0,0-1 1 0 0,0 0-1 0 0,0-1 0 0 0,0 0 0 0 0,0 0 0 0 0,1-1-676 0 0,1-1 145 0 0,10-1 292 0 0,1 1-1 0 0,0 1 1 0 0,12 0-437 0 0,34-6 290 0 0,-41 5-270 0 0,1 1-1 0 0,18 0-19 0 0,-4 1-2269 0 0,-20-1-199 0 0</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3.046"/>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62 1840 0 0,'1'0'133'0'0,"7"1"-177"0"0,-6-1 231 0 0,0 1 0 0 0,0-1 0 0 0,0 0 0 0 0,0 0-1 0 0,0 0 1 0 0,0 0 0 0 0,-1-1 0 0 0,1 1 0 0 0,2-1-187 0 0,16-4 1656 0 0,0 0 0 0 0,0 1 1 0 0,16-1-1657 0 0,-15 3 628 0 0,9-1-27 0 0,-21 3-531 0 0,0-1 0 0 0,1-1 0 0 0,-1 1 1 0 0,0-1-1 0 0,1-1-70 0 0,9-2 70 0 0,-1 1 1 0 0,1 1 0 0 0,0 1 0 0 0,3 0-71 0 0,5-1-3051 0 0,15-3 3051 0 0,-26 3-3168 0 0</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43.79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72 2304 0 0,'0'0'360'0'0,"0"0"672"0"0,0 0 295 0 0,16-8 2686 0 0,24-5-2587 0 0,-27 8-1233 0 0,2 1 1 0 0,-1 0-1 0 0,8-1-193 0 0,42-6 589 0 0,56-7-1534 0 0,-81 14-2901 0 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15.847"/>
    </inkml:context>
    <inkml:brush xml:id="br0">
      <inkml:brushProperty name="width" value="0.2" units="cm"/>
      <inkml:brushProperty name="height" value="0.4" units="cm"/>
      <inkml:brushProperty name="color" value="#FFE18B"/>
      <inkml:brushProperty name="tip" value="rectangle"/>
      <inkml:brushProperty name="rasterOp" value="maskPen"/>
    </inkml:brush>
  </inkml:definitions>
  <inkml:trace contextRef="#ctx0" brushRef="#br0">0 2754 4112 0 0,'0'0'191'0'0,"0"0"55"0"0,0 0 132 0 0,0 0 56 0 0,0 0 13 0 0,0 0-10 0 0,0 0-42 0 0,0 0-13 0 0,0 0-4 0 0,0 0-18 0 0,0 0-68 0 0,0 0-32 0 0,0 0-4 0 0,0 0-6 0 0,0 0-23 0 0,0 0-16 0 0,0 0-3 0 0,0 0 2 0 0,0 0 13 0 0,0 0 8 0 0,0 0 1 0 0,0 0-11 0 0,0 0-44 0 0,0 0-17 0 0,0 0-6 0 0,0 0 16 0 0,13-13 1380 0 0,-9-7-1137 0 0,-3 16-345 0 0,0 0 1 0 0,-1 0-1 0 0,1 0 1 0 0,0 0-1 0 0,1 1 1 0 0,-1-1-69 0 0,10-21 219 0 0,-8 18-142 0 0,0-1 0 0 0,1 1-1 0 0,0 0 1 0 0,4-5-77 0 0,-1 0 139 0 0,-7 10-108 0 0,1 1 1 0 0,0 0-1 0 0,0-1 0 0 0,-1 1 0 0 0,1 0 1 0 0,0-1-1 0 0,0 1 0 0 0,0 0 0 0 0,2-1-31 0 0,1-2 129 0 0,0 0 0 0 0,0-1 0 0 0,0 0 0 0 0,0 1 0 0 0,0-3-129 0 0,12-14-106 0 0,5-4 11 0 0,-1-2 0 0 0,14-25 95 0 0,-23 36-10 0 0,-8 10 52 0 0,-1 1 0 0 0,1-1 0 0 0,-1 0 0 0 0,0 1 0 0 0,0-1 1 0 0,-1 0-1 0 0,0-2-42 0 0,8-23 132 0 0,19-42-234 0 0,-8 34-50 0 0,-15 29 176 0 0,1-1 0 0 0,0 1 0 0 0,1 1-1 0 0,0-1 1 0 0,0 1 0 0 0,1 1 0 0 0,4-5-24 0 0,-2 2-20 0 0,0 0 0 0 0,-1-1 0 0 0,0 0 0 0 0,1-3 20 0 0,3-6-67 0 0,-7 11 78 0 0,1-1 1 0 0,-2 0 0 0 0,0 0 0 0 0,3-7-12 0 0,7-13 60 0 0,-2 3-21 0 0,-9 19-39 0 0,0 1 0 0 0,0-1 0 0 0,1 1 0 0 0,-1 0 0 0 0,3-1 0 0 0,-1 0 0 0 0,0 0 0 0 0,-1-1 0 0 0,3-5 0 0 0,18-32 64 0 0,9-21 176 0 0,-21 35-101 0 0,-12 27-119 0 0,0 0-1 0 0,1-1 0 0 0,0 1 0 0 0,0 1 1 0 0,3-5-20 0 0,9-19 44 0 0,-2 3-12 0 0,-7 11 2 0 0,-6 13-30 0 0,1 0 0 0 0,-1 0-1 0 0,1 0 1 0 0,0 0 0 0 0,0 0-1 0 0,0 0 1 0 0,0 0 0 0 0,1-1-4 0 0,3-3 9 0 0,0 1 0 0 0,-1-1 0 0 0,0-1 0 0 0,0 1 0 0 0,0 0 0 0 0,-1-1 1 0 0,3-6-10 0 0,-4 9 3 0 0,0 0 1 0 0,0 0 0 0 0,1 0 0 0 0,0 0 0 0 0,1-2-4 0 0,-1 3-43 0 0,-1-1 1 0 0,1 0 0 0 0,-1 1 0 0 0,0-1 0 0 0,0 0 0 0 0,1-3 42 0 0,17-43-28 0 0,-18 44 106 0 0,1 0-1 0 0,0 0 0 0 0,0 1 1 0 0,0-1-1 0 0,1 0 1 0 0,0 0-78 0 0,15-24 66 0 0,-9 8 40 0 0,4-20-106 0 0,-9 26 73 0 0,1 0 0 0 0,0 1 0 0 0,1-1 0 0 0,0 2-1 0 0,4-5-72 0 0,3-5 82 0 0,-1-1-1 0 0,3-8-81 0 0,0 1 25 0 0,1-6-25 0 0,-12 30 3 0 0,-1-1-1 0 0,0 0 0 0 0,2-8-2 0 0,8-16 57 0 0,-4 12-49 0 0,-5 11 36 0 0,0-1-1 0 0,0 1 0 0 0,1 1 1 0 0,3-5-44 0 0,0 1 15 0 0,0 0 0 0 0,-1-1 0 0 0,0-2-15 0 0,1 0 15 0 0,0 0-1 0 0,4-4-14 0 0,-2 3 17 0 0,-2 1-1 0 0,0-1 0 0 0,-1-1 0 0 0,1-4-16 0 0,14-29-1 0 0,22-33 1 0 0,-33 54 0 0 0,-8 23 0 0 0,0 0 0 0 0,-1-1 0 0 0,0 0 0 0 0,2-7 0 0 0,5-11 0 0 0,-4 11 0 0 0,-3 7 0 0 0,0 1 0 0 0,0 0 0 0 0,1 0 0 0 0,0-1 0 0 0,59-92 0 0 0,-57 84 0 0 0,-5 14 0 0 0,0-1 0 0 0,0 1 0 0 0,0-1 0 0 0,0 1 0 0 0,0 0 0 0 0,0 0 0 0 0,2-2 0 0 0,49-71 0 0 0,-33 40 0 0 0,3-4 0 0 0,-12 25 51 0 0,-1-1-1 0 0,5-12-50 0 0,6-10 27 0 0,-15 30-27 0 0,3-6 32 0 0,-5 11-19 0 0,4-3-10 0 0,-6 4-80 0 0,-1 1-764 0 0,1 1-3183 0 0,7 4-1361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20.721"/>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0 3206 1376 0 0,'4'-4'426'0'0,"-2"2"-87"0"0,-1 1-29 0 0,0 0 748 0 0,-1 1 50 0 0,4-6 1603 0 0,-3 0-2343 0 0,0 1-1 0 0,1-1 1 0 0,-1 1 0 0 0,1-1 0 0 0,0 1 0 0 0,1 0-1 0 0,-1 0 1 0 0,1 0 0 0 0,0 1 0 0 0,1-3-368 0 0,1 0 266 0 0,11-12 105 0 0,-13 16-309 0 0,0 0 0 0 0,0 0 1 0 0,0 0-1 0 0,-1-1 0 0 0,0 1 0 0 0,2-3-62 0 0,20-39 371 0 0,-5 9-12 0 0,2-8-359 0 0,-4 4 154 0 0,33-86 230 0 0,-25 64-152 0 0,-14 38-79 0 0,6-20-153 0 0,-5 8-187 0 0,14-25 187 0 0,5-12-138 0 0,-18 45 138 0 0,2-6 0 0 0,-11 22 95 0 0,1 0 0 0 0,1 0 0 0 0,0 1 0 0 0,1-1-95 0 0,7-13 180 0 0,-7 13-36 0 0,-4 8-126 0 0,-1 0 0 0 0,0 0 0 0 0,0 0-1 0 0,0 0 1 0 0,0-1 0 0 0,-1 1 0 0 0,1-1-18 0 0,0-4 7 0 0,1 1-1 0 0,1 0 1 0 0,-1 0-1 0 0,1 1 1 0 0,0-1 0 0 0,1 1-1 0 0,0 0-6 0 0,1-2 6 0 0,-1 1 0 0 0,0-1-1 0 0,0 0 1 0 0,-1 0 0 0 0,2-8-6 0 0,-1 2 0 0 0,1 0 0 0 0,8-14 0 0 0,-7 13 0 0 0,0 0 0 0 0,2-8 0 0 0,-3 9 0 0 0,1-11 0 0 0,-4 18 21 0 0,-1-1 0 0 0,2 1 1 0 0,-1 0-1 0 0,2 0 1 0 0,-1 0-1 0 0,4-5-21 0 0,0 1 32 0 0,9-19 32 0 0,-1 0 0 0 0,4-13-64 0 0,-3 15 0 0 0,-13 24 0 0 0,-1-1 0 0 0,0 1 0 0 0,0 0 0 0 0,0-1 0 0 0,0 0 0 0 0,3-9 0 0 0,1 0 0 0 0,1 1 0 0 0,0 0 0 0 0,5-6 0 0 0,11-18 0 0 0,23-44 0 0 0,-31 49 0 0 0,13-26 0 0 0,-24 50 86 0 0,0-1 0 0 0,-1 0 1 0 0,0-4-87 0 0,-2 6 46 0 0,1 1 0 0 0,0 0 1 0 0,0 0-1 0 0,0 0 0 0 0,1 0 0 0 0,-1 1 1 0 0,2-1-1 0 0,0 0-46 0 0,-3 5-37 0 0,-1 0 0 0 0,1 0 0 0 0,-1 0 1 0 0,1 0-1 0 0,-1 0 0 0 0,0 0 0 0 0,0-1 0 0 0,0 1 0 0 0,0 0 1 0 0,0-1-1 0 0,0 1 0 0 0,-1-1 0 0 0,1 1 0 0 0,-1-1 0 0 0,0 1 1 0 0,0-3 36 0 0,1 3 0 0 0,-1 0 0 0 0,0 0 0 0 0,1 0 0 0 0,-1 0 0 0 0,1 0 0 0 0,0 0 0 0 0,-1 0 0 0 0,1 0 0 0 0,0 0 0 0 0,0 0 0 0 0,1 0 0 0 0,0-1 0 0 0,8-17 0 0 0,-5 6 0 0 0,1 0 0 0 0,6-12 0 0 0,-6 16 0 0 0,-1-1 0 0 0,-1 0 0 0 0,1 0 0 0 0,1-12 0 0 0,-5 20-1 0 0,0 0 1 0 0,0 0 0 0 0,0 1-1 0 0,1-1 1 0 0,-1 0 0 0 0,1 0-1 0 0,0 1 1 0 0,0-1 0 0 0,9-18 13 0 0,-7 9 2 0 0,1 1 0 0 0,0 0-1 0 0,5-9-14 0 0,4-5 10 0 0,5-25-10 0 0,-16 43 9 0 0,0 0 0 0 0,0 0 0 0 0,1 1 0 0 0,0-1 0 0 0,0 1 0 0 0,1 0 1 0 0,2-3-10 0 0,-2 3 0 0 0,-4 6 0 0 0,0-1 0 0 0,0 0 0 0 0,0-1 0 0 0,0 1 0 0 0,0 0 0 0 0,0 0 0 0 0,0 0 0 0 0,-1 0 0 0 0,1-1 0 0 0,0 1 0 0 0,-1 0 0 0 0,1-1 0 0 0,-1 1 0 0 0,0 0 0 0 0,1-1 0 0 0,0-3 5 0 0,1-1 1 0 0,-1 1-1 0 0,1-1 1 0 0,1 1 0 0 0,-1 0-1 0 0,1 0 1 0 0,0 0-6 0 0,11-26 25 0 0,-10 22-25 0 0,0 0 0 0 0,0 0 0 0 0,1 1 0 0 0,3-5 0 0 0,-3 5 0 0 0,0-1 0 0 0,0 0 0 0 0,-1 0 0 0 0,2-5 0 0 0,0 1 20 0 0,0 0 0 0 0,1 1 0 0 0,0 0 1 0 0,1 0-1 0 0,8-9-20 0 0,8-11 27 0 0,-13 15-27 0 0,-6 11 0 0 0,0 0 0 0 0,-1-1 0 0 0,0 1 0 0 0,2-7 0 0 0,-3 6 0 0 0,1 1 0 0 0,0-1 0 0 0,0 1 0 0 0,0 0 0 0 0,3-3 0 0 0,-1 3 0 0 0,-1-2 0 0 0,0 1 0 0 0,0 0 0 0 0,1-4 0 0 0,23-46 0 0 0,-14 32 0 0 0,6-18 0 0 0,-21 40 0 0 0,1-1 0 0 0,10-8 0 0 0,-5 5 0 0 0,-1-1 0 0 0,1 1 0 0 0,-1-1 0 0 0,0 0 0 0 0,0-2 0 0 0,12-19 0 0 0,3 1 53 0 0,-11 13-40 0 0,-7 13-13 0 0,-1 1 0 0 0,0-1-1 0 0,0 0 1 0 0,0 0 0 0 0,0 0-1 0 0,0 0 1 0 0,0 1 0 0 0,0-1 0 0 0,0-1 0 0 0,0-1 0 0 0,1 0 0 0 0,0 0 0 0 0,0 0 0 0 0,0 0 0 0 0,0 0 0 0 0,1 0 0 0 0,0 0 0 0 0,0 1 0 0 0,1-2 0 0 0,1-1 0 0 0,2-7 0 0 0,-7 11 0 0 0,1 1 0 0 0,0-1 0 0 0,-1 1 0 0 0,1-1 0 0 0,0 1 0 0 0,0 0 0 0 0,0-1 0 0 0,0 1 0 0 0,0 0 0 0 0,1-1 0 0 0,-1 2 0 0 0,0-1 0 0 0,-1 1 0 0 0,1-1 0 0 0,0 1 0 0 0,-1-1 0 0 0,1 1 0 0 0,-1-1 0 0 0,1 0 0 0 0,-1 1 0 0 0,1-1 0 0 0,-1 1 0 0 0,1-1 0 0 0,-1 0 0 0 0,1 0 0 0 0,-1 1 0 0 0,0-1 0 0 0,1 0 0 0 0,-1 0 0 0 0,2-2 0 0 0,17-22 0 0 0,-10 5 0 0 0,-8 18 0 0 0,0 0 0 0 0,0 0 0 0 0,0-1 0 0 0,0 1 0 0 0,0 0 0 0 0,1 0 0 0 0,-1 0 0 0 0,1 1 0 0 0,-1-1 0 0 0,1 0 0 0 0,0 0 0 0 0,0 1 0 0 0,1-1 0 0 0,17-23 0 0 0,-15 18 0 0 0,13-11 10 0 0,-17 17-66 0 0,6-1-1150 0 0,-5 1 466 0 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24.087"/>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3 3887 920 0 0,'0'0'287'0'0,"0"0"867"0"0,0 0 382 0 0,0 0 80 0 0,0 0-152 0 0,-3-5 157 0 0,-6-23 309 0 0,13 14-1370 0 0,-4 10-417 0 0,1 0 1 0 0,0 0-1 0 0,-1 0 0 0 0,1 0 1 0 0,1 0-1 0 0,-1-1-143 0 0,1 2 82 0 0,-1-1 0 0 0,0 1-1 0 0,0-1 1 0 0,-1 0 0 0 0,1 1-1 0 0,-1-2-81 0 0,0 3 38 0 0,1 0 0 0 0,-1 0 0 0 0,0 0 0 0 0,1 0-1 0 0,-1-1 1 0 0,1 1 0 0 0,0 0 0 0 0,0 0 0 0 0,0 0-38 0 0,0 0 36 0 0,0 0 0 0 0,0 0 0 0 0,0 0 0 0 0,-1-1 0 0 0,1 1-1 0 0,-1 0 1 0 0,1 0 0 0 0,-1-1 0 0 0,0 0-36 0 0,1-5 95 0 0,0 0 0 0 0,0 0 0 0 0,1-1 0 0 0,0 1 0 0 0,1 0 0 0 0,0-1-95 0 0,8-30 256 0 0,0-18 456 0 0,12-33-712 0 0,5 10 325 0 0,-12 32-56 0 0,16-35-269 0 0,-24 64 8 0 0,63-160 102 0 0,-56 134 34 0 0,10-16-144 0 0,-7 24 114 0 0,9-22 62 0 0,-20 44-98 0 0,0 0 0 0 0,5-7-78 0 0,-4 7 117 0 0,0 0 0 0 0,3-8-117 0 0,17-53 229 0 0,-14 43-154 0 0,-11 25-51 0 0,1 0 0 0 0,-1-1-1 0 0,1-5-23 0 0,1-3 45 0 0,1 0-1 0 0,0 0 1 0 0,8-13-45 0 0,8-21 66 0 0,-15 28-66 0 0,-5 15 0 0 0,0 0 0 0 0,1 0 0 0 0,0 1 0 0 0,4-6 0 0 0,-1 0 10 0 0,0 0-1 0 0,-1-1 0 0 0,0 1 1 0 0,0-3-10 0 0,12-35 37 0 0,-3 21 22 0 0,-1-1-1 0 0,7-30-58 0 0,-17 50 0 0 0,1 0 0 0 0,1 0 0 0 0,0 0 0 0 0,5-7 0 0 0,11-22 0 0 0,-4 3 0 0 0,19-28 0 0 0,-8 15 0 0 0,22-33 0 0 0,-35 58 0 0 0,-10 16 0 0 0,0 1 0 0 0,0-1 0 0 0,-1-1 0 0 0,1-1 0 0 0,7-20 0 0 0,1 1 0 0 0,4-5 0 0 0,-2 6 0 0 0,-2 0 0 0 0,4-15 0 0 0,7-16 0 0 0,-15 39 0 0 0,-1 0 0 0 0,3-10 0 0 0,-4 10 0 0 0,0 0 0 0 0,4-5 0 0 0,-4 9 0 0 0,18-29 0 0 0,-9 13 0 0 0,-10 23 0 0 0,-1-1 0 0 0,-1 0 0 0 0,1-1 0 0 0,16-47 0 0 0,-6 15 0 0 0,-10 26 15 0 0,1 0 0 0 0,1 0-1 0 0,2-4-14 0 0,9-22 20 0 0,4-4-20 0 0,-15 30 0 0 0,2 1 0 0 0,2-4 0 0 0,2-5 0 0 0,5-1 23 0 0,-15 22-16 0 0,1-1 0 0 0,-1 1 0 0 0,0 0 0 0 0,0-1 0 0 0,0 0-1 0 0,0-3-6 0 0,3-5 0 0 0,0 0 0 0 0,1 0 0 0 0,0 1 0 0 0,8-11 0 0 0,-1-1 0 0 0,0 0 0 0 0,4-16 0 0 0,-3 9 0 0 0,-10 24 0 0 0,2-7 0 0 0,9-38 152 0 0,-14 47-148 0 0,0 0 0 0 0,0 1 0 0 0,1-1 0 0 0,0 1 0 0 0,1-2-4 0 0,8-20-4 0 0,-5 11 4 0 0,1 1 0 0 0,0 0 0 0 0,7-11 0 0 0,-3 8 0 0 0,5-18 0 0 0,-12 27 18 0 0,0 0 0 0 0,-1 0 0 0 0,0 0 0 0 0,2-9-18 0 0,-4 13 10 0 0,1 0 0 0 0,-1 1 1 0 0,1 0-1 0 0,0-1 0 0 0,1 0-10 0 0,7-11 21 0 0,3-7-21 0 0,29-51 0 0 0,-40 64 0 0 0,-2 8 0 0 0,0-1 0 0 0,0 0 0 0 0,0 0 0 0 0,0 1 0 0 0,0-1 0 0 0,1 1 0 0 0,0-1 0 0 0,-1 1 0 0 0,2-2 0 0 0,3-3 0 0 0,15-22 0 0 0,-7 11 0 0 0,5-7 0 0 0,-7 7 0 0 0,-8 13 0 0 0,0-1 0 0 0,1 2 0 0 0,2 0 0 0 0,4-3 290 0 0,-10 7-1737 0 0,0 0-4339 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57.554"/>
    </inkml:context>
    <inkml:brush xml:id="br0">
      <inkml:brushProperty name="width" value="0.5" units="cm"/>
      <inkml:brushProperty name="height" value="1" units="cm"/>
      <inkml:brushProperty name="color" value="#FF40FF"/>
      <inkml:brushProperty name="tip" value="rectangle"/>
      <inkml:brushProperty name="rasterOp" value="maskPen"/>
    </inkml:brush>
  </inkml:definitions>
  <inkml:trace contextRef="#ctx0" brushRef="#br0">1271 142 5528 0 0,'-14'-7'422'0'0,"11"6"-140"0"0,16-9 3275 0 0,-7 7-3180 0 0,0 1 0 0 0,0 0 0 0 0,-1 1 0 0 0,1-1 0 0 0,3 1-377 0 0,20-6-74 0 0,-7 1-17 0 0,-18 5 125 0 0,1 0-1 0 0,0 0 1 0 0,-1-1 0 0 0,1 0 0 0 0,1 0-34 0 0,66-29-102 0 0,-63 27 212 0 0,1 1 0 0 0,0 0 0 0 0,0 1 0 0 0,8-2-110 0 0,16-3 288 0 0,3-3 367 0 0,0 2-1 0 0,1 2 1 0 0,15 0-655 0 0,25 1 705 0 0,11 3-705 0 0,62 10 171 0 0,-97-6-100 0 0,1 2-71 0 0,9 1 46 0 0,13 3-35 0 0,27-2 142 0 0,-98-5-146 0 0,12 1 103 0 0,1 2 1 0 0,16 6-111 0 0,-9-3 83 0 0,27 7 289 0 0,0 2-1 0 0,15 9-371 0 0,-55-19 29 0 0,0 0 0 0 0,0 1-1 0 0,0 1 1 0 0,-1-1-1 0 0,0 2 1 0 0,-1 0-1 0 0,0 1 1 0 0,0-1-1 0 0,-1 2 1 0 0,0 0-1 0 0,-1 0 1 0 0,0 1-1 0 0,1 3-28 0 0,15 26 148 0 0,20 38 154 0 0,-39-66-191 0 0,0 1 0 0 0,0 0 0 0 0,-1 0 0 0 0,-1 0 0 0 0,-1 2-111 0 0,3 5 170 0 0,-4-16-146 0 0,-1-1-1 0 0,0 1 1 0 0,0 0-1 0 0,0 0 1 0 0,0 0-1 0 0,-1 0 1 0 0,0 0-1 0 0,0 0 1 0 0,0 1-24 0 0,-1 16 47 0 0,1-19-33 0 0,0 1-1 0 0,0-1 1 0 0,0 1-1 0 0,-1-1 0 0 0,1 1 1 0 0,-2 2-14 0 0,-2 8 76 0 0,0-1-1 0 0,-1 0 1 0 0,-1 0 0 0 0,0-1-1 0 0,-7 10-75 0 0,1 0 126 0 0,9-16-78 0 0,0 0 1 0 0,-1-1 0 0 0,0 1-1 0 0,-4 4-48 0 0,-2 2 47 0 0,-2 0 12 0 0,0 1 1 0 0,0-2 0 0 0,-1 1 0 0 0,-8 4-60 0 0,-11 5 42 0 0,-2 2 62 0 0,-9 4-104 0 0,-28 10 64 0 0,-1-4 0 0 0,-42 13-64 0 0,56-21 27 0 0,36-14-4 0 0,0-2-1 0 0,-19 6-22 0 0,-18 2 27 0 0,-84 21 93 0 0,93-28-100 0 0,-72 19 13 0 0,49-5-33 0 0,34-11 0 0 0,-6 1 0 0 0,-31 9 25 0 0,42-11-5 0 0,0-2-1 0 0,-1-2-19 0 0,-24 9 0 0 0,18-5 0 0 0,-78 19 0 0 0,-17 6 64 0 0,106-30-64 0 0,0 1 0 0 0,-3 3 0 0 0,-34 7 0 0 0,16-6 0 0 0,9-2 44 0 0,0-3-1 0 0,0-1 1 0 0,-8-2-44 0 0,-41 6 33 0 0,-13 4-21 0 0,-4 0 100 0 0,-60 18-112 0 0,95-15 22 0 0,-123 34-380 0 0,158-41-964 0 0,1-1-428 0 0</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25.724"/>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 4107 5096 0 0,'0'0'232'0'0,"0"0"66"0"0,0 0 156 0 0,4-7 602 0 0,2-5-92 0 0,0 1 0 0 0,3-11-964 0 0,8-16 838 0 0,-10 22-567 0 0,0 0 0 0 0,-1-1 0 0 0,3-15-271 0 0,-3 12 213 0 0,0 0 0 0 0,4-7-213 0 0,9-27 77 0 0,-8 20 145 0 0,46-139 1060 0 0,-38 116-848 0 0,0-10-434 0 0,8-29 308 0 0,-17 58-217 0 0,-9 28-72 0 0,2 1 0 0 0,-1-1 0 0 0,1 0 0 0 0,1 1 0 0 0,0 0 0 0 0,1-2-19 0 0,39-70 141 0 0,-3-3-141 0 0,77-191 311 0 0,-115 268-221 0 0,19-51 125 0 0,-1-4-215 0 0,-12 38 61 0 0,0 0-1 0 0,7-9-60 0 0,5-15 149 0 0,13-23-102 0 0,-18 40-30 0 0,4-12-17 0 0,-3 1 103 0 0,11-29 210 0 0,-17 41-427 0 0,11-18 114 0 0,-10 21-107 0 0,-1 0 0 0 0,2-7 107 0 0,-1-2 0 0 0,2 1 0 0 0,2 0 0 0 0,3-3 0 0 0,-7 11 0 0 0,-1 0 0 0 0,1-6 0 0 0,9-26 0 0 0,-15 47 2 0 0,47-109 121 0 0,-41 95-111 0 0,-4 7-13 0 0,1 1 1 0 0,2-1 0 0 0,41-75 154 0 0,-30 46 1 0 0,-16 32-142 0 0,1 1 1 0 0,7-11-14 0 0,7-14-27 0 0,-1-1 0 0 0,-1-1 1 0 0,5-23 26 0 0,-23 61 0 0 0,28-53 0 0 0,24-77 96 0 0,-46 116-100 0 0,4-7-17 0 0,-1 0 0 0 0,-1-1 0 0 0,-1 0 0 0 0,-1-2 21 0 0,-4 17 0 0 0,0 1 0 0 0,1-1 0 0 0,0 1 0 0 0,1 0 0 0 0,1-2 0 0 0,11-25 0 0 0,-3 12 0 0 0,-1 4 0 0 0,-7 8 0 0 0,0 0 0 0 0,2 1 0 0 0,-1 0 0 0 0,4-4 0 0 0,-3 5 0 0 0,0 0 0 0 0,-1-1 0 0 0,5-11 0 0 0,14-27 0 0 0,-18 36 0 0 0,-1 0 0 0 0,6-15 0 0 0,-9 19 0 0 0,0 1 0 0 0,1-1 0 0 0,4-4 0 0 0,6-14 0 0 0,6-4 0 0 0,-7 9 0 0 0,21-31 0 0 0,1 4 0 0 0,-32 41 0 0 0,2 0 0 0 0,-1 0 0 0 0,5-4 0 0 0,4-6 0 0 0,-3 0 0 0 0,-7 13 0 0 0,0-1 0 0 0,0 1 0 0 0,0 0 0 0 0,0 0 0 0 0,1 1 0 0 0,4-5 0 0 0,-7 8 0 0 0,1-1 0 0 0,-1 1 0 0 0,0-1 0 0 0,0 0 0 0 0,0 0 0 0 0,0 0 0 0 0,0 0 0 0 0,-1 0 0 0 0,1-1 0 0 0,-1 1 0 0 0,1 0 0 0 0,-1 0 0 0 0,1 1 0 0 0,0-1 0 0 0,0 0 0 0 0,0 0 0 0 0,0 1 0 0 0,1-1 0 0 0,30-41 0 0 0,-29 39 0 0 0,8-14 0 0 0,-10 16 0 0 0,0-1 0 0 0,-1 2 0 0 0,1-1 0 0 0,1 0 0 0 0,-1 0 0 0 0,2-1 0 0 0,12-17 0 0 0,-12 16 0 0 0,1-1 0 0 0,-1 2 0 0 0,3 0 0 0 0,-2-3 0 0 0,-5 3 10 0 0,0 3-654 0 0,2 2-2908 0 0,9 3-1214 0 0</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27.554"/>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0 4090 1376 0 0,'0'0'65'0'0,"1"-7"1119"0"0,15-47 3933 0 0,-4 14-3979 0 0,3-10-797 0 0,-10 34 377 0 0,1 1 0 0 0,6-12-718 0 0,2-6 575 0 0,26-90 565 0 0,-27 84-960 0 0,7-16 18 0 0,-8 19-90 0 0,-10 26-75 0 0,1 1-1 0 0,0 0 1 0 0,2-3-33 0 0,3-7 96 0 0,6-19-96 0 0,-11 26 28 0 0,1 1 1 0 0,0 0 0 0 0,1 0 0 0 0,0 0-1 0 0,1 0 1 0 0,0 1 0 0 0,3-3-29 0 0,-3 4 26 0 0,0 0 0 0 0,-1-1 0 0 0,0 0 1 0 0,0 0-1 0 0,-1-1 0 0 0,-1 1 0 0 0,2-9-26 0 0,14-34 468 0 0,15-24 302 0 0,-14 28-171 0 0,3 1 0 0 0,2 1-599 0 0,-2 0 231 0 0,-17 32-123 0 0,2 0 0 0 0,7-12-108 0 0,-4 10 188 0 0,-2-1 0 0 0,0 0 0 0 0,1-5-188 0 0,-2 3 230 0 0,1 1 0 0 0,8-11-230 0 0,-6 11 0 0 0,-1-1 0 0 0,1-5 0 0 0,5-10 0 0 0,66-147 0 0 0,-76 167 0 0 0,0-1 0 0 0,3-10 0 0 0,-4 10 0 0 0,1 0 0 0 0,2-4 0 0 0,12-26 0 0 0,-14 29 0 0 0,1 1 0 0 0,1-1 0 0 0,1 0 0 0 0,16-28 0 0 0,-17 28 0 0 0,0 1 0 0 0,11-13 0 0 0,2 0 0 0 0,-2-1 0 0 0,0-1 0 0 0,-2-1 0 0 0,1-7 0 0 0,-4 10 0 0 0,1 1 0 0 0,3-3 0 0 0,21-39 0 0 0,-17 34 0 0 0,-16 26 0 0 0,1 0 0 0 0,3-10 0 0 0,2-4 0 0 0,1 1 0 0 0,4-4 0 0 0,18-33 0 0 0,-9 16 0 0 0,-14 24 0 0 0,0 0 0 0 0,-1-1 0 0 0,-2 3 0 0 0,2 0 0 0 0,0 1 0 0 0,0 0 0 0 0,8-10 0 0 0,-15 20 0 0 0,-1-1 0 0 0,1 1 0 0 0,-1-1 0 0 0,0 0 0 0 0,0-2 0 0 0,-1 3 0 0 0,0-1 0 0 0,1 1 0 0 0,0 0 0 0 0,0 0 0 0 0,1 0 0 0 0,0 0 0 0 0,6-9 0 0 0,0-1 0 0 0,5-15 0 0 0,-2 4 0 0 0,20-59 0 0 0,-23 64 0 0 0,6-19 0 0 0,-11 28 0 0 0,-1 4 0 0 0,-2 2 0 0 0,1 1 0 0 0,0 0 0 0 0,0 0 0 0 0,1 0 0 0 0,4-6 0 0 0,43-69 0 0 0,-43 70 0 0 0,0-1 0 0 0,4-7 0 0 0,9-16 0 0 0,-9 9 0 0 0,-4 7 0 0 0,21-31 0 0 0,-5 9 0 0 0,21-39 0 0 0,20-27 0 0 0,-43 73 122 0 0,-13 18 56 0 0,2 0 0 0 0,0 1 0 0 0,9-9-178 0 0,-10 13-127 0 0,-1-1 0 0 0,-1 0-1 0 0,0 0 1 0 0,4-10 127 0 0,-6 12-35 0 0,11-18 35 0 0,-9 14 0 0 0,0 1 0 0 0,-1-1 0 0 0,2-5 0 0 0,3-2 0 0 0,-10 20 0 0 0,-1-1 0 0 0,1 0 0 0 0,0 0 0 0 0,-1 0 0 0 0,0 0 0 0 0,1 0 0 0 0,-1 0 0 0 0,0 0 0 0 0,0-1 0 0 0,-1 3 0 0 0,0-1 0 0 0,1 1 0 0 0,-1-1 0 0 0,1 1 0 0 0,0 0 0 0 0,-1-1 0 0 0,1 1 0 0 0,0 0 0 0 0,0 0 0 0 0,0-1 0 0 0,1 1 0 0 0,-1-1 0 0 0,0 1 0 0 0,0-1 0 0 0,0 1 0 0 0,-1-1 0 0 0,1 0 0 0 0,0 1 0 0 0,-1-1 0 0 0,1 0 0 0 0,1-3 0 0 0,0 0 0 0 0,0 0 0 0 0,0 1 0 0 0,0-1 0 0 0,1 1 0 0 0,0 0 0 0 0,0 0 0 0 0,0 0 0 0 0,3-3 0 0 0,-3 4 0 0 0,0-1 0 0 0,1 0 0 0 0,-2 0 0 0 0,1 0 0 0 0,0 0 0 0 0,-1-1 0 0 0,0 1 0 0 0,0-1 0 0 0,1-3 0 0 0,-3 8 0 0 0,0-1 0 0 0,0 1 0 0 0,0 0 0 0 0,0-1 0 0 0,0 1 0 0 0,0-1 0 0 0,0 1 0 0 0,0-1 0 0 0,0 1 0 0 0,1-1 0 0 0,-1 1 0 0 0,0-1 0 0 0,0 1 0 0 0,0-1 0 0 0,1 1 0 0 0,-1 0 0 0 0,0-1 0 0 0,1 1 0 0 0,-1-1 0 0 0,0 1 0 0 0,1 0 0 0 0,-1 0 0 0 0,0-1 0 0 0,1 1 0 0 0,-1 0 0 0 0,1-1 0 0 0,-1 1 0 0 0,4-3 0 0 0,0-11 0 0 0,1 4 0 0 0,-3 8 0 0 0,2-4 0 0 0,-2-5 0 0 0,-1 10 0 0 0,8-8 0 0 0,10-8-144 0 0,-18 17-25 0 0,-1 0-1 0 0,1 0 1 0 0,-1 0-1 0 0,1 0 0 0 0,0 1 1 0 0,-1-1-1 0 0,1 0 0 0 0,-1 0 1 0 0,1 1-1 0 0,-1-1 0 0 0,1 0 1 0 0,-1 1-1 0 0,1-1 0 0 0,-1 1 1 0 0,1-1-1 0 0,-1 0 1 0 0,0 1-1 0 0,1-1 0 0 0,-1 1 1 0 0,0-1-1 0 0,1 1 170 0 0,1 4-5117 0 0</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0.078"/>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0 4442 2760 0 0,'0'0'335'0'0,"0"0"362"0"0,0 0 156 0 0,0 0 38 0 0,0-21 1921 0 0,1 16-2614 0 0,0-1 0 0 0,0 1 1 0 0,0 0-1 0 0,0-1 1 0 0,1 1-1 0 0,0 0 0 0 0,0 0 1 0 0,0 0-1 0 0,1-1-198 0 0,22-39 731 0 0,-10 8-276 0 0,-8 18-181 0 0,0 1-1 0 0,4-5-273 0 0,-6 13 73 0 0,-1 0 1 0 0,0 0-1 0 0,1-4-73 0 0,-2 4 70 0 0,0 0 0 0 0,1 1 0 0 0,5-9-70 0 0,0 1 64 0 0,-1-1 0 0 0,-1 0 0 0 0,0-1 0 0 0,2-13-64 0 0,-8 31 0 0 0,19-55 74 0 0,-14 41 5 0 0,-1 1-1 0 0,7-10-78 0 0,-6 10 41 0 0,6-10 7 0 0,2 1 0 0 0,0 1 0 0 0,5-6-48 0 0,3-17 53 0 0,-13 33-35 0 0,-3 3 19 0 0,0-1-1 0 0,0 1 1 0 0,3-10-37 0 0,-4 7 42 0 0,1 0 0 0 0,0 1 0 0 0,8-12-42 0 0,0 0 79 0 0,-9 14-61 0 0,-3 6 0 0 0,-1 0 0 0 0,1 0 1 0 0,-1 1-1 0 0,1-1 0 0 0,0 1 0 0 0,0-1 0 0 0,0 1 0 0 0,0 0 1 0 0,1-1-19 0 0,0-1 22 0 0,0 1 1 0 0,0-1 0 0 0,-1 0-1 0 0,1 1 1 0 0,-1-1 0 0 0,0-1-1 0 0,-1 1 1 0 0,1 0-1 0 0,0-3-22 0 0,8-16-149 0 0,11-14 494 0 0,-3-1 0 0 0,1-3-345 0 0,9-20 144 0 0,-24 53-128 0 0,0 0 0 0 0,1 0 0 0 0,3-5-16 0 0,8-12 42 0 0,-6 7 18 0 0,13-16-60 0 0,-12 19 19 0 0,-1-1 0 0 0,0 0 1 0 0,-1-1-20 0 0,2-1 21 0 0,-8 14-14 0 0,0 0 0 0 0,-1 0 0 0 0,0 0 0 0 0,0-1 0 0 0,0 1 1 0 0,1-3-8 0 0,12-35 0 0 0,-10 32 0 0 0,-1-1 0 0 0,0 1 0 0 0,0-5 0 0 0,0 2 16 0 0,0-1 1 0 0,2 1-1 0 0,-1 1 1 0 0,5-7-17 0 0,-4 7 20 0 0,0-1 0 0 0,0 0 0 0 0,-1-1 0 0 0,0-3-20 0 0,-1 5 27 0 0,0-1-1 0 0,1 1 0 0 0,0 0 1 0 0,2-1-27 0 0,-1 1 16 0 0,-1 1 0 0 0,0-1 1 0 0,-1 0-1 0 0,0-2-16 0 0,-1 6 9 0 0,0 0 0 0 0,0 0 0 0 0,1 0 0 0 0,0 1 0 0 0,4-6-9 0 0,-3 4 10 0 0,0 1 0 0 0,-1-1 0 0 0,0 0 0 0 0,2-6-10 0 0,-2 4 11 0 0,0 1 1 0 0,1-1-1 0 0,0 1 0 0 0,6-7-11 0 0,5-11 9 0 0,8-15 8 0 0,-7 13 30 0 0,11-26-47 0 0,-22 44 10 0 0,0-1 0 0 0,1 2 1 0 0,2-3-11 0 0,-2 3 11 0 0,0-1 0 0 0,0 0 0 0 0,1-4-11 0 0,15-35 0 0 0,6-14 0 0 0,-14 30 0 0 0,16-27 0 0 0,0 0 0 0 0,22-39 74 0 0,4-32-20 0 0,-39 92 91 0 0,-1-2-145 0 0,-1 1 164 0 0,2 0-164 0 0,19-47 64 0 0,-19 39-51 0 0,-12 32-14 0 0,1 0 0 0 0,2-4 1 0 0,6-17 6 0 0,-13 30-17 0 0,1 0 0 0 0,1 0 0 0 0,2-4 11 0 0,2-4-62 0 0,-2 1 1 0 0,0-1-1 0 0,0 0 0 0 0,-1-4 62 0 0,11-33 310 0 0,-9 36-296 0 0,1-6 46 0 0,1 1-1 0 0,1 0 0 0 0,1 0 1 0 0,10-15-60 0 0,-9 19 16 0 0,-1 0 1 0 0,4-11-17 0 0,-6 9 15 0 0,2 1 1 0 0,3-4-16 0 0,-5 10 8 0 0,-2 0 0 0 0,0 0 1 0 0,1-5-9 0 0,11-22 28 0 0,-5 11 42 0 0,7-20-70 0 0,-14 33 5 0 0,41-88 69 0 0,-4 15 33 0 0,-39 79-95 0 0,0 1 1 0 0,0 0-1 0 0,1 1 1 0 0,0-1-1 0 0,0 1 1 0 0,6-5-14 0 0,-8 9 9 0 0,-1 1-1 0 0,0-1 0 0 0,0 0 0 0 0,0 0 0 0 0,1-3-7 0 0,13-21 28 0 0,-4 9-28 0 0,0 0 0 0 0,4-10 0 0 0,13-19 0 0 0,-12 19 22 0 0,-10 16-1 0 0,0 0 0 0 0,6-5-21 0 0,-9 12 0 0 0,0 0 0 0 0,0-1 0 0 0,-1 0 0 0 0,2-4 0 0 0,10-16 0 0 0,-6 12 0 0 0,5-2 0 0 0,-13 12 11 0 0,1 0-1 0 0,0 0 0 0 0,1 1 0 0 0,0-1 0 0 0,2-1-10 0 0,3-7 13 0 0,5 1-13 0 0,-13 12 0 0 0,1 0 0 0 0,-1 0 0 0 0,0 0 0 0 0,0 0 0 0 0,0 0 0 0 0,0-1 0 0 0,0 1 0 0 0,0 0 0 0 0,1-2 0 0 0,30-48 0 0 0,-28 44 0 0 0,1 1 0 0 0,-2 2 0 0 0,1 4 0 0 0,1 5-13 0 0,2 11-658 0 0,-3-7-3268 0 0,-4-9 3864 0 0,1 2-5098 0 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1.650"/>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0 4768 4608 0 0,'0'0'208'0'0,"0"0"57"0"0,0 0 115 0 0,0 0 48 0 0,1-2 11 0 0,26-53 1493 0 0,-24 49-1691 0 0,-1 0 0 0 0,1 1 1 0 0,-1-1-1 0 0,0 0 1 0 0,1-5-242 0 0,7-19 755 0 0,42-86 1028 0 0,-34 77-1507 0 0,-2-2 0 0 0,0-6-276 0 0,9-24 275 0 0,23-62 69 0 0,13-1 232 0 0,-8 24-33 0 0,-29 63 3 0 0,17-46-546 0 0,1-14 427 0 0,5 1 1 0 0,23-30-428 0 0,-15 29 807 0 0,27-81-807 0 0,-16 26 304 0 0,-5 11-24 0 0,-36 84-89 0 0,5 0-191 0 0,-16 34 69 0 0,31-68 151 0 0,-37 84-182 0 0,1 0 0 0 0,0 0 0 0 0,4-3-38 0 0,17-32 70 0 0,51-100 82 0 0,-50 94-130 0 0,15-25 31 0 0,-24 43-31 0 0,-2-1 1 0 0,2-10-23 0 0,7-15 8 0 0,11-19 3 0 0,-6 1 42 0 0,12-14-26 0 0,-19 36 0 0 0,47-104 133 0 0,-30 82-34 0 0,-14 26-111 0 0,9-18-18 0 0,-31 61 13 0 0,1 0 0 0 0,0 1 0 0 0,1-1-10 0 0,0 1 15 0 0,-1-1 0 0 0,0 0 0 0 0,-1-1-15 0 0,34-63 53 0 0,-9 19-53 0 0,3-8 0 0 0,-13 22 43 0 0,3-1-43 0 0,6-10 21 0 0,4-8-21 0 0,-10 20 0 0 0,-2-2 0 0 0,-3 12 0 0 0,-15 27 0 0 0,0-1 0 0 0,-1 0 0 0 0,2-5 0 0 0,3-10 0 0 0,2 0 0 0 0,0 2 0 0 0,7-10 0 0 0,1-2 64 0 0,12-26-64 0 0,-18 34 20 0 0,-8 15 2 0 0,0 0 0 0 0,4-12-22 0 0,-8 18 0 0 0,1 0 0 0 0,0 0 0 0 0,-1 0 0 0 0,4-3 0 0 0,7-14 0 0 0,-1 2 0 0 0,-10 17 0 0 0,-1 0 0 0 0,1 0 0 0 0,0 0 0 0 0,-1 0 0 0 0,1 0 0 0 0,-1 0 0 0 0,0 0 0 0 0,1-2 0 0 0,-2 3 0 0 0,2 0 0 0 0,-1 0 0 0 0,0-1 0 0 0,0 1 0 0 0,1 0 0 0 0,-1 0 0 0 0,1 0 0 0 0,-1 0 0 0 0,3-1 0 0 0,8-14 0 0 0,-8 10 0 0 0,0-1 0 0 0,4-2 0 0 0,8-9-53 0 0,-15 17 52 0 0,0 1-1 0 0,0 0 1 0 0,0 0 0 0 0,0-1-1 0 0,0 1 1 0 0,0 0 0 0 0,1 0-1 0 0,-1 0 1 0 0,0 0 0 0 0,1 0 1 0 0,-1 0 0 0 0,0 0 0 0 0,0 1 0 0 0,0-1 0 0 0,0 0 1 0 0,0 0-1 0 0,-1 0 0 0 0,1 0 0 0 0,0 1 0 0 0,-1-1 1 0 0,1 0-1 0 0,0 0 0 0 0,-1 0 0 0 0,1 0 0 0 0,-1 0 0 0 0,0-1 0 0 0,5-7 0 0 0,4-11 0 0 0,-9 19 0 0 0,1 1 0 0 0,-1-1 0 0 0,0 0 0 0 0,0 1 0 0 0,0-1 0 0 0,1 0 0 0 0,-1 1 0 0 0,1-1 0 0 0,-1 0 0 0 0,0 1 0 0 0,1-1 0 0 0,-1 0 0 0 0,1 1 0 0 0,-1-1 0 0 0,1 1 0 0 0,-1-1 0 0 0,1 1 0 0 0,0-1 0 0 0,23-23 0 0 0,-17 18-44 0 0,-6 5-178 0 0,-1 1-56 0 0,0 0-1152 0 0,0 0-4603 0 0</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3.115"/>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 5051 2304 0 0,'0'0'101'0'0,"0"0"158"0"0,0 0 577 0 0,0 0 253 0 0,0 0 51 0 0,0 0-53 0 0,0 0-269 0 0,0 0-119 0 0,0 0-24 0 0,0 0-50 0 0,0 0-196 0 0,0 0-86 0 0,0 0-20 0 0,0 0-13 0 0,1-1-38 0 0,1-4-107 0 0,1-1-1 0 0,-1 1 0 0 0,0-1 0 0 0,0 0 1 0 0,-1 0-1 0 0,1-1-164 0 0,-1-1 128 0 0,1 1 0 0 0,0 0 1 0 0,1 0-1 0 0,-1 0 0 0 0,2-1-128 0 0,10-22 491 0 0,-2-1-1 0 0,2-7-490 0 0,3-7 298 0 0,18-36 687 0 0,18-26-985 0 0,5-10 441 0 0,-17 20-211 0 0,-31 73-160 0 0,-2 0 0 0 0,1-3-70 0 0,5-17 86 0 0,2-7 15 0 0,-2-1-101 0 0,8-25 41 0 0,-3 16-28 0 0,3-7 38 0 0,7-10-51 0 0,-1 3 15 0 0,9-20 23 0 0,16-28 67 0 0,44-93 196 0 0,95-185-81 0 0,-144 296-196 0 0,-24 56-12 0 0,14-33 30 0 0,43-95-32 0 0,-21 47 1 0 0,-31 71 20 0 0,-12 27-9 0 0,2-10-22 0 0,30-72 118 0 0,53-87-118 0 0,-9 19 85 0 0,-58 107-32 0 0,-5 10-42 0 0,32-69 54 0 0,41-98 343 0 0,-102 229-401 0 0,69-156 78 0 0,-62 141-106 0 0,2 1-1 0 0,7-12 22 0 0,-8 14-18 0 0,0 0 1 0 0,-1-1-1 0 0,4-11 18 0 0,28-68 0 0 0,-30 74 0 0 0,3-4 24 0 0,1 1-1 0 0,16-22-23 0 0,2-2 17 0 0,9-11-17 0 0,-11 8 37 0 0,7-4-37 0 0,18-30 27 0 0,6-12 123 0 0,-21 34-84 0 0,-19 23-66 0 0,15-7 0 0 0,-15 8 0 0 0,-7 19 0 0 0,-12 15 0 0 0,1 0 0 0 0,1 0 0 0 0,-1 1 0 0 0,1-1 0 0 0,2-1 0 0 0,-4 4 0 0 0,0-1 0 0 0,0 1 0 0 0,0-1 0 0 0,0 0 0 0 0,0 1 0 0 0,0-3 0 0 0,8-9 0 0 0,1 0 0 0 0,-10 12 0 0 0,1 0 0 0 0,-1-1 0 0 0,1 1 0 0 0,-1 1 0 0 0,1-1 0 0 0,0 0 0 0 0,1-1 0 0 0,4-3 0 0 0,0-1 0 0 0,0-1 0 0 0,-1 1 0 0 0,0-1 0 0 0,0 0 0 0 0,-1 0 0 0 0,4-6 0 0 0,-1 2 0 0 0,-8 12 0 0 0,0-1 0 0 0,1 1 0 0 0,-1-1 0 0 0,0 1 0 0 0,0 0 0 0 0,1-1 0 0 0,-1 1 0 0 0,0-1 0 0 0,0 1 0 0 0,1-1 0 0 0,-1 1 0 0 0,0 0 0 0 0,1-1 0 0 0,-1 1 0 0 0,1 0 0 0 0,-1-1 0 0 0,1 1 0 0 0,-1 0 0 0 0,0-1 0 0 0,1 1 0 0 0,-1 0 0 0 0,1 0 0 0 0,-1 0 0 0 0,1 0 0 0 0,-1-1 0 0 0,1 1 0 0 0,3-1 0 0 0,2-9 0 0 0,-5 7 3 0 0,-1 3-2 0 0,14-14-18 0 0,-13 15-3 0 0,-1-1-1 0 0,1 1 1 0 0,-1-1 0 0 0,0 1-1 0 0,1-1 1 0 0,-1 1-1 0 0,1-1 1 0 0,-1 1 0 0 0,0 0-1 0 0,0-1 1 0 0,1 1 0 0 0,-1 0-1 0 0,0-1 1 0 0,0 1 20 0 0,0 10-1128 0 0,-4-1-357 0 0</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4.700"/>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 5166 2304 0 0,'0'0'101'0'0,"0"0"157"0"0,0 5 1226 0 0,1-3 2810 0 0,0-2-4206 0 0,0 0 0 0 0,0 0-1 0 0,0 0 1 0 0,0 0 0 0 0,0 0 0 0 0,0 0 0 0 0,0 0-1 0 0,0 0 1 0 0,0 0 0 0 0,0-1 0 0 0,0 1 0 0 0,0 0-1 0 0,0-1 1 0 0,0 1 0 0 0,-1-1 0 0 0,1 1 0 0 0,0-1-1 0 0,0 1 1 0 0,0-1 0 0 0,0 0 0 0 0,-1 1 0 0 0,1-1-1 0 0,0 0 1 0 0,0 0-88 0 0,2-2 102 0 0,-1 1 1 0 0,1 0-1 0 0,-1-1 0 0 0,1 0 0 0 0,-1 0 0 0 0,0 0 1 0 0,2-2-103 0 0,16-56 1056 0 0,-14 46-764 0 0,0-1 0 0 0,0-6-292 0 0,8-23 329 0 0,-4 20-314 0 0,49-117 666 0 0,-27 70 20 0 0,-4 8-203 0 0,7-6-498 0 0,-17 36 66 0 0,14-23 173 0 0,22-58-239 0 0,-30 60 121 0 0,9-12-121 0 0,12-26 102 0 0,49-110 194 0 0,-36 84-148 0 0,10-23-632 0 0,18-28 885 0 0,-25 53 11 0 0,9-11-384 0 0,-34 67 88 0 0,3-16-116 0 0,25-50 21 0 0,-44 84 6 0 0,2 1-1 0 0,3-2-26 0 0,2-4 21 0 0,-3 0 0 0 0,2-10-21 0 0,19-38 33 0 0,6-17 6 0 0,-12 24-25 0 0,4-12 23 0 0,-17 40 44 0 0,14-22-81 0 0,17-27 24 0 0,-6 12 26 0 0,52-75-50 0 0,-57 100 153 0 0,16-39-153 0 0,-20 34 39 0 0,55-118-39 0 0,-64 127 0 0 0,8-31 0 0 0,-29 72 0 0 0,7-17 0 0 0,4-2 0 0 0,91-170 0 0 0,-91 173 0 0 0,-10 19 0 0 0,0 1 0 0 0,2 0 0 0 0,9-11 0 0 0,-5 8 0 0 0,-1 0 0 0 0,14-31 0 0 0,-6 11 0 0 0,34-61 0 0 0,-41 82 0 0 0,-5 8 0 0 0,55-86 0 0 0,-59 90 0 0 0,-7 9 0 0 0,0 0 0 0 0,1 0 0 0 0,-1 1 0 0 0,1-1 0 0 0,1 0 0 0 0,-1 2 0 0 0,-1-1 0 0 0,0 0 0 0 0,-1 0 0 0 0,1 0 0 0 0,-1 0 0 0 0,1 0 0 0 0,-1 0 0 0 0,0 0 0 0 0,1 0 0 0 0,0 0 0 0 0,-1 1 0 0 0,1-1 0 0 0,2-1 0 0 0,16-27 0 0 0,27-33 0 0 0,-38 47 0 0 0,-8 14 0 0 0,0 0 0 0 0,0-1 0 0 0,1 1 0 0 0,-1 0 0 0 0,1 0 0 0 0,0 1 0 0 0,0-1 0 0 0,1-1 0 0 0,0-1 0 0 0,13-21 54 0 0,-15 23-26 0 0,-2 3-25 0 0,0-1 0 0 0,1 1 0 0 0,0 0 1 0 0,-1 0-1 0 0,1 0 0 0 0,0 0 0 0 0,-1 0 0 0 0,1 0 0 0 0,0 0 0 0 0,0 1 0 0 0,0-1 0 0 0,0 0 0 0 0,0 0 0 0 0,0 0 0 0 0,0 0-3 0 0,-1 1-6 0 0,0 0 0 0 0,1 0 0 0 0,-1 0 0 0 0,0 0 0 0 0,0 0 0 0 0,0 0 1 0 0,0 0-1 0 0,0 0 0 0 0,0 0 0 0 0,0-1 0 0 0,1 1 0 0 0,-1 0 0 0 0,0 0 0 0 0,0 0 0 0 0,0 0 0 0 0,0 0 0 0 0,0 0 0 0 0,0 0 0 0 0,0 0 0 0 0,1 0 0 0 0,-1 0 0 0 0,0 0 0 0 0,0 0 0 0 0,0 0 0 0 0,0 0 0 0 0,0 0 0 0 0,1 0 0 0 0,-1 0 0 0 0,0 0 0 0 0,0 0 0 0 0,0 0 0 0 0,0 1 0 0 0,0-1 0 0 0,0 0 0 0 0,0 0 0 0 0,1 0 0 0 0,-1 0 0 0 0,0 0 0 0 0,0 0 0 0 0,0 0 0 0 0,0 0 0 0 0,0 0 0 0 0,0 0 0 0 0,0 1 0 0 0,0-1 0 0 0,0 0 0 0 0,0 0 0 0 0,0 0 0 0 0,0 0 0 0 0,0 0 0 0 0,1 0 0 0 0,-1 1 0 0 0,0-1 0 0 0,0 0 0 0 0,0 0 0 0 0,0 0 0 0 0,0 0 0 0 0,0 0 0 0 0,0 0 0 0 0,0 1 0 0 0,0-1 0 0 0,0 0 0 0 0,-1 0 0 0 0,1 0 0 0 0,0 0 6 0 0,0 10-735 0 0,0-10 617 0 0,0 8-567 0 0</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6.413"/>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5 5282 2960 0 0,'0'0'133'0'0,"0"0"54"0"0,0 0 140 0 0,0 0 59 0 0,0 0 13 0 0,0 0 4 0 0,0 0 11 0 0,0 0 9 0 0,0 0 1 0 0,0 0-38 0 0,0 0-155 0 0,0 0-67 0 0,0 0-17 0 0,-5-15 1445 0 0,6 3-1120 0 0,1 1 1 0 0,-1-1-1 0 0,2 1 1 0 0,-1-1 0 0 0,4-6-473 0 0,5-22 470 0 0,-4 11 110 0 0,2 1-1 0 0,10-21-579 0 0,6-23 521 0 0,69-187 956 0 0,-50 143-1187 0 0,-36 99-242 0 0,0 0 0 0 0,1 1 0 0 0,2-3-48 0 0,19-36 61 0 0,17-55 48 0 0,-20 43 87 0 0,33-57-196 0 0,2 7 343 0 0,27-77-343 0 0,-39 87 89 0 0,19-21-89 0 0,-16 29 60 0 0,19-53-60 0 0,-26 51 56 0 0,8-21-5 0 0,-39 82-43 0 0,6-15-7 0 0,1 1 1 0 0,23-36-2 0 0,50-89 38 0 0,-23 41-12 0 0,49-98 89 0 0,-92 179-102 0 0,44-99 69 0 0,-19 44-28 0 0,4 0-17 0 0,-3 7-2 0 0,-27 50-35 0 0,4 2 0 0 0,17-21 0 0 0,-24 36 0 0 0,28-53 0 0 0,82-122 64 0 0,-119 186-64 0 0,5-12 0 0 0,6-11 0 0 0,29-55 0 0 0,10-17 0 0 0,-25 48 24 0 0,-25 42-4 0 0,2 1-1 0 0,5-6-19 0 0,-7 13 0 0 0,-1 0 0 0 0,-1-1 0 0 0,2-7 0 0 0,-11 22 5 0 0,1 0 0 0 0,0 1 0 0 0,0 0 0 0 0,3-2-5 0 0,-2 2 8 0 0,0 0 1 0 0,-1-1-1 0 0,0 1 1 0 0,0-2-9 0 0,19-32 10 0 0,-8 20-10 0 0,-11 12 0 0 0,1-5 0 0 0,-6 11 5 0 0,1 1 0 0 0,-1-1-1 0 0,1 1 1 0 0,0 0-1 0 0,0 0 1 0 0,1 0-1 0 0,-1 0 1 0 0,1 0-1 0 0,1-1-4 0 0,14-23 23 0 0,2-7-23 0 0,-18 31 0 0 0,0 0 0 0 0,1 0 0 0 0,-1 0 0 0 0,1 0 0 0 0,0 0 0 0 0,0 1 0 0 0,0-1 0 0 0,0 0 0 0 0,0 1 0 0 0,0-1 0 0 0,-1 0 0 0 0,3-5 0 0 0,1-4 0 0 0,4-9 0 0 0,-10 19 0 0 0,12-17 0 0 0,-9 14 0 0 0,-1-2 0 0 0,5-1 0 0 0,3-10 43 0 0,-4 4-22 0 0,-5 12-16 0 0,0 0 0 0 0,1 0 0 0 0,-1 1-1 0 0,1-1 1 0 0,0 1 0 0 0,0-1-1 0 0,2-1-4 0 0,18-27 32 0 0,-15 21-33 0 0,-6 9 1 0 0,11-24 0 0 0,0 4 0 0 0,-8 13 0 0 0,0 0 0 0 0,0 0 0 0 0,0 0 0 0 0,1-8 0 0 0,-4 14 0 0 0,1-1 0 0 0,-1 1 0 0 0,0-1 0 0 0,0 1 0 0 0,1 0 0 0 0,0-1 0 0 0,-1 1 0 0 0,1 0 0 0 0,9-13 0 0 0,0 3 0 0 0,-10 47-4862 0 0,-1-33-251 0 0</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7.110"/>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25 633 1840 0 0,'0'0'269'0'0,"0"0"459"0"0,-6 5 783 0 0,2-3 2429 0 0,4-2-3883 0 0,-1 0 1 0 0,1 1-1 0 0,-1-1 0 0 0,1 0 1 0 0,-1 0-1 0 0,1 0 1 0 0,-1 0-1 0 0,1 0 1 0 0,-1 0-1 0 0,1 0 0 0 0,-1 0 1 0 0,1 0-1 0 0,-1 0 1 0 0,1 0-1 0 0,-1 0 0 0 0,1 0 1 0 0,-1 0-1 0 0,1-1 1 0 0,-1 1-1 0 0,1 0 1 0 0,-1 0-58 0 0,1-1 21 0 0,-1 1 0 0 0,1-1 1 0 0,-1 1-1 0 0,1-1 1 0 0,0 1-1 0 0,0-1 1 0 0,-1 1-1 0 0,1-1 0 0 0,0 1 1 0 0,0-1-1 0 0,0 0 1 0 0,0 1-1 0 0,-1-1 0 0 0,1 1 1 0 0,0-1-1 0 0,0 1 1 0 0,0-1-1 0 0,0 0 1 0 0,0 1-1 0 0,1-1 0 0 0,-1 1 1 0 0,0-1-1 0 0,0 0 1 0 0,0 0-22 0 0,3-6 91 0 0,-1-1 1 0 0,1 0 0 0 0,0 1 0 0 0,4-6-92 0 0,4-10 121 0 0,37-78 594 0 0,29-43-715 0 0,-56 105 85 0 0,85-142 107 0 0,-77 134-192 0 0,2 1 0 0 0</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38.552"/>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0 5333 4520 0 0,'0'0'201'0'0,"0"-15"1295"0"0,5-25 861 0 0,-2 26-1690 0 0,0 0 0 0 0,1 0-1 0 0,4-11-666 0 0,2-6 764 0 0,-5 18-577 0 0,1 1 0 0 0,0-1-1 0 0,1 1 1 0 0,0 0 0 0 0,6-7-187 0 0,13-22 260 0 0,34-82 238 0 0,83-180-240 0 0,-87 180-209 0 0,18-44 30 0 0,-19 46-7 0 0,48-80-72 0 0,-83 162-5 0 0,0-8 5 0 0,13-26 309 0 0,-13 32-225 0 0,6-11 72 0 0,15-21-156 0 0,66-119 0 0 0,-52 88 0 0 0,29-61 13 0 0,29-68 317 0 0,-23 47 301 0 0,163-278-56 0 0,-122 241-426 0 0,-82 141-39 0 0,-3 7-44 0 0,5-19-66 0 0,-1 3-367 0 0,-6 14 416 0 0,28-45 673 0 0,-17 20-641 0 0,4 3 0 0 0,15-13-81 0 0,-59 88 29 0 0,12-26-29 0 0,-4 9 41 0 0,59-112 408 0 0,-51 87-279 0 0,-18 40-86 0 0,6-16-84 0 0,-9 16 37 0 0,2 0 0 0 0,3-1-37 0 0,14-24 14 0 0,49-79 130 0 0,-75 125-66 0 0,-1 0 0 0 0,0-1 0 0 0,1 1 0 0 0,0-4-78 0 0,-2 4 26 0 0,1 0 1 0 0,0 0 0 0 0,0 0-1 0 0,1 0 1 0 0,2-4-27 0 0,-3 6-4 0 0,0 0 0 0 0,0 0 0 0 0,0 0 0 0 0,-1 0-1 0 0,1 0 1 0 0,-1 0 0 0 0,0 0 0 0 0,0-1 0 0 0,0 1 0 0 0,0-2 4 0 0,0 2-24 0 0,0 1 1 0 0,0-1-1 0 0,0 1 0 0 0,0-1 1 0 0,1 1-1 0 0,-1 0 1 0 0,1-1-1 0 0,-1 1 1 0 0,1 0-1 0 0,0 0 0 0 0,0 0 24 0 0,1-1-25 0 0,-1 0 0 0 0,0 0 0 0 0,1 0 0 0 0,-1 0 0 0 0,0-1 0 0 0,0 0 25 0 0,0-1 0 0 0,1 1 0 0 0,0-1 0 0 0,0 1 0 0 0,0 0 0 0 0,0 0 0 0 0,1-1 0 0 0,-1 1 0 0 0,0 0 0 0 0,0-1 0 0 0,0 0 0 0 0,0-1 0 0 0,1-3 0 0 0,1 1 0 0 0,0-1 0 0 0,3-2 0 0 0,10-17 0 0 0,11-11 0 0 0,-21 27 0 0 0,-5 9 0 0 0,-1-1 0 0 0,1 1 0 0 0,-1-1 0 0 0,0 1 0 0 0,0-1 0 0 0,1-2 0 0 0,26-46 0 0 0,7-2 0 0 0,-26 38 0 0 0,1 1 0 0 0,0 0 0 0 0,1 1 0 0 0,-7 6 18 0 0,-6 8-16 0 0,1 0-1 0 0,0-1 0 0 0,0 1 1 0 0,0-1-1 0 0,0 1 0 0 0,1 0 1 0 0,-1-1-1 0 0,0 1 1 0 0,0-1-1 0 0,0 1 0 0 0,0 0 1 0 0,0-1-1 0 0,0 1 0 0 0,1-1 1 0 0,-1 1-1 0 0,0 0 0 0 0,0-1 1 0 0,0 1-1 0 0,1 0 1 0 0,-1-1-1 0 0,0 1 0 0 0,1 0 1 0 0,-1 0-1 0 0,0-1 0 0 0,1 1 1 0 0,-1 0-2 0 0,8-15 13 0 0,-7 13-13 0 0,0-1-1 0 0,0 1 1 0 0,0 0 0 0 0,1-1-1 0 0,-1 1 1 0 0,1 0 0 0 0,0 0-1 0 0,0-1 1 0 0,21-28 0 0 0,-18 24 0 0 0,-2 3-17 0 0,-3 3-64 0 0,0 1 5 0 0,0 0-50 0 0,0 2-250 0 0,-3 8-110 0 0,-1 0-23 0 0</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47.040"/>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0 5342 920 0 0,'-1'-1'167'0'0,"0"-1"1"0"0,0 1-1 0 0,0 0 0 0 0,0 0 0 0 0,0-1 1 0 0,1 1-1 0 0,-1-1 0 0 0,0 1 1 0 0,1-1-1 0 0,0 1 0 0 0,-1-1 0 0 0,1 1 1 0 0,0-1-1 0 0,0 1 0 0 0,-1-1 1 0 0,1 0-168 0 0,1-16 3275 0 0,5-6-1338 0 0,0 0-235 0 0,0 1 0 0 0,8-18-1702 0 0,-6 18 534 0 0,-6 17-375 0 0,1-1 1 0 0,-1 1-1 0 0,1 0 0 0 0,0-1 1 0 0,1 1-160 0 0,13-23 674 0 0,-2 0 0 0 0,2-7-674 0 0,0 0 492 0 0,8-9-492 0 0,-18 31 90 0 0,0-1 0 0 0,2-6-90 0 0,-3 5 86 0 0,1 0 0 0 0,3-3-86 0 0,25-47 343 0 0,-1-4-343 0 0,-5 8 37 0 0,-15 32 8 0 0,3-6 21 0 0,2 0 0 0 0,5-3-66 0 0,-16 25 30 0 0,-1-1 0 0 0,0 0 0 0 0,-1 0 1 0 0,0-1-31 0 0,0 0 48 0 0,1 0 1 0 0,0 1-1 0 0,0 0 0 0 0,2 0-48 0 0,136-196 224 0 0,-91 129-160 0 0,-44 65-64 0 0,1-1 0 0 0,5-13 0 0 0,3-7 0 0 0,30-54 64 0 0,-32 53 137 0 0,1-6-201 0 0,1-1 111 0 0,-16 39-85 0 0,38-93 304 0 0,5 2 0 0 0,30-44-330 0 0,-36 68 49 0 0,-27 48-26 0 0,1 1-1 0 0,0 1 0 0 0,2 0 0 0 0,9-9-22 0 0,-20 26 0 0 0,-1 1 0 0 0,1-1 0 0 0,-1 0 0 0 0,-1 0 0 0 0,2-3 0 0 0,14-24 0 0 0,98-155 64 0 0,-28 46-20 0 0,-39 58-24 0 0,39-73-20 0 0,-60 106 0 0 0,12-32 0 0 0,-18 35 0 0 0,5 1-2 0 0,-18 32 8 0 0,-1 0 1 0 0,2-5-7 0 0,10-21 60 0 0,2 1 0 0 0,10-12-60 0 0,28-51 69 0 0,70-132-15 0 0,-86 144-44 0 0,-13 24-10 0 0,-27 56 17 0 0,1 0 0 0 0,8-11-17 0 0,9-21 30 0 0,0-6 28 0 0,19-27-58 0 0,-25 47 6 0 0,-8 15-6 0 0,2 0 0 0 0,-1 1 0 0 0,12-12 0 0 0,10-13 0 0 0,-25 28 12 0 0,0 0-1 0 0,-1-1 1 0 0,5-11-12 0 0,-6 10 10 0 0,1 0 0 0 0,1 1-1 0 0,1-2-9 0 0,7-10 28 0 0,-2 0 0 0 0,3-8-28 0 0,-2 4 62 0 0,10-15-62 0 0,82-142 127 0 0,-82 141-116 0 0,-6 5-13 0 0,-14 28 6 0 0,2-1 1 0 0,-1 1-1 0 0,3-2-4 0 0,18-35 39 0 0,-8 12-25 0 0,-1-1-14 0 0,11-38 0 0 0,-21 58 21 0 0,-6 14-15 0 0,0 0 0 0 0,1 0 0 0 0,-1 0 1 0 0,1 0-1 0 0,-1 0 0 0 0,1 1 0 0 0,2-3-6 0 0,-2 1 0 0 0,1 1 0 0 0,-1-1 0 0 0,0 0 0 0 0,0 0 0 0 0,0 0 0 0 0,-1 0 0 0 0,1-1 0 0 0,6-14 0 0 0,29-61 0 0 0,-28 54 0 0 0,-7 16 0 0 0,10-34 0 0 0,-5 26 22 0 0,0 0-1 0 0,1 0 0 0 0,7-11-21 0 0,-8 20 0 0 0,-7 8 0 0 0,1 0 0 0 0,0 0 0 0 0,0-1 0 0 0,0 1 0 0 0,-1 0 0 0 0,1 0 0 0 0,-1-1 0 0 0,1 1 0 0 0,-1 0 0 0 0,1 0 0 0 0,-1-2 0 0 0,0 3 0 0 0,0-1 0 0 0,1 0 0 0 0,-1 1 0 0 0,0-1 0 0 0,0 1 0 0 0,0-1 0 0 0,1 1 0 0 0,-1-1 0 0 0,0 1 0 0 0,1-1 0 0 0,-1 1 0 0 0,0-1 0 0 0,1 1 0 0 0,-1-1 0 0 0,1 1 0 0 0,-1-1 0 0 0,1 1 0 0 0,-1 0 0 0 0,1-1 0 0 0,-1 1 0 0 0,1-1 0 0 0,-1 1 0 0 0,1 0 0 0 0,-1-1 0 0 0,0 1 0 0 0,1-1 0 0 0,-1 1 0 0 0,0-1 0 0 0,1 1 0 0 0,-1-1 0 0 0,0 1 0 0 0,0-1 0 0 0,1 1 0 0 0,-1-1 0 0 0,0 0 0 0 0,0 1 0 0 0,0-1 0 0 0,0 1 0 0 0,0-1 0 0 0,0 0 0 0 0,0 1 0 0 0,0-1 0 0 0,0 0 0 0 0,0 1 0 0 0,0-1 0 0 0,1 1 0 0 0,-1-1 0 0 0,0 1 0 0 0,0-1 0 0 0,1 0 0 0 0,-1 1 0 0 0,0-1 0 0 0,0 1 0 0 0,1-1 0 0 0,-1 1 0 0 0,1-1 0 0 0,-1 1 0 0 0,0 0 0 0 0,1-1 0 0 0,-1 1 0 0 0,1-1 0 0 0,-1 1 0 0 0,1 0 0 0 0,3-4 0 0 0,2-14 0 0 0,-6 16 0 0 0,0-1 0 0 0,10-7 0 0 0,40-20 0 0 0,-42 24 0 0 0,0 3 0 0 0,16 0-26 0 0,-17 2 15 0 0,0 0-1 0 0,0 0 1 0 0,0-1-1 0 0,6-2 12 0 0,-13 4 0 0 0,1 0 0 0 0,0-1 0 0 0,-1 1 0 0 0,1 0 0 0 0,0-1 0 0 0,-1 1 0 0 0,1 0 0 0 0,0 0 0 0 0,-1 0 0 0 0,1-1 0 0 0,0 1 0 0 0,0 0 0 0 0,-1 0 0 0 0,1 0 0 0 0,0 0 0 0 0,0 0 0 0 0,-1 1 0 0 0,1-1 0 0 0,0 0 0 0 0,-1 0 0 0 0,2 0 0 0 0,11 5 0 0 0,0-4 0 0 0,-9-2 0 0 0,0 1 0 0 0,0 0 0 0 0,0 0 0 0 0,-1 0 0 0 0,1 1 0 0 0,0 0 0 0 0,18 4 0 0 0,-3-3 0 0 0,-4-3 0 0 0,-13 2 0 0 0,2 2 0 0 0,19 5 0 0 0,-1 2 0 0 0,-19-8 0 0 0,24 4 0 0 0,-5-3 0 0 0,26 0 0 0 0,-9-2 0 0 0,-36-2 0 0 0,9 3 0 0 0,-5-1 0 0 0,-4-1 10 0 0,14 5 34 0 0,-9-2-34 0 0,-4 2-10 0 0,0 5 0 0 0,-3 0 0 0 0,3-1 0 0 0,2 6 0 0 0,-7-10 0 0 0,1-2 0 0 0,0 17 0 0 0,0-14 0 0 0,1 0 0 0 0,-1-1 0 0 0,-1 1 0 0 0,1 0 0 0 0,-1 0 0 0 0,0 0 0 0 0,-1 0 0 0 0,1-1 0 0 0,-1 1 0 0 0,0 0 0 0 0,-15 49 0 0 0,13-40-2 0 0,2-10 5 0 0,1-1-1 0 0,-1 1 1 0 0,1-1 0 0 0,-1 0-1 0 0,-2 3-2 0 0,-9 16 18 0 0,1-1 0 0 0,2 2-1 0 0,-8 21-17 0 0,2-8 0 0 0,0-1 0 0 0,11-22 39 0 0,0-1 0 0 0,-8 11-39 0 0,-5 15 50 0 0,1-1-96 0 0,-13 19 46 0 0,4-8-18 0 0,14-27 18 0 0,8-16 0 0 0,0 1 0 0 0,0-1 0 0 0,1 1 0 0 0,0 0 0 0 0,0 1 0 0 0,0 1 0 0 0,-1 0 0 0 0,-1 1 0 0 0,1-2 0 0 0,-3 3 0 0 0,-6 13 0 0 0,9-17-1 0 0,-2 7-15 0 0,-1 0 1 0 0,-1-1-1 0 0,0 0 0 0 0,-8 9 16 0 0,10-14-13 0 0,0 0-1 0 0,1 0 0 0 0,0 1 1 0 0,0 0-1 0 0,-1 3 14 0 0,-14 25-56 0 0,14-26 33 0 0,1-1 0 0 0,0 1 0 0 0,1 0 0 0 0,0 0-1 0 0,-2 8 24 0 0,-5 16-32 0 0,-4-4 32 0 0,11-22 0 0 0,0 0 0 0 0,0 0 0 0 0,0 5 0 0 0,2-11 0 0 0,1 0 0 0 0,0 1 0 0 0,-1-1 0 0 0,1 0 0 0 0,-1 0 0 0 0,-2 3 0 0 0,2-3 0 0 0,0 0 0 0 0,1 0 0 0 0,-1 0 0 0 0,1 0 0 0 0,-1 0 0 0 0,1 0 0 0 0,-1 2 0 0 0,-1 5 5 0 0,0 0-1 0 0,-1 0 0 0 0,0 0 1 0 0,-3 3-5 0 0,-11 28 58 0 0,15-33 25 0 0,-1 7-90 0 0,-1-1-1 0 0,-1 0 0 0 0,0-1 0 0 0,-1 1 0 0 0,-4 6 8 0 0,-25 37-205 0 0,30-47 201 0 0,0 1-1 0 0,0 0 1 0 0,-3 8 4 0 0,-9 17 2 0 0,-4 7-2 0 0,15-27 0 0 0,0-1 0 0 0,-2-1 0 0 0,-4 6 0 0 0,-2 3 0 0 0,-8 17 0 0 0,-7 10 0 0 0,-56 83 0 0 0,-24 19 0 0 0,87-122 0 0 0,10-15 0 0 0,1 2 0 0 0,1-1 0 0 0,0 2 0 0 0,0 2 0 0 0,5-10 0 0 0,0 0 0 0 0,0 0 0 0 0,-3 1 0 0 0,2-1 0 0 0,0 0 0 0 0,-4 9 0 0 0,-123 237 0 0 0,52-85 0 0 0,53-123 0 0 0,9-17 0 0 0,1-1 0 0 0,10-17 0 0 0,1 1 0 0 0,-5 8 0 0 0,-27 44 0 0 0,-12 30 0 0 0,-9 4 0 0 0,39-65 0 0 0,-22 48 0 0 0,25-48 0 0 0,-10 25 0 0 0,-6 12 0 0 0,-4 10 0 0 0,11-22 0 0 0,5-18 37 0 0,-7 23-37 0 0,-11 20 27 0 0,-19 32-16 0 0,-14-2 114 0 0,-36 37-125 0 0,74-104 0 0 0,22-31 0 0 0,1 1 0 0 0,-10 19 0 0 0,-42 64 0 0 0,45-70 0 0 0,14-21 0 0 0,0-1 0 0 0,1 1 0 0 0,-1 0 0 0 0,-2 10 0 0 0,-1 1 0 0 0,0 0 0 0 0,-4 5 0 0 0,6-12 0 0 0,-3 4 0 0 0,6-12 0 0 0,1 1 0 0 0,0-1 0 0 0,0 0 0 0 0,0 1 0 0 0,0 2 0 0 0,2-3 0 0 0,-1-1 0 0 0,-1 0 0 0 0,1 1 0 0 0,-1-1 0 0 0,-1 2 0 0 0,-8 16 0 0 0,-7 16 23 0 0,10-22-2 0 0,1 1-1 0 0,-1 6-20 0 0,-13 25 0 0 0,11-26 0 0 0,-18 33 0 0 0,1 4 0 0 0,8-13 0 0 0,19-43 12 0 0,-1 0-1 0 0,0 0 0 0 0,0-1 0 0 0,0 1 0 0 0,-1-1 0 0 0,1 1-11 0 0,-1-1 18 0 0,1 0 1 0 0,0 1-1 0 0,0-1 0 0 0,0 1 0 0 0,0 0 0 0 0,1 0-18 0 0,-1 0-2 0 0,0 0-1 0 0,0-1 1 0 0,0 1-1 0 0,-1 0 1 0 0,1-1-1 0 0,-1 1 0 0 0,-3 2 3 0 0,3-2-9 0 0,0 0 0 0 0,0 0 0 0 0,0 0 0 0 0,0 0 0 0 0,1 0 0 0 0,-1 1 9 0 0,-1 2 12 0 0,0 0-1 0 0,0 0 0 0 0,0-1 1 0 0,-1 0-1 0 0,0 0 0 0 0,-6 5-11 0 0,-17 23 6 0 0,4 0-48 0 0,8-13 26 0 0,2 1 0 0 0,-9 17 16 0 0,20-36 0 0 0,2-2 0 0 0,0 0 0 0 0,1 0 0 0 0,-1 0 0 0 0,0-1 0 0 0,1 1 0 0 0,-1 0 0 0 0,1 0 0 0 0,-1 0 0 0 0,1 0 0 0 0,-1 0 0 0 0,1 0 0 0 0,0 0 0 0 0,-1 1 0 0 0,1-1 0 0 0,0 0 0 0 0,0 0 0 0 0,0 0 0 0 0,0 0 0 0 0,0 0 0 0 0,-1 4-4 0 0,0-1-1 0 0,-1 0 0 0 0,1 0 0 0 0,-1 0 1 0 0,0 0-1 0 0,0 0 0 0 0,-1 0 5 0 0,1-1-5 0 0,0 1 0 0 0,0 0 0 0 0,0 0 0 0 0,0 1 0 0 0,1-1-1 0 0,-1 1 6 0 0,-5 20 0 0 0,0-9 0 0 0,1-1 0 0 0,-1 9 0 0 0,6-23 0 0 0,1 3 0 0 0,5 6 0 0 0,-4-8 0 0 0,0 0 0 0 0,0 0 0 0 0,0 0 0 0 0,0 0 0 0 0,0-1 0 0 0,0 1 0 0 0,1 0 0 0 0,-1-1 0 0 0,1 1 0 0 0,-1-1 0 0 0,1 1 0 0 0,0-1 0 0 0,-1 0 0 0 0,1 0 0 0 0,0 0 0 0 0,0 0 0 0 0,0 0 0 0 0,0 0 0 0 0,0 0 0 0 0,0-1 0 0 0,0 1 0 0 0,0-1 0 0 0,2 1 0 0 0,13 3 0 0 0,-6-1 0 0 0,-9-2 0 0 0,0-1 0 0 0,0 0 0 0 0,0 1 0 0 0,0 0 0 0 0,0 0 0 0 0,0-1 0 0 0,0 1 0 0 0,0 0 0 0 0,-1 0 0 0 0,1 0 0 0 0,0 1 0 0 0,-1-1 0 0 0,1 0 0 0 0,66 50 0 0 0,-62-47 0 0 0,0 0 0 0 0,-1 0 0 0 0,1 0 0 0 0,3 0 0 0 0,-3 0 0 0 0,0-1 0 0 0,0 1 0 0 0,-1 0 0 0 0,2 1 0 0 0,0 1 0 0 0,0-1 0 0 0,0 0 0 0 0,1-1 0 0 0,0 1 0 0 0,0-1 0 0 0,28 16 0 0 0,-3-1 0 0 0,28 17 0 0 0,-51-30 10 0 0,25 18 44 0 0,-21-16-54 0 0,-10-7 0 0 0,0 1 0 0 0,0 0 0 0 0,0 0 0 0 0,0 1 0 0 0,0-1 0 0 0,0 1 0 0 0,-1 0 0 0 0,1 0 0 0 0,-1 0 0 0 0,2 1 0 0 0,28 16 0 0 0,-31-17 0 0 0,17 6 0 0 0,-16-8 0 0 0,24 12 75 0 0,-27-13-74 0 0,1 0 1 0 0,-1 0-1 0 0,0 0 0 0 0,1 0 1 0 0,-1 0-1 0 0,0 0 0 0 0,1 0 0 0 0,-1 0 1 0 0,0 0-1 0 0,0 0 0 0 0,1 0 1 0 0,-1 0-1 0 0,0 0 0 0 0,1 0 1 0 0,-1 0-1 0 0,0-1 0 0 0,0 1 0 0 0,1 0 1 0 0,-1 0-1 0 0,0 0 0 0 0,0 0 1 0 0,1-1-1 0 0,-1 1 0 0 0,0 0 1 0 0,0 0-1 0 0,0 0 0 0 0,1-1 0 0 0,-1 1 1 0 0,0 0-1 0 0,0 0 0 0 0,0-1 1 0 0,0 1-1 0 0,0 0 0 0 0,0-1 1 0 0,0 1-1 0 0,1 0 0 0 0,-1 0 1 0 0,0-1-1 0 0,0 1 0 0 0,0 0 0 0 0,0-1-1 0 0,4-7 7 0 0,-2 4 7 0 0,1-1 0 0 0,-1 1 0 0 0,0-1 0 0 0,0 0-1 0 0,0 1 1 0 0,-1-1 0 0 0,0 0 0 0 0,0-3-14 0 0,0 3 1 0 0,0 1-1 0 0,-1-1 1 0 0,1 1 0 0 0,1 0 0 0 0,-1 0 0 0 0,1-1-1 0 0,-1 1 1 0 0,1 0 0 0 0,0 0 0 0 0,1 1 0 0 0,-1-1 0 0 0,1 0-1 0 0,0 0 0 0 0,14-22 0 0 0,-11 17 0 0 0,1 0 0 0 0,-1 0 0 0 0,-1-1 0 0 0,19-25 0 0 0,-16 23 0 0 0,0-1 0 0 0,-1 1 0 0 0,0-1 0 0 0,-1 0 0 0 0,2-6 0 0 0,15-30 0 0 0,-7 15 20 0 0,-1-1-1 0 0,5-20-19 0 0,-3 8 25 0 0,3-2-25 0 0,9-24 0 0 0,-18 48 0 0 0,5-16 0 0 0,6-16 0 0 0,6-23 0 0 0,8-22 0 0 0,-21 63 0 0 0,3-15 0 0 0,-15 41 0 0 0,5-10 0 0 0,0 0 0 0 0,6-8 0 0 0,-7 14 0 0 0,1 0 0 0 0,-1 1 0 0 0,2 0 0 0 0,0 0 0 0 0,3-2 0 0 0,-6 10 0 0 0,-1-1 0 0 0,0 0 0 0 0,1-2 0 0 0,13-22 0 0 0,-9 17 0 0 0,0-2 0 0 0,-1 0 0 0 0,-1 0 0 0 0,4-13 0 0 0,-2 6 0 0 0,13-24 0 0 0,9-14 0 0 0,-12 24 0 0 0,20-29 0 0 0,-22 37 0 0 0,-1 0 0 0 0,5-15 0 0 0,15-28 0 0 0,37-56 0 0 0,-30 36 0 0 0,-26 54 0 0 0,-12 25 0 0 0,1 0 0 0 0,4-5 0 0 0,-8 13 0 0 0,0 1 0 0 0,0-1 0 0 0,0 0 0 0 0,0-5 0 0 0,8-18 0 0 0,64-129 60 0 0,-68 147-41 0 0,0 0 0 0 0,1 1 0 0 0,1-2-19 0 0,12-17 19 0 0,8-15-5 0 0,-12 21 17 0 0,-2-1-1 0 0,10-23-30 0 0,-18 35 20 0 0,0 1-1 0 0,9-11-19 0 0,6-13 14 0 0,12-20-14 0 0,-15 24 0 0 0,15-32 0 0 0,18-34 64 0 0,54-121 144 0 0,-77 158-167 0 0,19-44 78 0 0,-20 50-39 0 0,-2 1-80 0 0,-11 27 0 0 0,2-5 0 0 0,-9 14 1 0 0,1-1-1 0 0,1 2 1 0 0,0-1-1 0 0,1 2 0 0 0,15-25-14 0 0,-1 3-12 0 0,-18 30 21 0 0,-1 0 0 0 0,-1 0 0 0 0,0-1 1 0 0,0 0-1 0 0,0 0 0 0 0,-1 0 0 0 0,2-9 5 0 0,-3 11 0 0 0,0-1 0 0 0,0 1-1 0 0,0 0 1 0 0,1 0-1 0 0,5-6 1 0 0,7-15 13 0 0,1-2 41 0 0,-10 18-37 0 0,0-1 1 0 0,-1 1 0 0 0,0-2-18 0 0,2-6 12 0 0,11-18-12 0 0,-4 9-2 0 0,-10 17 2 0 0,64-124 0 0 0,-41 88 0 0 0,-17 31 25 0 0,0-1 1 0 0,1-6-26 0 0,2 0 13 0 0,-5 7-13 0 0,-7 11 0 0 0,2 0 0 0 0,-1 1 0 0 0,1-1 0 0 0,3-4 0 0 0,-3 5 0 0 0,-1 1 0 0 0,0-1 0 0 0,0 0 0 0 0,0 0 0 0 0,-1 0 0 0 0,1 0 0 0 0,9-19 0 0 0,2 2 0 0 0,8-20 0 0 0,-7 11 0 0 0,-1-5 0 0 0,-7 12 0 0 0,-6 19 0 0 0,0 1 0 0 0,0-1 0 0 0,1 0 0 0 0,-1 1 0 0 0,1-1 0 0 0,0 1 0 0 0,1-1 0 0 0,19-35 0 0 0,-16 29 0 0 0,0 0 0 0 0,0 0 0 0 0,1 1 0 0 0,3-3 0 0 0,-5 7 0 0 0,0-1 0 0 0,0 0 0 0 0,0 1 0 0 0,-1-1 0 0 0,0-1 0 0 0,0 1 0 0 0,0-1 0 0 0,0-2 0 0 0,4-10 0 0 0,-5 16 0 0 0,-1 0 0 0 0,-1 1 0 0 0,1-1 0 0 0,0 0 0 0 0,-1 0 0 0 0,0 0 0 0 0,1-4 0 0 0,-1 3 0 0 0,1-1 0 0 0,0 1 0 0 0,1 0 0 0 0,-1 0 0 0 0,1 0 0 0 0,0 0 0 0 0,1 0 0 0 0,7-15 0 0 0,2-4 0 0 0,32-56 0 0 0,-42 72 5 0 0,-1 5 1 0 0,-1 0-1 0 0,0 0 0 0 0,0-1 1 0 0,0 1-1 0 0,0-1 0 0 0,0 1 1 0 0,-1 0-1 0 0,0-1 1 0 0,0 1-1 0 0,0-1 0 0 0,0-2-5 0 0,0 4 0 0 0,0 1 0 0 0,0 0 0 0 0,0 0 0 0 0,1 0 0 0 0,-1 0 0 0 0,0 0 0 0 0,1 0 0 0 0,-1 0 0 0 0,0-1 0 0 0,1 1 0 0 0,-1 0 0 0 0,2 0 0 0 0,-2 0 0 0 0,0 1 0 0 0,0 0 0 0 0,1-1 0 0 0,-1 1 0 0 0,0 0 0 0 0,0-1 0 0 0,1 1 0 0 0,-1 0 0 0 0,0-1 0 0 0,0 1 0 0 0,0 0 0 0 0,1-1 0 0 0,-1 1 0 0 0,0-1 0 0 0,0 1 0 0 0,0-1 0 0 0,0 1 0 0 0,0 0 0 0 0,0-1 0 0 0,0 1 0 0 0,0-1 0 0 0,0 1 0 0 0,0 0 0 0 0,0-1 0 0 0,0 1 0 0 0,0-1 0 0 0,-1 1 0 0 0,1 0 0 0 0,0-1 0 0 0,0 1 0 0 0,0-1 0 0 0,0 1 0 0 0,-1-1 0 0 0,0-3 0 0 0,6-7 0 0 0,-4 10 0 0 0,0-1 0 0 0,0 0 0 0 0,0 0 0 0 0,-1 0 0 0 0,1 0 0 0 0,-1 0 0 0 0,1 0 0 0 0,-1 0 0 0 0,0 0 0 0 0,1 0 0 0 0,-2 1 0 0 0,1 1 0 0 0,0-1 0 0 0,0 1 0 0 0,0-1 0 0 0,0 1 0 0 0,0-1 0 0 0,0 1 0 0 0,0-1 0 0 0,0 1 0 0 0,0-1 0 0 0,0 1 0 0 0,0-1 0 0 0,1 1 0 0 0,-1-1 0 0 0,0 1 0 0 0,0-1 0 0 0,0 1 0 0 0,1-1 0 0 0,-1 1 0 0 0,0-1 0 0 0,0 1 0 0 0,1 0 0 0 0,-1-1 0 0 0,0 1 0 0 0,1-1 0 0 0,-1 1 0 0 0,1 0 0 0 0,-1-1 0 0 0,2 0 0 0 0,-1-2 0 0 0,1 0 0 0 0,-1-1 0 0 0,0 1 0 0 0,0 0 0 0 0,-1-1 0 0 0,1-1 0 0 0,6-24 0 0 0,-6 18 0 0 0,-2 9 0 0 0,4-14 0 0 0,-2 4 0 0 0,2-1 0 0 0,-3 10 0 0 0,2-9 0 0 0,1 3-27 0 0,-1 12-40 0 0,-3 22-106 0 0,1-4 88 0 0,4 16-43 0 0,-1 23 128 0 0,-2-54 0 0 0,-1 1 0 0 0,1-1 0 0 0,0 0 0 0 0,1 0 0 0 0,0 0 0 0 0,3 15 0 0 0,5 23-10 0 0,-10-38-8 0 0,2 0-6 0 0,15 18 12 0 0,-11-16 12 0 0,-1 0 0 0 0,0 1 0 0 0,1 2 0 0 0,5 11 0 0 0,-5-11-14 0 0,-2 0 0 0 0,1 1-1 0 0,-1-1 1 0 0,0 6 14 0 0,1 0-7 0 0,-1-4 7 0 0,0 1 0 0 0,0 0 0 0 0,1 13 0 0 0,7 14 0 0 0,-10-27 0 0 0,0 0 0 0 0,0 0 0 0 0,1 0 0 0 0,1-1 0 0 0,0 1 0 0 0,1-1 0 0 0,4 7 0 0 0,16 40 0 0 0,-18-43 0 0 0,0 1 0 0 0,-1 2 0 0 0,2 4 0 0 0,0 9 25 0 0,-6-25-17 0 0,-1-1 0 0 0,1 0 0 0 0,1 1-1 0 0,-1-1 1 0 0,2 1-8 0 0,11 27-30 0 0,-1 1-1 0 0,3 14 31 0 0,-10-30-3 0 0,3 7 3 0 0,12 22 0 0 0,7 15 0 0 0,15 51 64 0 0,-24-68-64 0 0,-10-14-9 0 0,-5-18-13 0 0,0 1 0 0 0,7 12 22 0 0,-6-14 6 0 0,-1 0 0 0 0,0 0-1 0 0,1 7-5 0 0,-3-8 9 0 0,1 1 0 0 0,1-1 0 0 0,0 0 0 0 0,1 0-9 0 0,-2-5-9 0 0,-1 0 0 0 0,0 0 0 0 0,1 7 9 0 0,-2-7-8 0 0,1-1 1 0 0,-1 0 0 0 0,1 0 0 0 0,0 0-1 0 0,3 5 8 0 0,2 1 0 0 0,-1 0 0 0 0,0 1 0 0 0,-1 0 0 0 0,3 11 0 0 0,0 11 0 0 0,2 16 0 0 0,-1-21 0 0 0,-7-24 0 0 0,-1-1 0 0 0,0 1 0 0 0,0 0 0 0 0,-1 0 0 0 0,0 0 0 0 0,2 8 0 0 0,0 0 0 0 0,1 0 0 0 0,4 10 0 0 0,2 10 0 0 0,18 41 0 0 0,-26-69 0 0 0,3 11 0 0 0,1-1 0 0 0,5 12 0 0 0,2 15 0 0 0,3 10 0 0 0,-12-41 0 0 0,-1 1 0 0 0,0-1 0 0 0,0 7 0 0 0,0 3 11 0 0,14 68 42 0 0,-5-47-53 0 0,-8-33 0 0 0,-1-1 0 0 0,0 1 0 0 0,0 3 0 0 0,12 43 0 0 0,-10-41 0 0 0,-1 0 0 0 0,2-1 0 0 0,3 7 0 0 0,4 17 0 0 0,-8-25 0 0 0,2 6 0 0 0,-2-7 0 0 0,-3-9 0 0 0,-1 0 0 0 0,0 0 0 0 0,1 0 0 0 0,0 0 0 0 0,1 3 0 0 0,6 25 11 0 0,-8-28-7 0 0,0-1-1 0 0,0 1 1 0 0,1 0 0 0 0,-1-1-1 0 0,1 1 1 0 0,0-1 0 0 0,0 1-1 0 0,0-1 1 0 0,0 0-1 0 0,1 1-3 0 0,3 4 5 0 0,0 0-1 0 0,-1 1 0 0 0,0-1 0 0 0,3 7-4 0 0,3 12-344 0 0,-9-24 208 0 0,0 10 216 0 0,-2-12-70 0 0,4 24 347 0 0,-7-9-660 0 0,2-14 189 0 0,1 0 188 0 0,-1 2-31 0 0,0 0-1 0 0,0-1 1 0 0,0 1-1 0 0,0 0 1 0 0,-1 0-1 0 0,1-1 1 0 0,-1 1-1 0 0,0-1 1 0 0,0 1 0 0 0,0-1-1 0 0,-1 0 1 0 0,1 0-1 0 0,-2 1-42 0 0,-8 13 87 0 0,7-10-74 0 0,-2 1 0 0 0,1-1 0 0 0,-1 0 0 0 0,1 0-1 0 0,-2-1 1 0 0,1 0 0 0 0,-1 0 0 0 0,0-1 0 0 0,0 0-1 0 0,-7 3-12 0 0,-21 17 64 0 0,-54 29-64 0 0,73-43 22 0 0,0 0-1 0 0,-12 12-21 0 0,-6 4 33 0 0,-29 28 226 0 0,31-27-27 0 0,0 2 1 0 0,2 1-1 0 0,-15 20-232 0 0,-10 18 191 0 0,30-37-81 0 0,0-1 1 0 0,-2-1-1 0 0,-6 4-110 0 0,-113 96 366 0 0,130-114-318 0 0,0 1-1 0 0,1 2-47 0 0,-23 23 49 0 0,10-11-8 0 0,1 1-1 0 0,-14 25-40 0 0,-26 29 47 0 0,4-10-23 0 0,14-16 28 0 0,-2-3 0 0 0,-21 16-52 0 0,58-60 0 0 0,-53 48 0 0 0,-73 50 0 0 0,75-62 0 0 0,0 5 0 0 0,14-12 0 0 0,-290 225 64 0 0,282-218-64 0 0,29-24 0 0 0,-1 0 0 0 0,-19 9 0 0 0,10-8 0 0 0,-19 11 0 0 0,-2 0 3 0 0,42-24 48 0 0,-28 9-41 0 0,34-13-10 0 0,-10 4 0 0 0,9-10 0 0 0,12-2 0 0 0,0 0 0 0 0,1 0 0 0 0,-1 0 0 0 0,0 0 0 0 0,0 0 0 0 0,0 0 0 0 0,1 1 0 0 0,-2 0 0 0 0,-10 5 0 0 0,-1-1 0 0 0,0 0 0 0 0,-2 0 0 0 0,-6 1 0 0 0,15-5 0 0 0,-1 1 0 0 0,0-1 0 0 0,1 0 0 0 0,-1-1 0 0 0,-9 0 0 0 0,-11 6 0 0 0,24-6 0 0 0,1 1 0 0 0,0-2 0 0 0,0 1 0 0 0,-1 0 0 0 0,1-1 0 0 0,0 0 0 0 0,0 0 0 0 0,0 0 0 0 0,-1 0 0 0 0,-2-2 0 0 0,0 2 0 0 0,5-1 0 0 0,1 1 0 0 0,0 0 0 0 0,0-1 0 0 0,0 1 0 0 0,-1-1 0 0 0,1 0 0 0 0,0 1 0 0 0,0-1 0 0 0,0 0 0 0 0,0 1 0 0 0,0-1 0 0 0,0 0 0 0 0,1 0 0 0 0,-1 0 0 0 0,0 1 0 0 0,1 0 0 0 0,0-1 0 0 0,-1 1 0 0 0,1 0 0 0 0,0 0 0 0 0,0 0 0 0 0,0-1 0 0 0,-1 1 0 0 0,1 0 0 0 0,0 0 0 0 0,0-1 0 0 0,0 1 0 0 0,-1 0 0 0 0,1-1 0 0 0,0 1 0 0 0,0 0 0 0 0,0 0 0 0 0,0-1 0 0 0,0 1 0 0 0,0 0 0 0 0,0-1 0 0 0,0 1 0 0 0,0 0 0 0 0,0-1 0 0 0,0 1 0 0 0,0 0 0 0 0,0-1 0 0 0,0 1 0 0 0,0 0 0 0 0,0-1 0 0 0,0 1 0 0 0,0 0 0 0 0,0-1 0 0 0,0 1 0 0 0,0 0 0 0 0,1 0 0 0 0,-1-1 0 0 0,0 1 0 0 0,0 0 0 0 0,0-1 0 0 0,0 1 0 0 0,1 0 0 0 0,-1 0 0 0 0,0 0 0 0 0,0-1 0 0 0,1 1 0 0 0,-1 0 0 0 0,0 0 0 0 0,1 0 0 0 0,12-23-53 0 0,-1 10 47 0 0,1-1 1 0 0,13-9 5 0 0,12-13 0 0 0,-19 16-3 0 0,-11 13-20 0 0,0-1 0 0 0,0 0 0 0 0,1-4 23 0 0,32-46 0 0 0,28-57 0 0 0,-43 69-7 0 0,70-136-50 0 0,-80 150 57 0 0,2 2 0 0 0,4-3 0 0 0,2-6 0 0 0,21-27 0 0 0,3 0 0 0 0,27-39 0 0 0,-43 56 0 0 0,46-72 0 0 0,-37 53 0 0 0,68-122 0 0 0,-34 40 0 0 0,-23 45 0 0 0,54-81 0 0 0,14-17 0 0 0,-34 53 0 0 0,-38 65 0 0 0,-2-5 0 0 0,2-7 0 0 0,-3 1 0 0 0,-28 56 0 0 0,20-51 25 0 0,15-29 14 0 0,-30 72-39 0 0,-11 23 0 0 0,1 0 0 0 0,0 1 0 0 0,15-19 0 0 0,27-37 0 0 0,-37 55 0 0 0,-2 0 0 0 0,1-4 0 0 0,14-23 0 0 0,-24 40 0 0 0,0-1 0 0 0,-1 1 0 0 0,0-1 0 0 0,-1 0 0 0 0,-1 0 0 0 0,0 0 0 0 0,1-6 0 0 0,-2 13 0 0 0,0-1 0 0 0,1 1 0 0 0,-1 0 0 0 0,2-1 0 0 0,-1 2 0 0 0,1-1 0 0 0,1-1 0 0 0,7-19 0 0 0,16-14 0 0 0,-27 37 0 0 0,7-9 0 0 0,-1 6 0 0 0,-1 0 0 0 0,3 5-10 0 0,-7 1-54 0 0,-2 0-58 0 0,1 0 0 0 0,0 1 1 0 0,-1-1-1 0 0,1 1 0 0 0,-1-1 1 0 0,1 1-1 0 0,-1-1 0 0 0,1 1 1 0 0,-1-1-1 0 0,1 1 0 0 0,-1-1 1 0 0,1 1-1 0 0,-1 0 0 0 0,1 0 122 0 0,-1-1-31 0 0,4 13-7479 0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59.261"/>
    </inkml:context>
    <inkml:brush xml:id="br0">
      <inkml:brushProperty name="width" value="0.5" units="cm"/>
      <inkml:brushProperty name="height" value="1" units="cm"/>
      <inkml:brushProperty name="color" value="#FF40FF"/>
      <inkml:brushProperty name="tip" value="rectangle"/>
      <inkml:brushProperty name="rasterOp" value="maskPen"/>
    </inkml:brush>
  </inkml:definitions>
  <inkml:trace contextRef="#ctx0" brushRef="#br0">0 946 7512 0 0,'0'0'341'0'0,"0"0"-1"0"0,2 0-219 0 0,11-7-91 0 0,-11 6 23 0 0,1 0 1 0 0,0-1-1 0 0,-1 1 0 0 0,1 0 0 0 0,0 0 0 0 0,-1 0 0 0 0,1 1 0 0 0,1-1-53 0 0,9-1 209 0 0,-1-2 0 0 0,1 1 1 0 0,0-2-1 0 0,2-1-209 0 0,35-10 47 0 0,-26 9-97 0 0,0-1 0 0 0,6-4 50 0 0,32-10-57 0 0,21-6 241 0 0,-47 14 62 0 0,0 3-1 0 0,0 1 1 0 0,33-4-246 0 0,1 8 743 0 0,-1 4 1 0 0,0 2-1 0 0,23 6-743 0 0,-74-5 55 0 0,187 0 548 0 0,-114-2-428 0 0,196-6 565 0 0,-174 6-95 0 0,0-5 0 0 0,0-5 1 0 0,6-6-646 0 0,-69 8 63 0 0,0-2 0 0 0,-2-3 1 0 0,1-1-1 0 0,-2-3 0 0 0,0-2 0 0 0,-1-2-63 0 0,-6 1 47 0 0,-1-2 0 0 0,0-1-1 0 0,24-23-46 0 0,152-139 12 0 0,-178 153 6 0 0,35-31 28 0 0,-37 30 51 0 0,-2 1 93 0 0,7-9-190 0 0,-30 31-224 0 0,-1-1 1 0 0,-1 0-1 0 0,0 0 0 0 0,-1-1 0 0 0,0 0 1 0 0,0-1 223 0 0,2-7-5600 0 0</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48.692"/>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4 1 1840 0 0,'0'0'83'0'0,"-3"0"849"0"0,2 0 2715 0 0,2 0 3785 0 0,6 9-7045 0 0,-7-8-353 0 0,1 0 0 0 0,-1 0 0 0 0,1 0 0 0 0,0 0 0 0 0,-1 0 0 0 0,1-1 0 0 0,0 1 0 0 0,0 0 0 0 0,0 0 0 0 0,0-1 0 0 0,-1 1 0 0 0,1 0 0 0 0,0-1 0 0 0,0 1 1 0 0,1-1-35 0 0,0 2 30 0 0,-1 0-11 0 0,12 5 174 0 0,5-1-35 0 0,-16-5-70 0 0,17 6 160 0 0,33 14 512 0 0,-51-21-691 0 0,1 0 16 0 0,2 0-48 0 0,0 1-34 0 0,22 9 198 0 0,2-3-66 0 0,-25-6-92 0 0,4-1-33 0 0,1 4-10 0 0,-5-1 11 0 0,3-2 42 0 0,10-2 1 0 0,-7-3-30 0 0,4 2 10 0 0,46 1-18 0 0,-39 1-16 0 0,5-3 0 0 0,-14 1 0 0 0,-5 2 0 0 0,5 2 0 0 0,-6 0 0 0 0,-4-2 0 0 0,0 1 0 0 0,0-1 0 0 0,0 0 0 0 0,0 0 0 0 0,0 1 0 0 0,0-1 0 0 0,0 0 0 0 0,0 0 0 0 0,0 0 0 0 0,0 0 0 0 0,0 0 0 0 0,0 0 0 0 0,0 0 0 0 0,0-1 0 0 0,0 1 0 0 0,0 0 0 0 0,0-1 0 0 0,0 1 0 0 0,2-1 0 0 0,-3 0-2 0 0,29 1 15 0 0,-27 0 30 0 0,2 2-33 0 0,6-1-10 0 0,-1 3 0 0 0,-4-1 0 0 0,2-3 0 0 0,2 1 0 0 0,2 1 0 0 0,-2 2 0 0 0,-1-1 0 0 0,1-2 0 0 0,1 4 0 0 0,-8-5 0 0 0,13-5 0 0 0,-6 5 0 0 0,-1 0 0 0 0,0 0 0 0 0,1 0 0 0 0,1 0 0 0 0,0-1 0 0 0,-4-1 15 0 0,-4 1-384 0 0,5-1 1094 0 0,-6 0-5707 0 0,-1 2-414 0 0</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54.114"/>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12 4 6448 0 0,'0'0'141'0'0,"0"0"23"0"0,0 0 13 0 0,0 0 55 0 0,-1-1 238 0 0,-2 1-264 0 0,-2-2 61 0 0,3 2 678 0 0,1 0-627 0 0,1 0-72 0 0,0 0-12 0 0,0 0 15 0 0,0 0 72 0 0,0 0 30 0 0,0 0 8 0 0,0 0-6 0 0,0 0-29 0 0,0 0-17 0 0,0 0-3 0 0,0 0-14 0 0,0 0-56 0 0,0 0-30 0 0,0 0-4 0 0,0 0-2 0 0,0 0-4 0 0,0 0-2 0 0,0 0 0 0 0,0 0 4 0 0,0 0 16 0 0,0 0 4 0 0,0 0 0 0 0,0 0-10 0 0,0 0-36 0 0,0 0-12 0 0,0 0-4 0 0,0 0-6 0 0,0 0-16 0 0,0 0-4 0 0,0 0 0 0 0,0 0-4 0 0,0 0-18 0 0,16 2 194 0 0,-7 1-171 0 0,0 1 0 0 0,0 0 0 0 0,-1 0 0 0 0,1 1 0 0 0,0 1-129 0 0,11 7 0 0 0,1 3 0 0 0,8 3 0 0 0,1-1 143 0 0,-17-11 208 0 0,8 7-239 0 0,18 4 53 0 0,-36-17-157 0 0,-1 0-5 0 0,-1-1 1 0 0,1 1-1 0 0,-1 0 0 0 0,1 0 0 0 0,-1 0 1 0 0,0 0-1 0 0,1 0 0 0 0,-1 0 0 0 0,0 0 1 0 0,0 1-1 0 0,0-1 0 0 0,0 0 0 0 0,0 1 0 0 0,1 0-3 0 0,6 8-182 0 0,0-1 0 0 0,1-1 0 0 0,0 0 0 0 0,5 3 182 0 0,3-2 0 0 0,-12-6 0 0 0,18 12 0 0 0,21 13 268 0 0,-24-16 6 0 0,-1 2 0 0 0,11 8-274 0 0,-21-13 0 0 0,-1 3 0 0 0,29 24-577 0 0,-33-31 661 0 0,1-1 0 0 0,-1 0 0 0 0,1-1 0 0 0,0 1-1 0 0,5 2-83 0 0,5 4 158 0 0,37 24-158 0 0,63 48-2 0 0,-101-73-276 0 0,-11-8 244 0 0,-1 0-1 0 0,0 0 1 0 0,0 0 0 0 0,0 1-1 0 0,0-1 1 0 0,0 1-1 0 0,-1 0 1 0 0,1-1 0 0 0,0 1-1 0 0,-1 0 1 0 0,1 1 34 0 0,0-1 45 0 0,-1 0 1 0 0,0 0 0 0 0,1-1-1 0 0,-1 1 1 0 0,1 0-1 0 0,-1-1 1 0 0,1 1 0 0 0,0-1-1 0 0,0 1 1 0 0,-1-1-1 0 0,1 0-45 0 0,23 17 221 0 0,-7-2-221 0 0,-1 1 0 0 0,9 12 0 0 0,2 0 0 0 0,21 14 0 0 0,-16-13 0 0 0,-25-22 0 0 0,0 0 0 0 0,1 0 0 0 0,0-1 0 0 0,1 0 0 0 0,7 4 0 0 0,-8-5 0 0 0,0 0 0 0 0,0 0 0 0 0,0 1 0 0 0,2 4 0 0 0,28 19 0 0 0,-26-22 0 0 0,-3-2 0 0 0,0 0 0 0 0,-1 1 0 0 0,0 0 0 0 0,0 0 0 0 0,-1 1 0 0 0,3 3 0 0 0,1-2 0 0 0,0 1 0 0 0,0-2 0 0 0,12 7 0 0 0,-14-9 0 0 0,19 16 0 0 0,-24-18-70 0 0,-1 0 0 0 0,1 0 0 0 0,-1 0 0 0 0,0 0 0 0 0,3 4 70 0 0,-4-3-46 0 0,1-1-1 0 0,-1 0 1 0 0,1 0-1 0 0,0-1 0 0 0,1 1 1 0 0,-1-1-1 0 0,0 0 1 0 0,2 1 46 0 0,6 3 2 0 0,0 1-1 0 0,0 1 1 0 0,-1 0 0 0 0,9 10-2 0 0,-11-10 197 0 0,5 2-24 0 0,0-1 0 0 0,0 0-1 0 0,5 2-172 0 0,-6-1 0 0 0,16 14 0 0 0,-6-5 0 0 0,-22-18 0 0 0,0-1 0 0 0,0 0 0 0 0,0 0 0 0 0,0 0 0 0 0,1 0 0 0 0,-1 0 0 0 0,0 0 0 0 0,0-1 0 0 0,1 1 0 0 0,-1 0 0 0 0,0-1 0 0 0,1 1 0 0 0,-1 0 0 0 0,0-1 0 0 0,1 0 0 0 0,7 4 0 0 0,1 3-6 0 0,0 0 0 0 0,1-1-1 0 0,0 0 1 0 0,7 3 6 0 0,-16-8-83 0 0,1 0 0 0 0,-1 0-1 0 0,0 1 1 0 0,0-1 0 0 0,0 1-1 0 0,0-1 1 0 0,0 1 0 0 0,0 0-1 0 0,1 0 84 0 0,8 8 67 0 0,2-3 79 0 0,-9-4-89 0 0,0-1-1 0 0,0 1 0 0 0,0 0 0 0 0,0 1 0 0 0,0-1 1 0 0,0 0-1 0 0,-1 1 0 0 0,0 0 0 0 0,0 0 0 0 0,1 1-56 0 0,3 2 0 0 0,1 0 0 0 0,-1 0 0 0 0,2-1 0 0 0,-1 0 0 0 0,1 0 0 0 0,0-1 0 0 0,-1 0 0 0 0,36 21 0 0 0,-25-15 0 0 0,-11-7 0 0 0,-1 1 0 0 0,0-1 0 0 0,0 1 0 0 0,3 3 0 0 0,-9-6 0 0 0,13 6 0 0 0,23 14 11 0 0,-13-4 42 0 0,-22-17-53 0 0,0-1 0 0 0,-2 2 0 0 0,17 10 0 0 0,-5-5 0 0 0,-3-3 0 0 0,0 1 0 0 0,-1 0 0 0 0,6 5 0 0 0,-9-8 0 0 0,-1 0 0 0 0,15 13 0 0 0,-16-12 6 0 0,-1 0 0 0 0,1 0-1 0 0,0-1 1 0 0,1 0-1 0 0,-1 1 1 0 0,0-1 0 0 0,1 0-1 0 0,-1-1 1 0 0,4 2-6 0 0,-6-2 3 0 0,0-1-3 0 0,0 0 1 0 0,0 1 0 0 0,0-1 0 0 0,-1 0-1 0 0,1 0 1 0 0,0 1 0 0 0,-1-1-1 0 0,1 1 1 0 0,0-1 0 0 0,-1 0-1 0 0,1 1 1 0 0,0-1 0 0 0,-1 1 0 0 0,1 0-1 0 0,-1-1 1 0 0,1 1 0 0 0,-1-1-1 0 0,1 1 1 0 0,-1 0-1 0 0,1 1 0 0 0,0-1 0 0 0,0 0-1 0 0,0 1 1 0 0,0-1 0 0 0,0 0 0 0 0,1 0 0 0 0,-1 0-1 0 0,0 0 1 0 0,0 0 0 0 0,1 0 0 0 0,-1 0-1 0 0,2 1 1 0 0,18 16 0 0 0,-18-17 0 0 0,-1 0 0 0 0,9 8 0 0 0,26 20 0 0 0,-23-16 0 0 0,-9-8 0 0 0,11 13 0 0 0,-9-8 0 0 0,-5-8 0 0 0,0 1 0 0 0,0-1 0 0 0,0 0 0 0 0,0 0 0 0 0,0 0 0 0 0,0 0 0 0 0,0 0 0 0 0,1 0 0 0 0,-1 0 0 0 0,3 1 0 0 0,-3-1 0 0 0,0 1 0 0 0,22 10 0 0 0,-15-7 0 0 0,-1 2 0 0 0,18 13 0 0 0,-16-14 0 0 0,18 5-10 0 0,-10-2-44 0 0,-7-4 54 0 0,-2-4 0 0 0,8 4 0 0 0,-6-4 0 0 0,2 4 0 0 0,-1 1 0 0 0,-9-6 0 0 0,-1-2 0 0 0,13 6 0 0 0,8 4-10 0 0,-21-8-33 0 0,-1-1 43 0 0,-1 1-1 0 0,0-1 1 0 0,1 1-1 0 0,-1-1 1 0 0,1 1 0 0 0,-1-1-1 0 0,0 1 1 0 0,1-1-1 0 0,-1 0 1 0 0,1 1 0 0 0,-1-1-1 0 0,1 0 1 0 0,0 1-1 0 0,-1-1 1 0 0,1 0 0 0 0,-1 0-1 0 0,1 1 1 0 0,0-1-1 0 0,-1 0 1 0 0,1 0 0 0 0,-1 0-1 0 0,1 0 1 0 0,0 0-1 0 0,-1 0 1 0 0,1 0 0 0 0,0 0-1 0 0,-1 0 1 0 0,1 0 0 0 0,3 0 0 0 0,5 0 0 0 0,2 4 0 0 0,-3-1 0 0 0,-6-2 0 0 0,7 2 0 0 0,0 4 0 0 0,-4-4-10 0 0,0 1-41 0 0,13 3-26 0 0,-15-6 34 0 0,5 1 22 0 0,-5-1-22 0 0,2 4 29 0 0,-4-4-44 0 0,-1-1 56 0 0,0 0 1 0 0,0 0-1 0 0,0 0 1 0 0,0 0 0 0 0,0 0-1 0 0,0 0 1 0 0,0 0-1 0 0,1 0 1 0 0,-1 0-1 0 0,0 0 1 0 0,0 0 0 0 0,0 0-1 0 0,0 1 1 0 0,0-1-1 0 0,0 0 1 0 0,0 0-1 0 0,0 0 1 0 0,0 0 0 0 0,0 0-1 0 0,0 0 1 0 0,0 0-1 0 0,0 0 1 0 0,0 0-1 0 0,0 0 1 0 0,0 0 0 0 0,1 0-1 0 0,-1 0 1 0 0,0-1-1 0 0,0 1 1 0 0,0 0-1 0 0,0 0 1 0 0,0 0 0 0 0,0 0-1 0 0,0 0 1 0 0,0 0-1 0 0,0 0 1 0 0,0 0-1 0 0,0 0 1 0 0,0 0 0 0 0,0 0-1 0 0,0 0 1 0 0,0 0-1 0 0,0 0 1 0 0,0 0-1 0 0,0 0 1 0 0,0 0 0 0 0,0 0-1 0 0,0 0 1 0 0,0 0-1 0 0,0 0 1 0 0,0 0-1 0 0,0-1 1 0 0,0 1 0 0 0,0 0-1 0 0,0 0 1 0 0,0 0-1 0 0,0 0 1 0 0,0 0-1 0 0,0 0 1 0 0,0 0 0 0 0,0 0-1 0 0,0 0 1 0 0,0 0-1 0 0,0 0 1 0 0,0 0-1 0 0,0 0 1 0 0,0 0 0 0 0,0 0 1 0 0,25 13-50 0 0,-5-2-216 0 0,-16-9 214 0 0,8 0-184 0 0,3-2 54 0 0,-12 0 129 0 0,5 2 32 0 0,-5-1-22 0 0,4-1 32 0 0,0 0 1 0 0,12 5-97 0 0,-2 0-42 0 0,-12-3 108 0 0,-5-1 28 0 0,1 2 15 0 0,18 6-14 0 0,-17-8-31 0 0,9 9 30 0 0,-8-8 14 0 0,6 4 0 0 0,0 1-1 0 0,-1 0-10 0 0,-1-2-44 0 0,-5-3 1 0 0,0 1 32 0 0,0-1-22 0 0,14 14-69 0 0,-13-13-16 0 0,-3-2-124 0 0,0-1-10 0 0,2 1 42 0 0,4 2 176 0 0,3 1 44 0 0,1-1 18 0 0,-8-2 89 0 0,-2-1 73 0 0,0 0 20 0 0,1 1-28 0 0,4 3-148 0 0,-1 0-77 0 0,-4-4 50 0 0,0 1 0 0 0,1-1 0 0 0,-1 1 0 0 0,0-1 0 0 0,1 0 0 0 0,-1 1 0 0 0,0-1 0 0 0,1 0 0 0 0,-1 0 0 0 0,1 1 0 0 0,-1-1 0 0 0,1 0 0 0 0,-1 0 0 0 0,1 0 0 0 0,-1 1 0 0 0,0-1 0 0 0,1 0 0 0 0,-1 0 0 0 0,1 0 1 0 0,-1 0-1 0 0,1 0 0 0 0,-1 0 0 0 0,1 0 0 0 0,-1 0 0 0 0,1 0 0 0 0,-1 0 0 0 0,1 0 0 0 0,0-1 3 0 0,0 1-53 0 0,-1 0-11 0 0,1 2 10 0 0,6 3 33 0 0,-5-3-22 0 0,1 4 33 0 0,5-2-1 0 0,0 2-32 0 0,-1-1 33 0 0,1 1 10 0 0,-3 1-11 0 0,-2-4-44 0 0,-2-3 55 0 0,-1 0-1 0 0,1 0 0 0 0,-1 0 1 0 0,1 0-1 0 0,0 1 1 0 0,-1-1-1 0 0,1 0 0 0 0,-1 0 1 0 0,1 1-1 0 0,-1-1 1 0 0,1 0-1 0 0,-1 1 0 0 0,1-1 1 0 0,-1 0-1 0 0,1 1 0 0 0,-1-1 1 0 0,1 1-1 0 0,-1-1 1 0 0,0 1-1 0 0,1-1 0 0 0,-1 1 1 0 0,0-1 0 0 0,2 1-72 0 0,-1 0-9 0 0,17 9-95 0 0,-16-10 94 0 0,11 13-752 0 0,5 3-1720 0 0,-16-15-1744 0 0</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5:59.279"/>
    </inkml:context>
    <inkml:brush xml:id="br0">
      <inkml:brushProperty name="width" value="0.5" units="cm"/>
      <inkml:brushProperty name="height" value="1" units="cm"/>
      <inkml:brushProperty name="color" value="#FFE18B"/>
      <inkml:brushProperty name="tip" value="rectangle"/>
      <inkml:brushProperty name="rasterOp" value="maskPen"/>
    </inkml:brush>
  </inkml:definitions>
  <inkml:trace contextRef="#ctx0" brushRef="#br0">205 1 1376 0 0,'-1'0'108'0'0,"-1"0"0"0"0,1 0-1 0 0,-1 0 1 0 0,1 0 0 0 0,0 0 0 0 0,-1 1-1 0 0,1-1 1 0 0,-1 0 0 0 0,1 1 0 0 0,0-1-1 0 0,-1 1 1 0 0,1 0 0 0 0,0-1 0 0 0,-1 1 0 0 0,1 0-1 0 0,0 0 1 0 0,0 0-108 0 0,-16 8 4582 0 0,16-8-4358 0 0,-1-1-1 0 0,0 0 0 0 0,1 1 0 0 0,-1-1 0 0 0,1 0 0 0 0,-1 0 0 0 0,1 0 0 0 0,-1 0 0 0 0,1-1 0 0 0,-1 1 0 0 0,0 0 0 0 0,1-1 0 0 0,-1 1 0 0 0,1-1 1 0 0,0 1-1 0 0,-2-2-223 0 0,2 2 130 0 0,-20 7 325 0 0,20-6-393 0 0,0-1 0 0 0,0 1 0 0 0,0-1-1 0 0,0 1 1 0 0,0-1 0 0 0,0 1 0 0 0,1-1-1 0 0,-1 1 1 0 0,0 0 0 0 0,0 0-1 0 0,1-1 1 0 0,-1 1 0 0 0,0 0 0 0 0,1 0-1 0 0,-1 0 1 0 0,1 0 0 0 0,-1 0 0 0 0,1 0-1 0 0,-1 0-61 0 0,-20 5 1892 0 0,20-6-1822 0 0,-1 0-1 0 0,2 0 16 0 0,-2 1-15 0 0,-4 4-1 0 0,5-3 16 0 0,-19 9-159 0 0,12-7 74 0 0,-3 1 0 0 0,11-4 0 0 0,-1-1 0 0 0,1 1 0 0 0,0 0 0 0 0,-1-1 0 0 0,1 1 0 0 0,-1 0 0 0 0,0-1 0 0 0,1 1 0 0 0,-1-1 0 0 0,1 1 0 0 0,-1-1 0 0 0,0 1 0 0 0,1-1 0 0 0,-1 0 0 0 0,0 1 0 0 0,0-1 0 0 0,1 0 0 0 0,-1 1 0 0 0,0-1 0 0 0,0 0 0 0 0,-6 5 32 0 0,6-4 138 0 0,0-1 127 0 0,-2 1-218 0 0,2 14 516 0 0,1-14-586 0 0,-1 1-5 0 0,7 9-7 0 0,-2-6 11 0 0,0 0-1 0 0,1-1 0 0 0,0 1 0 0 0,0-1 0 0 0,0-1 0 0 0,1 1 1 0 0,0 0-8 0 0,-5-3 3 0 0,14 2 10 0 0,-7-2-15 0 0,-8-1 1 0 0,1 0 1 0 0,-1 0 0 0 0,0 0 0 0 0,1 0 0 0 0,-1 0 0 0 0,0 1 0 0 0,1-1 0 0 0,-1 0-1 0 0,0 0 1 0 0,1 0 0 0 0,-1 0 0 0 0,0 0 0 0 0,1 0 0 0 0,-1 1 0 0 0,0-1 0 0 0,0 0-1 0 0,1 0 1 0 0,-1 0 0 0 0,0 1 0 0 0,0-1 0 0 0,1 0 0 0 0,-1 1 0 0 0,0-1 0 0 0,0 0-1 0 0,0 0 1 0 0,1 1 0 0 0,-1-1 0 0 0,0 0 0 0 0,1 2 33 0 0,8 3 192 0 0,-6-3-149 0 0,1 0 1 0 0,0 1-1 0 0,-1-1 1 0 0,1 1-1 0 0,-1-1 1 0 0,3 4-77 0 0,-6-6-11 0 0,0 0 1 0 0,1 1-1 0 0,-1-1 1 0 0,1 1-1 0 0,-1-1 1 0 0,1 0-1 0 0,-1 1 1 0 0,1-1-1 0 0,-1 0 1 0 0,1 0-1 0 0,-1 1 1 0 0,1-1-1 0 0,-1 0 1 0 0,1 0-1 0 0,-1 0 1 0 0,1 0-1 0 0,-1 0 1 0 0,1 0 10 0 0,8 4-173 0 0,-4-2 103 0 0,-3-1 63 0 0,-1 0-1 0 0,1 0 1 0 0,0 0-1 0 0,0 1 1 0 0,-1-1 0 0 0,1 0-1 0 0,-1 1 1 0 0,1-1-1 0 0,-1 1 1 0 0,0-1-1 0 0,1 1 8 0 0,0 1 0 0 0,1 0 0 0 0,1-1 0 0 0,-1 1 0 0 0,0-1 0 0 0,1 0 0 0 0,-1 0 0 0 0,1 0 0 0 0,2 0 0 0 0,-6-1 0 0 0,1-1 0 0 0,0 0 0 0 0,-1 0 0 0 0,1 0 0 0 0,-1 0 0 0 0,1 0 0 0 0,-1 0 0 0 0,1 1 0 0 0,0-1 0 0 0,-1 0 0 0 0,1 0 0 0 0,-1 1 0 0 0,1-1 0 0 0,-1 0 0 0 0,0 1 0 0 0,1-1 0 0 0,-1 1 0 0 0,1-1 0 0 0,-1 0 0 0 0,0 1 0 0 0,1-1 0 0 0,-1 1 0 0 0,0-1 0 0 0,1 1 0 0 0,0 2 0 0 0,33 14 280 0 0,-31-15-152 0 0,5 1-46 0 0,4 1-307 0 0,10 8 280 0 0,-7-3 31 0 0,40 30-308 0 0,-38-28 222 0 0,-15-9 0 0 0,15 4 0 0 0,-17-6 0 0 0,58 26 296 0 0,-31-16-502 0 0,19 9 206 0 0,-39-15 46 0 0,15 12 174 0 0,8 3-320 0 0,-3-3 150 0 0,-23-13-56 0 0,0-1-1 0 0,1 1 0 0 0,-1-1 0 0 0,0 0 1 0 0,1 0-1 0 0,-1 0 0 0 0,1 0 0 0 0,3 0 7 0 0,15 4-15 0 0,-1 0-1 0 0,0 2 0 0 0,1 1 16 0 0,6 2-13 0 0,-26-10 13 0 0,4 3 0 0 0,-1 1 0 0 0,2-1 0 0 0,-1 1 0 0 0,1-2 0 0 0,4 3 0 0 0,-2-2 0 0 0,-5-2 0 0 0,12 8 0 0 0,-17-10 0 0 0,8 6 0 0 0,1 0 0 0 0,0 0 0 0 0,0-1 0 0 0,0 0 0 0 0,1-1 0 0 0,8 3 0 0 0,7 0 0 0 0,10 4 0 0 0,1 2 0 0 0,-22-8 0 0 0,-12-5 0 0 0,0 1 0 0 0,0-1 0 0 0,-1 1 0 0 0,1 0 0 0 0,0 0 0 0 0,0 0 0 0 0,-1 0 0 0 0,1 0 0 0 0,-1 0 0 0 0,1 0 0 0 0,0 1 0 0 0,6 2 0 0 0,17 10 0 0 0,5-4 0 0 0,-13-1 0 0 0,67 24 0 0 0,-37-16 0 0 0,-41-15 0 0 0,1 1 0 0 0,-1 0 0 0 0,0 0 0 0 0,4 3 0 0 0,7 1 0 0 0,-16-7 0 0 0,0 1 0 0 0,0-1 0 0 0,0 0 0 0 0,0 0 0 0 0,0 0 0 0 0,0 1 0 0 0,-1-1 0 0 0,1 0 0 0 0,0 1 0 0 0,0-1 0 0 0,0 1 0 0 0,0-1 0 0 0,-1 1 0 0 0,1-1 0 0 0,0 1 0 0 0,0-1 0 0 0,-1 1 0 0 0,1 0 0 0 0,4 3 0 0 0,23 14 0 0 0,-23-16 0 0 0,14 8 0 0 0,10 4 0 0 0,-11-4 0 0 0,21 12 0 0 0,-20-14 0 0 0,28 16 0 0 0,-42-23 0 0 0,-3 0 0 0 0,-1-1 0 0 0,1 1 0 0 0,0 0 0 0 0,-1 0 0 0 0,1-1 0 0 0,0 1 0 0 0,-1 0 0 0 0,1 0 0 0 0,-1 1 0 0 0,0-1 0 0 0,1 0 0 0 0,-1 0 0 0 0,0 1 0 0 0,8 4 0 0 0,3-2 0 0 0,1 1 0 0 0,-1 1 0 0 0,31 14 0 0 0,-13-10 0 0 0,-26-10 0 0 0,-1 0 0 0 0,18 13 0 0 0,-6-5 14 0 0,1-1 0 0 0,0 0 0 0 0,3 0-14 0 0,1 1 12 0 0,4 2 1 0 0,16 6-16 0 0,14 2 3 0 0,-34-6 0 0 0,-3-6 0 0 0,-5-1 0 0 0,0-1 0 0 0,1 0 0 0 0,7 1 0 0 0,-1 2 0 0 0,-5-3 0 0 0,26 10 0 0 0,-36-11 0 0 0,-3-2 0 0 0,0-1 0 0 0,0 1 0 0 0,0 0 0 0 0,1-1 0 0 0,-1 1 0 0 0,0 0 0 0 0,0-1 0 0 0,0 0 0 0 0,1 1 0 0 0,-1-1 0 0 0,0 0 0 0 0,0 0 0 0 0,1 1 0 0 0,-1-1 0 0 0,0 0 0 0 0,1 0 0 0 0,17 4 0 0 0,18 6 0 0 0,-8 2 0 0 0,0-2 0 0 0,-25-8 0 0 0,1 0 0 0 0,-1 0 0 0 0,0 0 0 0 0,0 1 0 0 0,2 1 0 0 0,-5-4 0 0 0,8 6 0 0 0,-8-6 0 0 0,-1 0 0 0 0,1-1 0 0 0,0 1 0 0 0,0 0 0 0 0,-1 0 0 0 0,1 0 0 0 0,0 0 0 0 0,-1 0 0 0 0,1 0 0 0 0,0 0 0 0 0,0 0 0 0 0,-1 1 0 0 0,1-1 0 0 0,0 0 0 0 0,-1 0 0 0 0,1 1 0 0 0,0-1 0 0 0,-1 0 0 0 0,1 1 0 0 0,10 3 0 0 0,-4-1 0 0 0,-1 0 0 0 0,1 0 0 0 0,0-1 0 0 0,0 0 0 0 0,1-1 0 0 0,5 1 0 0 0,-11-2 0 0 0,1-1 0 0 0,8 8 0 0 0,-5-4 0 0 0,20 7 0 0 0,2 5 0 0 0,-13-10 15 0 0,-10-4-2 0 0,1 1-1 0 0,-1 0 0 0 0,0 0 0 0 0,4 3-12 0 0,-8-5 0 0 0,0 1 0 0 0,0-1 0 0 0,0 1 0 0 0,0-1 0 0 0,0 1 0 0 0,0-1 0 0 0,1 0 0 0 0,-1 1 0 0 0,0-1 0 0 0,0 0 0 0 0,0 0 0 0 0,0 0 0 0 0,2 0 0 0 0,21 4 0 0 0,20 7 0 0 0,-7 0 0 0 0,-16 3 0 0 0,24 8 0 0 0,-8-1 0 0 0,-36-20 0 0 0,5 1 0 0 0,26 7 0 0 0,-18-4 0 0 0,-10-5 0 0 0,11 3 0 0 0,15 7 64 0 0,-19-7-64 0 0,-2 4 0 0 0,4 1 0 0 0,-9-6 0 0 0,12 3 0 0 0,3 5 0 0 0,-15-9 0 0 0,20 13 0 0 0,-4-7 0 0 0,-16-7 0 0 0,17 14 0 0 0,8 1 0 0 0,-27-14 0 0 0,1 1 0 0 0,-1-1 0 0 0,1 0 0 0 0,0 0 0 0 0,0 0 0 0 0,0 0 0 0 0,-1 0 0 0 0,1-1 0 0 0,0 1 0 0 0,18 4 0 0 0,-11 1 0 0 0,-9-3 0 0 0,9 0 0 0 0,-7-3 0 0 0,0 1 0 0 0,1 0 0 0 0,-1 0 0 0 0,0 1 0 0 0,0-1 0 0 0,0 0 0 0 0,1 2 0 0 0,10 4 0 0 0,-5-4 0 0 0,-3 0 0 0 0,1-1 0 0 0,-1 1 0 0 0,1 0 0 0 0,0 2 0 0 0,-4-3 0 0 0,1-1 0 0 0,-1 1 0 0 0,1 0 0 0 0,-1-1 0 0 0,1 0 0 0 0,2 1 0 0 0,-2-1 0 0 0,0 0 0 0 0,-1 0 0 0 0,1 0 0 0 0,0 1 0 0 0,-1-1 0 0 0,1 1 0 0 0,-1 0 0 0 0,0 0 0 0 0,2 2 0 0 0,-5-4-1 0 0,1 1 1 0 0,-1-1-1 0 0,1 0 0 0 0,-1 1 0 0 0,1-1 0 0 0,0 1 0 0 0,-1-1 0 0 0,1 0 0 0 0,-1 1 0 0 0,1-1 0 0 0,0 0 0 0 0,-1 0 0 0 0,1 0 0 0 0,0 1 0 0 0,-1-1 0 0 0,1 0 1 0 0,1 0 5 0 0,0 0 1 0 0,0 1-1 0 0,-1 0 0 0 0,1-1 0 0 0,0 1 1 0 0,-1 0-1 0 0,1-1 0 0 0,-1 1 1 0 0,1 0-1 0 0,-1 0 0 0 0,1 0 1 0 0,-1 1-1 0 0,0-1 0 0 0,0 0 0 0 0,1 0 1 0 0,-1 1-6 0 0,3 1 226 0 0,0 0 0 0 0,0 0 0 0 0,0-1 1 0 0,0 1-1 0 0,1-1 0 0 0,2 1-226 0 0,1 1-788 0 0,-6-4 347 0 0,-1 2 291 0 0,2 2 136 0 0,0-3 9 0 0,30 10 8 0 0,-20-6-3 0 0,-12-4 0 0 0,14 7 0 0 0,5 0 0 0 0,-15-6-10 0 0,-1 1 0 0 0,1-1-1 0 0,-1 1 1 0 0,1 0 0 0 0,-1 0-1 0 0,1 2 11 0 0,-4-5-2 0 0,7 4 2 0 0,4 0 0 0 0,-2 2 0 0 0,-8-3 0 0 0,11 2 0 0 0,-3-1 0 0 0,-3 2 0 0 0,3-1 0 0 0,-1 1 0 0 0,-8-5 0 0 0,-1-1 0 0 0,1 1 0 0 0,0-1 0 0 0,-1 1 0 0 0,1 0 0 0 0,0-1 0 0 0,0 0 0 0 0,0 1 0 0 0,-1-1 0 0 0,1 1 0 0 0,0-1 0 0 0,0 0 0 0 0,0 0 0 0 0,0 1 0 0 0,0-1 0 0 0,0 0 0 0 0,0 0 0 0 0,-1 0 0 0 0,1 0 0 0 0,1 0 0 0 0,4 2 0 0 0,19 19 0 0 0,-21-17 0 0 0,10 5 0 0 0,-8-5 0 0 0,3 1-30 0 0,-6-3 18 0 0,1 0 0 0 0,-1 0 0 0 0,0 1 0 0 0,1-1 0 0 0,-1 1 0 0 0,0 0 0 0 0,1 1 12 0 0,-4-3 0 0 0,1-1-1 0 0,0 1 1 0 0,-1 0 0 0 0,1-1 0 0 0,0 1-1 0 0,0-1 1 0 0,-1 1 0 0 0,1-1 0 0 0,0 1-1 0 0,0-1 1 0 0,0 0 0 0 0,0 1 0 0 0,-1-1-1 0 0,1 0 1 0 0,0 0 0 0 0,0 0 0 0 0,0 0-2 0 0,0 1 0 0 0,-1-1 0 0 0,1 0-1 0 0,-1 0 1 0 0,1 0 0 0 0,-1 0 0 0 0,1 0 0 0 0,-1 1 0 0 0,1-1 0 0 0,-1 0 0 0 0,1 1 0 0 0,-1-1-1 0 0,0 0 1 0 0,1 1 0 0 0,-1-1 0 0 0,1 0 0 0 0,-1 1 0 0 0,0-1 0 0 0,1 1 2 0 0,-1 0-21 0 0,2 2 0 0 0,11 2-21 0 0,-6-1-1 0 0,-3-1 41 0 0,0 1 0 0 0,0 0 1 0 0,0 0-1 0 0,0-1 0 0 0,1 0 1 0 0,-1 0-1 0 0,5 3 2 0 0,10 3 1 0 0,-5 0-12 0 0,17 8 28 0 0,-24-14 84 0 0,-5-2-111 0 0,-1 0 0 0 0,1 0 0 0 0,-1 0 0 0 0,1 0 0 0 0,0 0 0 0 0,-1-1 0 0 0,1 1 0 0 0,0-1 0 0 0,-1 1 0 0 0,1-1 0 0 0,0 0 0 0 0,0 0 0 0 0,0 0 0 0 0,-1 1 0 0 0,1-2 0 0 0,0 1 0 0 0,0 0 0 0 0,-1 0-1 0 0,1-1 11 0 0,-1 2-9 0 0,0-1 0 0 0,0 0 0 0 0,0 0 0 0 0,0 1 0 0 0,-1-1 0 0 0,1 1-1 0 0,0-1 1 0 0,0 0 0 0 0,-1 1 0 0 0,1-1 0 0 0,0 1 0 0 0,0 0 0 0 0,-1-1 0 0 0,1 1 9 0 0,3 2-31 0 0,-1-1 0 0 0,1 0 0 0 0,-1 0 1 0 0,1-1-1 0 0,-1 1 0 0 0,1-1 1 0 0,2 1 30 0 0,0 4-64 0 0,15 3-50 0 0,-9 0-340 0 0,-11-7 389 0 0,1-1-1 0 0,-1 1 1 0 0,1-1-1 0 0,-1 0 1 0 0,1 0-1 0 0,-1 0 1 0 0,1 0-1 0 0,0 0 1 0 0,0 0 65 0 0,-1 0 0 0 0,0-1 0 0 0,0 0 0 0 0,0 0 0 0 0,0 1 0 0 0,0-1 0 0 0,0 0 1 0 0,0 1-1 0 0,0-1 0 0 0,-1 1 0 0 0,1 0 0 0 0,0-1 0 0 0,0 1 1 0 0,0-1-1 0 0,-1 1 0 0 0,1 0 0 0 0,0 0 0 0 0,0 0 0 0 0,-1 0-1 0 0,1 0 0 0 0,0 0 1 0 0,0 0-1 0 0,0 0 0 0 0,-1 0 0 0 0,1 0 0 0 0,0-1 0 0 0,0 1 0 0 0,0 0 0 0 0,0-1 0 0 0,0 1 1 0 0,0-1-1 0 0,1 1 0 0 0,-1-1 0 0 0,1 1 1 0 0,13 5-36 0 0,-12-6-4 0 0,0 1 0 0 0,0 1-1 0 0,0-1 1 0 0,0 0 0 0 0,0 1 0 0 0,0-1 0 0 0,-1 1 0 0 0,1 0 0 0 0,0 1 40 0 0,-1-2-67 0 0,0 1 1 0 0,0-1-1 0 0,0 1 1 0 0,0-1-1 0 0,0 0 0 0 0,1 0 1 0 0,-1 0-1 0 0,0 0 1 0 0,2 0 66 0 0,10 5-443 0 0,-1 2 45 0 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00.768"/>
    </inkml:context>
    <inkml:brush xml:id="br0">
      <inkml:brushProperty name="width" value="0.5" units="cm"/>
      <inkml:brushProperty name="height" value="1" units="cm"/>
      <inkml:brushProperty name="color" value="#FF40FF"/>
      <inkml:brushProperty name="tip" value="rectangle"/>
      <inkml:brushProperty name="rasterOp" value="maskPen"/>
    </inkml:brush>
  </inkml:definitions>
  <inkml:trace contextRef="#ctx0" brushRef="#br0">18 178 5064 0 0,'-1'-1'65'0'0,"0"0"0"0"0,0 0 0 0 0,0 0 0 0 0,-1 0 0 0 0,1 0 0 0 0,0-1 0 0 0,0 1 0 0 0,1 0 1 0 0,-1 0-1 0 0,0-1 0 0 0,0 1 0 0 0,0 0 0 0 0,1-1 0 0 0,-1 1 0 0 0,1-1 0 0 0,-1 0-65 0 0,-1-5 1219 0 0,1 6-1113 0 0,1 1 0 0 0,0-1 0 0 0,0 0 0 0 0,0 0 0 0 0,1 1 0 0 0,-1-1 0 0 0,0 0 0 0 0,0 1 0 0 0,0-1 0 0 0,0 0 1 0 0,1 1-1 0 0,-1-1 0 0 0,0 0 0 0 0,1 1 0 0 0,-1-1 0 0 0,0 1 0 0 0,1-1 0 0 0,-1 0 0 0 0,1 1 0 0 0,-1-1 0 0 0,1 1 0 0 0,-1 0 0 0 0,1-1 0 0 0,-1 1 1 0 0,1-1-107 0 0,20-15 192 0 0,-11 9 154 0 0,8-7-317 0 0,1 2-1 0 0,0 0 1 0 0,0 2-1 0 0,1 0 1 0 0,0 1-1 0 0,1 1 1 0 0,0 1-1 0 0,0 0 1 0 0,1 2-1 0 0,16-2-28 0 0,-2 3 31 0 0,-1 1 0 0 0,1 1-1 0 0,0 3 1 0 0,-1 1 0 0 0,1 1 0 0 0,12 4-31 0 0,-13 0 9 0 0,0 2-1 0 0,-1 1 1 0 0,-1 2 0 0 0,1 1 0 0 0,-2 1 0 0 0,2 3-9 0 0,9 9 55 0 0,-1 1 1 0 0,28 26-56 0 0,-70-53 0 0 0,15 11-9 0 0,0 1 0 0 0,-1 1 0 0 0,-1 0 1 0 0,0 1-1 0 0,-1 0 0 0 0,0 1 0 0 0,-1 0 0 0 0,-1 1 1 0 0,-1 0-1 0 0,0 1 0 0 0,-1 0 0 0 0,2 5 9 0 0,-2 3 123 0 0,0 1 0 0 0,-1-1 0 0 0,-2 1 0 0 0,0 0 0 0 0,-2 1-1 0 0,-1-1 1 0 0,-1 5-123 0 0,-2 35 220 0 0,-3-1-1 0 0,-3 1 0 0 0,-3-1 1 0 0,-11 36-220 0 0,12-64 58 0 0,-54 200 298 0 0,53-202-325 0 0,-34 106 5 0 0,-2-15 34 0 0,-114 301 533 0 0,51-174-297 0 0,77-181-208 0 0,6-14 85 0 0,0 11-183 0 0,11-26 114 0 0,-5 14 371 0 0,-6 33-485 0 0,-52 221 1037 0 0,42-113-604 0 0,18-85-274 0 0,9-50-90 0 0,0 40-69 0 0,4-34 13 0 0,2-7-13 0 0,3 1 0 0 0,2-1 0 0 0,3 0 0 0 0,13 57 0 0 0,-10-57-1 0 0,-5-37 4 0 0,0 1 0 0 0,2 0 0 0 0,1-1 0 0 0,3 7-3 0 0,0-8 18 0 0,-1-5 0 0 0,-2 0-1 0 0,3 12-17 0 0,2 18 16 0 0,2-2-1 0 0,3 0 0 0 0,1-1 0 0 0,2 0 0 0 0,11 16-15 0 0,-9-21 55 0 0,2-2-1 0 0,1-1 0 0 0,2 0 0 0 0,2-2 0 0 0,19 19-54 0 0,-5-13 208 0 0,32 24-208 0 0,-50-47 105 0 0,0-2-1 0 0,1 0 0 0 0,1-1 0 0 0,7 1-104 0 0,-13-7 6 0 0,13 7-44 0 0,1-2-1 0 0,0-1 1 0 0,1-1-1 0 0,10 1 39 0 0,79 18 16 0 0,-44-10 46 0 0,75 10-62 0 0,-36-17 32 0 0,0-7 1 0 0,1-4 0 0 0,0-5-1 0 0,116-18-32 0 0,-93-3 6 0 0,-1-6-1 0 0,58-22-5 0 0,40-12 245 0 0,-100 28-221 0 0,56-16-185 0 0,-86 23 320 0 0,-13 3-790 0 0,-38 7-144 0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02.140"/>
    </inkml:context>
    <inkml:brush xml:id="br0">
      <inkml:brushProperty name="width" value="0.5" units="cm"/>
      <inkml:brushProperty name="height" value="1" units="cm"/>
      <inkml:brushProperty name="color" value="#FF40FF"/>
      <inkml:brushProperty name="tip" value="rectangle"/>
      <inkml:brushProperty name="rasterOp" value="maskPen"/>
    </inkml:brush>
  </inkml:definitions>
  <inkml:trace contextRef="#ctx0" brushRef="#br0">4 2144 8144 0 0,'0'0'373'0'0,"0"0"-5"0"0,0 0-177 0 0,0 0 125 0 0,-1-2 78 0 0,0 0-341 0 0,1 1 0 0 0,-1-1 0 0 0,1 0 0 0 0,0 1 0 0 0,-1-1 0 0 0,1 0 0 0 0,0 1 0 0 0,0-1-1 0 0,0 0 1 0 0,0 1 0 0 0,1-1 0 0 0,-1 0 0 0 0,0 1 0 0 0,1-1 0 0 0,-1 0 0 0 0,1 1 0 0 0,0-1-1 0 0,-1 1 1 0 0,1-1 0 0 0,0 1 0 0 0,0-1 0 0 0,0 1 0 0 0,0 0 0 0 0,1-2-53 0 0,4-4 6 0 0,1 0 0 0 0,0 0-1 0 0,0 1 1 0 0,3-2-6 0 0,13-12 38 0 0,37-41 573 0 0,31-42-611 0 0,-32 30 1344 0 0,67-64-1344 0 0,-44 52 1262 0 0,4-12-1262 0 0,-34 30 232 0 0,-31 46-136 0 0,16-19 114 0 0,49-65 117 0 0,-31 40 33 0 0,-4-2 1 0 0,6-13-361 0 0,0-4-260 0 0,14-10 260 0 0,6-9-116 0 0,201-320 729 0 0,-190 288-547 0 0,22-40-1040 0 0,-93 145-35 0 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03.170"/>
    </inkml:context>
    <inkml:brush xml:id="br0">
      <inkml:brushProperty name="width" value="0.5" units="cm"/>
      <inkml:brushProperty name="height" value="1" units="cm"/>
      <inkml:brushProperty name="color" value="#FF40FF"/>
      <inkml:brushProperty name="tip" value="rectangle"/>
      <inkml:brushProperty name="rasterOp" value="maskPen"/>
    </inkml:brush>
  </inkml:definitions>
  <inkml:trace contextRef="#ctx0" brushRef="#br0">1 734 920 0 0,'4'-8'80'0'0,"9"-17"3072"0"0,-11 19-1752 0 0,1 0 0 0 0,0 0 1 0 0,0 0-1 0 0,3-4-1400 0 0,7-7 420 0 0,0 1 0 0 0,1 0 0 0 0,0 1 0 0 0,1 1 0 0 0,1 0 0 0 0,0 1 0 0 0,1 1 0 0 0,17-9-420 0 0,36-20 595 0 0,-4 1-251 0 0,1 3 0 0 0,2 4 0 0 0,16-4-344 0 0,-42 23 396 0 0,0 1 0 0 0,1 2 0 0 0,37-3-396 0 0,197-25 2303 0 0,93 7-2303 0 0,-89 10 360 0 0,-136 9-208 0 0,67-13-28 0 0,-110 12-93 0 0,92-17-772 0 0,191-58 741 0 0,-298 66-486 0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16.447"/>
    </inkml:context>
    <inkml:brush xml:id="br0">
      <inkml:brushProperty name="width" value="0.3" units="cm"/>
      <inkml:brushProperty name="height" value="0.6" units="cm"/>
      <inkml:brushProperty name="color" value="#EF0C4D"/>
      <inkml:brushProperty name="tip" value="rectangle"/>
      <inkml:brushProperty name="rasterOp" value="maskPen"/>
    </inkml:brush>
  </inkml:definitions>
  <inkml:trace contextRef="#ctx0" brushRef="#br0">51 271 6536 0 0,'-17'8'480'0'0,"-8"5"-166"0"0,16-5 1657 0 0,13-15-284 0 0,14-15-1003 0 0,27-28-546 0 0,-25 27 12 0 0,23-21-150 0 0,-4 8 126 0 0,-15 13 933 0 0,23-17-1059 0 0,-38 34 176 0 0,0 0-1 0 0,0 0 0 0 0,0 1 1 0 0,1 0-1 0 0,-1 1 1 0 0,1 0-1 0 0,9-2-175 0 0,-1 2 216 0 0,0 1 0 0 0,0 0 0 0 0,1 2 0 0 0,-1 0 1 0 0,1 1-1 0 0,6 1-216 0 0,6 2 194 0 0,1 1 0 0 0,-1 2 1 0 0,9 3-195 0 0,28 10 21 0 0,-39-11 8 0 0,0 2-1 0 0,0 1 1 0 0,-1 1 0 0 0,2 2-29 0 0,-15-6 3 0 0,-5-3 8 0 0,0 1 1 0 0,-1 0-1 0 0,0 0 1 0 0,0 1-1 0 0,-1 0 1 0 0,0 1-1 0 0,0 0 1 0 0,0 0-1 0 0,1 3-11 0 0,8 12 64 0 0,-1 1 0 0 0,13 25-64 0 0,-15-21 63 0 0,-1 1 0 0 0,-2 0 0 0 0,-1 1 0 0 0,-2 0 0 0 0,4 23-63 0 0,13 105 373 0 0,-20-119-211 0 0,4 47 315 0 0,-4 9-477 0 0,-3-69 17 0 0,2 104 187 0 0,-3-98-197 0 0,-1 0-1 0 0,-2 1-6 0 0,-1 31-1 0 0,1 53 1 0 0,-16 99 0 0 0,-3-61 0 0 0,5 8 0 0 0,12-103 0 0 0,-2-1 0 0 0,-3 0 0 0 0,-7 22 0 0 0,-44 159 0 0 0,50-193 0 0 0,2 7 0 0 0,-2 1 0 0 0,-10 95 0 0 0,9-62-23 0 0,3 1 0 0 0,4 0 0 0 0,4 0 0 0 0,5 4 23 0 0,-2 83-76 0 0,-4-75-216 0 0,-1-33 262 0 0,1 6 134 0 0,-1-21 82 0 0,5 32-186 0 0,-2-27-54 0 0,-2-45 21 0 0,1 0 0 0 0,0-1-1 0 0,1 1 1 0 0,1 0-1 0 0,0 0 1 0 0,1-1-1 0 0,2 9 34 0 0,2-1-94 0 0,-1 0-1 0 0,-2 0 1 0 0,0 1 94 0 0,0-2-5 0 0,1 1 0 0 0,0 0 0 0 0,3 1 5 0 0,6 18-52 0 0,-1-6-10 0 0,13 27 62 0 0,-7-24-22 0 0,2 6-41 0 0,1 0 0 0 0,21 25 63 0 0,-2-7-12 0 0,-28-39 3 0 0,1 0 1 0 0,1-1-1 0 0,1 0 1 0 0,1-1-1 0 0,0-1 0 0 0,7 5 9 0 0,8 0 0 0 0,11 10 0 0 0,-35-27 0 0 0,0-1 0 0 0,1 1 0 0 0,-1-1 0 0 0,1-1 0 0 0,0 1 0 0 0,7 1 0 0 0,26 14 0 0 0,-7 2 0 0 0,-18-11 0 0 0,1 0 0 0 0,0-2 0 0 0,9 4 0 0 0,54 25 0 0 0,-47-22 0 0 0,29 11 0 0 0,-50-22 0 0 0,0-1 0 0 0,1-1 0 0 0,-1 0 0 0 0,1-1 0 0 0,0 0 0 0 0,12-1 0 0 0,5 0-16 0 0,-1-2 0 0 0,0-1 0 0 0,0-2 0 0 0,26-5 16 0 0,13-9 0 0 0,0 3 0 0 0,1 3 0 0 0,39 0 0 0 0,-60 4 0 0 0,-15 2 0 0 0,-8 3 0 0 0,-1-1 0 0 0,0-1 0 0 0,0-1 0 0 0,0-2 0 0 0,-1 0 0 0 0,11-6 0 0 0,-4 0 0 0 0,10-6 0 0 0,-12 3 0 0 0,1 1 0 0 0,14-4 0 0 0,-39 18 0 0 0,0-1 0 0 0,0 0 0 0 0,0 0 0 0 0,0-1 0 0 0,0 0 0 0 0,0 0 0 0 0,1 0 0 0 0,-1 1 0 0 0,1-1 0 0 0,1 1 0 0 0,116-61 0 0 0,-59 27 0 0 0,-37 23 0 0 0,-2-1 0 0 0,0-1 0 0 0,-1-1 0 0 0,17-15 0 0 0,-1-5 0 0 0,-1-2 0 0 0,6-10 0 0 0,-16 17 0 0 0,-1 2 4 0 0,2 1 0 0 0,1 2-1 0 0,5-2-3 0 0,-23 17 13 0 0,0 0-1 0 0,0 0 1 0 0,9-14-13 0 0,-7 9 8 0 0,0 1-1 0 0,4-3-7 0 0,11-10 0 0 0,-2-1 0 0 0,21-30 0 0 0,-9 11 0 0 0,-28 33 0 0 0,0 0 0 0 0,0-3 0 0 0,-1 2 0 0 0,0 0 0 0 0,3-1 0 0 0,-4 5 0 0 0,-1 0 0 0 0,4-7 0 0 0,-7 9 0 0 0,1 0 0 0 0,0 1 0 0 0,1 0 0 0 0,3-3 0 0 0,27-30 0 0 0,-26 28 0 0 0,0 1 0 0 0,10-8 0 0 0,17-20 0 0 0,-12 17-3 0 0,-1 0 0 0 0,-1-2 0 0 0,-1-1 0 0 0,17-27 3 0 0,-35 46-13 0 0,-1 0-1 0 0,0-1 0 0 0,2-6 14 0 0,12-22-19 0 0,5-5 19 0 0,-17 29 0 0 0,1 1 0 0 0,0 0 0 0 0,3-3 0 0 0,3-1 0 0 0,49-70 0 0 0,-29 44 0 0 0,-11 16 0 0 0,2-1-31 0 0,-19 23 18 0 0,-1 0-1 0 0,0-1 1 0 0,0 0-1 0 0,-1 0 1 0 0,2-3 13 0 0,29-60-183 0 0,-11 19 67 0 0,-17 36 91 0 0,-1-1-1 0 0,-1 0 0 0 0,2-10 26 0 0,10-27 13 0 0,-11 36 9 0 0,-5 11-17 0 0,1 0 0 0 0,0 0 1 0 0,0 1-1 0 0,1-1 0 0 0,-1 0 0 0 0,2-1-5 0 0,40-65 72 0 0,67-67-72 0 0,-77 99-54 0 0,-23 28 13 0 0,-1-1 1 0 0,-1 0-1 0 0,7-11 41 0 0,10-11-19 0 0,-10 16 22 0 0,-10 12-11 0 0,0 0 0 0 0,0 0 0 0 0,1 1 0 0 0,0 0 0 0 0,0 0 0 0 0,0 0-1 0 0,1 1 9 0 0,6-4-29 0 0,7-7-628 0 0,-1 0 1 0 0,5-7 656 0 0,-4 3-1200 0 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17.477"/>
    </inkml:context>
    <inkml:brush xml:id="br0">
      <inkml:brushProperty name="width" value="0.3" units="cm"/>
      <inkml:brushProperty name="height" value="0.6" units="cm"/>
      <inkml:brushProperty name="color" value="#EF0C4D"/>
      <inkml:brushProperty name="tip" value="rectangle"/>
      <inkml:brushProperty name="rasterOp" value="maskPen"/>
    </inkml:brush>
  </inkml:definitions>
  <inkml:trace contextRef="#ctx0" brushRef="#br0">2 1484 5064 0 0,'0'0'389'0'0,"0"1"-250"0"0,-1 11 1325 0 0,1-11-1384 0 0,0-1 0 0 0,0 0 0 0 0,0 0 0 0 0,0 1 0 0 0,0-1 0 0 0,0 0 0 0 0,0 0 0 0 0,0 1 0 0 0,0-1 1 0 0,0 0-1 0 0,0 1 0 0 0,0-1 0 0 0,0 0 0 0 0,0 0 0 0 0,0 1 0 0 0,0-1 0 0 0,0 0 0 0 0,0 0 0 0 0,1 1 1 0 0,-1-1-1 0 0,0 0 0 0 0,0 0 0 0 0,0 0 0 0 0,0 1 0 0 0,0-1 0 0 0,1 0 0 0 0,-1 0 0 0 0,0 0 0 0 0,0 1 1 0 0,0-1-1 0 0,1 0 0 0 0,-1 0 0 0 0,0 0 0 0 0,0 0 0 0 0,0 0 0 0 0,1 0 0 0 0,-1 1 0 0 0,0-1 0 0 0,0 0 1 0 0,1 0-1 0 0,-1 0-80 0 0,1 1-364 0 0,5 1 480 0 0,0 1 0 0 0,1-1 0 0 0,-1 0 0 0 0,0 0 0 0 0,1-1 0 0 0,-1 1-1 0 0,2-1-115 0 0,49 2 233 0 0,-22-1-165 0 0,3 1 114 0 0,1 1 0 0 0,-1 3 0 0 0,0 1 0 0 0,6 3-182 0 0,38 10 262 0 0,-33-10-150 0 0,11 4 31 0 0,0-3-1 0 0,2-3 0 0 0,50 0-142 0 0,-36-9 64 0 0,55-10-64 0 0,-27 2 15 0 0,-52 3 29 0 0,39-10-44 0 0,13-1 28 0 0,-46 9 3 0 0,8-1 202 0 0,55 0-233 0 0,47 13 315 0 0,18-1 145 0 0,-133-5-269 0 0,-1-2 0 0 0,28-7-191 0 0,-20-2 24 0 0,-1-3 1 0 0,0-2-1 0 0,-1-3 0 0 0,-1-3 1 0 0,-1-2-1 0 0,-1-2 1 0 0,36-25-25 0 0,80-63 0 0 0,24-14 0 0 0,-83 53 0 0 0,-26 17 21 0 0,-2-3 0 0 0,-3-4 1 0 0,8-14-22 0 0,89-103 0 0 0,-135 138 0 0 0,-12 13 0 0 0,16-22 0 0 0,-21 20 34 0 0,-2-1 1 0 0,2-7-35 0 0,-14 22 21 0 0,-2 0 1 0 0,0-1-1 0 0,-2-1 0 0 0,6-19-21 0 0,-12 33 16 0 0,-1 0-1 0 0,0 1 0 0 0,0-1 0 0 0,0 0 1 0 0,-1 0-1 0 0,0 0 0 0 0,-1 0 1 0 0,-1-6-16 0 0,1 8 25 0 0,0 1-1 0 0,0-1 1 0 0,-1 1 0 0 0,0 0 0 0 0,0 0 0 0 0,0-1 0 0 0,-1 2-1 0 0,1-1 1 0 0,-1 0 0 0 0,0 0 0 0 0,-1 1 0 0 0,1 0 0 0 0,-1-1-25 0 0,-2-1 58 0 0,0 0 0 0 0,-1 0 0 0 0,0 0 0 0 0,0 1 0 0 0,0 0 1 0 0,-1 0-1 0 0,1 1 0 0 0,-1 0 0 0 0,0 0 0 0 0,0 1 1 0 0,-3-1-59 0 0,-51-10 460 0 0,36 9-4352 0 0,24 4 3432 0 0,-15-2-459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1:51.561"/>
    </inkml:context>
    <inkml:brush xml:id="br0">
      <inkml:brushProperty name="width" value="0.1" units="cm"/>
      <inkml:brushProperty name="height" value="0.1" units="cm"/>
    </inkml:brush>
  </inkml:definitions>
  <inkml:trace contextRef="#ctx0" brushRef="#br0">1468 1587 4608 0 0,'0'0'101'0'0,"0"0"22"0"0,0 0 5 0 0,0 0 51 0 0,0 0 212 0 0,0 0 97 0 0,0 0 22 0 0,0 0-68 0 0,0 0-220 0 0,0 0 164 0 0,0 0 102 0 0,0 0 22 0 0,0 0-33 0 0,0 0-145 0 0,0 0-63 0 0,0 0-11 0 0,0 0-4 0 0,0 0-6 0 0,0 0-6 0 0,0 0-2 0 0,0 0 5 0 0,0 0 23 0 0,0 0 11 0 0,0 0 1 0 0,0 0 1 0 0,0 0 6 0 0,0 0 1 0 0,0 0 0 0 0,0 0-6 0 0,0 0-22 0 0,0 0-10 0 0,0 0-2 0 0,0 0-10 0 0,0 0-39 0 0,0 0-20 0 0,0 0-3 0 0,0 0-3 0 0,0 0-10 0 0,0 0-3 0 0,-17 10 1279 0 0,17-9-1421 0 0,-1-1 0 0 0,1 1-1 0 0,-1-1 1 0 0,1 1 0 0 0,0-1-1 0 0,-1 0 1 0 0,0 1 0 0 0,1-1-1 0 0,-1 0 1 0 0,1 1 0 0 0,-1-1-1 0 0,1 0 1 0 0,-1 0 0 0 0,0 1-1 0 0,1-1 1 0 0,-1 0 0 0 0,1 0-1 0 0,-1 0 1 0 0,0 0 0 0 0,1 0-1 0 0,-1 0 1 0 0,0 0-18 0 0,-7 2 275 0 0,-8 8 429 0 0,16-9-637 0 0,0-1 10 0 0,-1 0-64 0 0,1 0 0 0 0,0 0 1 0 0,0 0-1 0 0,-1 0 0 0 0,1-1 0 0 0,0 1 0 0 0,0 0 0 0 0,-1 0 0 0 0,1 0 0 0 0,0 0 0 0 0,0 0 0 0 0,-1 0 0 0 0,1 0 0 0 0,0 0 0 0 0,0 0 0 0 0,-1 0 0 0 0,1 0 0 0 0,0 0 0 0 0,0 0 0 0 0,-1 0 0 0 0,1 0 0 0 0,0 1 0 0 0,0-1 0 0 0,-1 0 0 0 0,1 0 0 0 0,0 0 0 0 0,0 0 0 0 0,-1 0 0 0 0,1 1 0 0 0,0-1 0 0 0,0 0 0 0 0,0 0 0 0 0,0 0 0 0 0,-1 0 0 0 0,1 1 0 0 0,0-1 0 0 0,0 0 0 0 0,0 0 0 0 0,0 1 1 0 0,0-1-1 0 0,-1 0 0 0 0,1 0 0 0 0,0 1 0 0 0,0-1 0 0 0,0 0 0 0 0,0 1-13 0 0,0-1 11 0 0,0 0 0 0 0,0 1 1 0 0,0-1-1 0 0,0 0 0 0 0,-1 1 0 0 0,1-1 1 0 0,0 0-1 0 0,0 1 0 0 0,0-1 1 0 0,-1 0-1 0 0,1 0 0 0 0,0 1 0 0 0,0-1 1 0 0,-1 0-1 0 0,1 0 0 0 0,0 1 1 0 0,0-1-1 0 0,-1 0 0 0 0,1 0 0 0 0,0 0 1 0 0,-1 0-1 0 0,1 1 0 0 0,0-1 1 0 0,-1 0-1 0 0,1 0 0 0 0,0 0 0 0 0,-1 0-11 0 0,1 0 4 0 0,0 0 0 0 0,-1 0 0 0 0,1 0-1 0 0,0 0 1 0 0,-1 0 0 0 0,1 0-1 0 0,0 0 1 0 0,0 0 0 0 0,-1 0 0 0 0,1 0-1 0 0,0 0 1 0 0,0 0 0 0 0,-1 0-1 0 0,1 0 1 0 0,0 0 0 0 0,0 0 0 0 0,-1 0-1 0 0,1 0 1 0 0,0 0 0 0 0,0 0-1 0 0,-1 0 1 0 0,1 1 0 0 0,0-1 0 0 0,0 0-1 0 0,-1 0 1 0 0,1 0 0 0 0,0 0-1 0 0,0 1 1 0 0,0-1 0 0 0,-1 0 0 0 0,1 0-1 0 0,0 0 1 0 0,0 1 0 0 0,0-1-1 0 0,0 0 1 0 0,0 0 0 0 0,0 1-1 0 0,-1-1 1 0 0,1 0 0 0 0,0 0 0 0 0,0 1-4 0 0,-1 2 29 0 0,0-3-12 0 0,0 1-1 0 0,1-1 1 0 0,-1 1 0 0 0,0 0 0 0 0,0-1-1 0 0,1 1 1 0 0,-1 0 0 0 0,1 0 0 0 0,-1 0-1 0 0,0 0 1 0 0,1-1 0 0 0,-1 1 0 0 0,1 0 0 0 0,0 0-1 0 0,-1 0 1 0 0,1 0 0 0 0,0 0 0 0 0,0 0-1 0 0,-1 1-16 0 0,1-1 8 0 0,0 0 0 0 0,-1-1 0 0 0,1 1 0 0 0,0 0 0 0 0,-1-1 0 0 0,1 1-1 0 0,-1-1 1 0 0,1 1 0 0 0,-1-1 0 0 0,1 1 0 0 0,-1-1 0 0 0,0 1 0 0 0,1-1-1 0 0,-2 1-7 0 0,-4 6 177 0 0,-1 7 2 0 0,7-13-63 0 0,0-1 110 0 0,-13 19 430 0 0,5-8-932 0 0,7-8 264 0 0,0 0 60 0 0,-1 3-36 0 0,2-1-1 0 0,-9 19 117 0 0,9-22-115 0 0,-3 6 26 0 0,-2 0 34 0 0,1 3 11 0 0,2-7-23 0 0,3-2-61 0 0,-4 13 71 0 0,-6 6-7 0 0,8-7 11 0 0,1-12-32 0 0,-4 8-34 0 0,4-7-2 0 0,-4 9 41 0 0,1-3-38 0 0,2-1 2 0 0,2 12-68 0 0,-7 16 284 0 0,2-24-233 0 0,5 19 74 0 0,-1-16-58 0 0,1-7 32 0 0,1-2-22 0 0,-2-5-18 0 0,0-1 0 0 0,0 1-1 0 0,0-1 1 0 0,1 1 0 0 0,-1-1 0 0 0,0 0 0 0 0,0 1-1 0 0,0-1 1 0 0,0 1 0 0 0,0-1 0 0 0,0 1 0 0 0,0-1-1 0 0,0 0 1 0 0,0 1 0 0 0,0-1 0 0 0,0 1 0 0 0,-1-1-1 0 0,1 1 1 0 0,0-1-3 0 0,-3 21 54 0 0,5-9-44 0 0,-2-12-9 0 0,0 1 1 0 0,0-1-1 0 0,0 0 0 0 0,0 0 0 0 0,0 1 1 0 0,0-1-1 0 0,0 0 0 0 0,0 0 1 0 0,0 1-1 0 0,0-1 0 0 0,0 0 0 0 0,-1 0 1 0 0,1 1-1 0 0,0-1 0 0 0,0 0 0 0 0,0 0 1 0 0,0 1-1 0 0,0-1 0 0 0,0 0 1 0 0,0 0-1 0 0,-1 0 0 0 0,1 1 0 0 0,0-1 1 0 0,0 0-1 0 0,0 0 0 0 0,0 0 0 0 0,-1 0 1 0 0,1 1-1 0 0,0-1-1 0 0,-3 3 38 0 0,3-2 15 0 0,4 17 11 0 0,-4-3-60 0 0,1-6 8 0 0,-2 0 1 0 0,1 0-1 0 0,-1 0 1 0 0,-2 8-13 0 0,3-11 10 0 0,2-2-12 0 0,0 26 58 0 0,-2-5-46 0 0,0-24-10 0 0,2 17 0 0 0,3-4 0 0 0,-5-8 0 0 0,0-5 0 0 0,0 0 0 0 0,-1 0 0 0 0,1 0 0 0 0,0 0 0 0 0,0 1 0 0 0,0-1 0 0 0,0 0 0 0 0,0 0 0 0 0,0 0 0 0 0,1 1 0 0 0,-1-1 0 0 0,0 0 0 0 0,0 0 0 0 0,1 0 0 0 0,0 2 0 0 0,3 23 0 0 0,-2-15 0 0 0,7 16 0 0 0,-9-24 0 0 0,2 10 0 0 0,4 11 0 0 0,-5-16 0 0 0,0 0 0 0 0,3 2 0 0 0,0 2 0 0 0,-4-10 0 0 0,8 16 0 0 0,-5-8 0 0 0,-5-2 0 0 0,1-1 0 0 0,1 1 0 0 0,1 2 0 0 0,2-2 0 0 0,-2 0 0 0 0,2 2 0 0 0,1-1 0 0 0,0-1 0 0 0,-2 2 0 0 0,-2-10 2 0 0,0 1 0 0 0,0 0 0 0 0,0 0-1 0 0,0 0 1 0 0,0-1 0 0 0,1 1 0 0 0,-1 0 0 0 0,0 0-1 0 0,1-1 1 0 0,-1 1 0 0 0,0 0 0 0 0,1 0 0 0 0,-1-1-1 0 0,1 1 1 0 0,-1-1 0 0 0,1 1 0 0 0,0 0-2 0 0,0 13 33 0 0,0-6-33 0 0,3 2 0 0 0,-1-3 0 0 0,0 0 0 0 0,-1 6 0 0 0,7 16 0 0 0,-5-20 0 0 0,-1 0 0 0 0,-3-8 0 0 0,0 0 0 0 0,0-1 0 0 0,0 1 0 0 0,0-1 0 0 0,0 1 0 0 0,0 0 0 0 0,0-1 0 0 0,0 1 0 0 0,0-1 0 0 0,0 1 0 0 0,0 0 0 0 0,1-1 0 0 0,-1 1 0 0 0,0-1 0 0 0,0 1 0 0 0,1-1 0 0 0,-1 1 0 0 0,0-1 0 0 0,1 1 0 0 0,-1-1 0 0 0,1 1 0 0 0,-1-1 0 0 0,1 1 0 0 0,1 2 0 0 0,1 10 0 0 0,0-1 0 0 0,2-1 0 0 0,-1-3 0 0 0,5 9 0 0 0,-5-1 0 0 0,1-5 0 0 0,2 1 0 0 0,0-1 0 0 0,-1 0 0 0 0,3-2 0 0 0,1 5 0 0 0,0 0 0 0 0,-3-5 0 0 0,-1 1 0 0 0,2-2 0 0 0,-3 0 0 0 0,3-1 0 0 0,0 0 0 0 0,-3 1 0 0 0,0-1 0 0 0,2 1 0 0 0,1 0 0 0 0,-2-4 0 0 0,-1 1 0 0 0,5 8 0 0 0,-5-5 0 0 0,0-1 0 0 0,14 12 0 0 0,-13-13 0 0 0,-3 2 0 0 0,2 0 0 0 0,0-1 0 0 0,2-3 0 0 0,-2 3 0 0 0,-2-2 0 0 0,15 17 0 0 0,-9-12 0 0 0,2-4 0 0 0,-6 0 0 0 0,0 1 0 0 0,2-2 0 0 0,-2 1 0 0 0,2-1 0 0 0,-2 2 0 0 0,2-4 38 0 0,-6-3-17 0 0,-1 1 0 0 0,0-1 0 0 0,1 0 0 0 0,-1 0 0 0 0,0 1 0 0 0,1-1 0 0 0,-1 0 0 0 0,0 0 0 0 0,0 1 0 0 0,1-1 0 0 0,-1 0 0 0 0,0 1 0 0 0,0-1 0 0 0,1 0 0 0 0,-1 1 0 0 0,0-1 0 0 0,0 1 0 0 0,0-1 0 0 0,0 0 0 0 0,0 1 0 0 0,0-1 0 0 0,1 1 0 0 0,-1-1 0 0 0,0 1-21 0 0,0-1 0 0 0,0 0 1 0 0,0 1 0 0 0,0-1-1 0 0,0 1 1 0 0,0-1 0 0 0,0 0-1 0 0,0 1 1 0 0,0-1 0 0 0,1 1-1 0 0,-1-1 1 0 0,0 0 0 0 0,0 1-1 0 0,0-1 1 0 0,1 0 0 0 0,-1 1-1 0 0,0-1 1 0 0,1 0 0 0 0,-1 0-1 0 0,0 1 1 0 0,1-1 0 0 0,-1 0-1 0 0,0 0 1 0 0,1 1 0 0 0,-1-1-1 0 0,3 1 24 0 0,0 1 1 0 0,0 0 0 0 0,0-1 0 0 0,-1 1 0 0 0,1 0 0 0 0,-1 1-1 0 0,1-1 1 0 0,-1 0-25 0 0,-1-1-198 0 0,-1-1-24 0 0,0 0 222 0 0,0 0 0 0 0,0 0 0 0 0,0 0-1 0 0,0 0 1 0 0,0-1 0 0 0,1 1 0 0 0,-1 0 0 0 0,0 0-1 0 0,0 0 1 0 0,0 0 0 0 0,0 0 0 0 0,0 0-1 0 0,0 0 1 0 0,0 0 0 0 0,1 0 0 0 0,-1 0 0 0 0,0 0-1 0 0,0 0 1 0 0,0 0 0 0 0,0 0 0 0 0,0 0-1 0 0,0 0 1 0 0,1 0 0 0 0,-1 0 0 0 0,0 0 0 0 0,0 0-1 0 0,0 0 1 0 0,0 0 0 0 0,0 0 0 0 0,0 0-1 0 0,1 0 1 0 0,-1 0 0 0 0,0 0 0 0 0,0 0 0 0 0,0 0-1 0 0,0 0 1 0 0,0 0 0 0 0,0 0 0 0 0,0 0-1 0 0,0 1 1 0 0,1-1 0 0 0,-1 0 0 0 0,0 0 0 0 0,0 0-1 0 0,0 0 1 0 0,0 0 0 0 0,0 0 0 0 0,0 0-1 0 0,0 1 2 0 0,8 4 365 0 0,-7-4-302 0 0,5 5-315 0 0,-2-2 195 0 0,-1 0 0 0 0,1 0-1 0 0,0-1 1 0 0,0 0 0 0 0,0 1 0 0 0,1-2 0 0 0,0 2 56 0 0,1 1 0 0 0,-5-2 0 0 0,15 7 0 0 0,-9-6 0 0 0,-2-3 0 0 0,2 1 23 0 0,-6-1 102 0 0,0 0-78 0 0,0 1 0 0 0,0-1 0 0 0,-1 1 0 0 0,1-1 0 0 0,0 0 0 0 0,0 1 0 0 0,0-1 0 0 0,1 0 0 0 0,-1 0 0 0 0,0 0 0 0 0,0 0 0 0 0,1 0 0 0 0,-1 0 0 0 0,0 0 0 0 0,1 0-47 0 0,21 12-97 0 0,-22-12 133 0 0,24 14-58 0 0,-25-15-104 0 0,1 1 93 0 0,-1-1-1 0 0,1 1 0 0 0,0-1 0 0 0,-1 1 1 0 0,1-1-1 0 0,-1 0 0 0 0,1 1 1 0 0,0-1-1 0 0,0 0 0 0 0,-1 0 1 0 0,1 1-1 0 0,0-1 0 0 0,-1 0 0 0 0,1 0 1 0 0,0 0-1 0 0,0 0 0 0 0,-1 0 1 0 0,2 0 33 0 0,0 1 79 0 0,1 0 1 0 0,0-1-1 0 0,0 1 1 0 0,0 1-1 0 0,-1-1 1 0 0,1 0-1 0 0,0 1-79 0 0,8 2 198 0 0,-7-3-50 0 0,-2-1-230 0 0,0 1 0 0 0,1-1 0 0 0,-1 1 0 0 0,0 0 0 0 0,0 0 0 0 0,0-1 0 0 0,0 2 0 0 0,0-1 0 0 0,-1 0 0 0 0,1 0 0 0 0,1 1 82 0 0,6 5-38 0 0,-1-2 38 0 0,0-2 0 0 0,1 1 0 0 0,3 0 0 0 0,2 3 0 0 0,-3-6 0 0 0,-6-1 0 0 0,8 1 0 0 0,0 5 0 0 0,-1-2 0 0 0,0-1 0 0 0,-3 1 0 0 0,3-1 0 0 0,1-5 0 0 0,0 2 0 0 0,0 3 0 0 0,13 3 506 0 0,-22-5-436 0 0,-2-1 89 0 0,12 0-531 0 0,-4 0 77 0 0,0 0 259 0 0,1 0 26 0 0,-9 0 103 0 0,0 1 1 0 0,0-1-1 0 0,0 1 0 0 0,-1-1 1 0 0,1 1-1 0 0,0-1 1 0 0,0 1-1 0 0,0 0 1 0 0,1 0-94 0 0,-1 0-201 0 0,0 0 26 0 0,-2-1-17 0 0,0 0 16 0 0,0 0 213 0 0,1 0 1 0 0,0 0-1 0 0,0 0 1 0 0,0-1-1 0 0,-1 1 1 0 0,1 0-1 0 0,0 0 1 0 0,0 1-1 0 0,0-1 1 0 0,-1 0-1 0 0,1 0 1 0 0,0 0-1 0 0,0 0 1 0 0,-1 1-1 0 0,2-1-37 0 0,7 2-410 0 0,27 3 83 0 0,-27-2 327 0 0,2 0 0 0 0,1-2 0 0 0,-8 0 0 0 0,-3-3 0 0 0,1 2 0 0 0,0-1 0 0 0,-1 0 0 0 0,1 0 0 0 0,0 1 0 0 0,0-1 0 0 0,0 1 0 0 0,0-1 0 0 0,0 1 0 0 0,-1 0 0 0 0,1-1 0 0 0,1 1 0 0 0,5-1 0 0 0,0-2 0 0 0,0 3 0 0 0,-5 2 0 0 0,-3-2 0 0 0,1 0 0 0 0,0 1 0 0 0,-1-1 0 0 0,1 0 0 0 0,0 1 0 0 0,-1-1 0 0 0,1 0 0 0 0,0 0 0 0 0,-1 0 0 0 0,1 1 0 0 0,0-1 0 0 0,-1 0 0 0 0,1 0 0 0 0,0 0 0 0 0,0 0 0 0 0,-1 0 0 0 0,1 0 0 0 0,0-1 0 0 0,-1 1 0 0 0,2 0 0 0 0,22-1 0 0 0,-20 0 0 0 0,-2 1 0 0 0,0-1 0 0 0,0 1 0 0 0,-1-1 0 0 0,1 0 0 0 0,0 1 0 0 0,0-1 0 0 0,-1 0 0 0 0,1 0 0 0 0,-1 0 0 0 0,1 0 0 0 0,-1-1 0 0 0,1 1 0 0 0,-1 0 0 0 0,0 0 0 0 0,1-1 0 0 0,-1 1 0 0 0,0-1 0 0 0,1-1 0 0 0,0 1 0 0 0,0 0 0 0 0,0 0 0 0 0,0 0 0 0 0,1 0 0 0 0,-1 0 0 0 0,1 0 0 0 0,-1 1 0 0 0,1-1 0 0 0,-1 1 0 0 0,1 0 0 0 0,0 0 0 0 0,0 0 0 0 0,2-1 0 0 0,5-2 0 0 0,0 2 0 0 0,-8 3 0 0 0,-1 1 0 0 0,4 4 0 0 0,-3-4 0 0 0,-1-1 0 0 0,1 1 0 0 0,0 0 0 0 0,0-1 0 0 0,0 1 0 0 0,0-1 0 0 0,0 0 0 0 0,0 1 0 0 0,0-1 0 0 0,1 0 0 0 0,-1-1 0 0 0,0 1 0 0 0,0 0 0 0 0,3 0 0 0 0,-5-1 0 0 0,0 0 0 0 0,1 1 0 0 0,-1-1 0 0 0,0 0 0 0 0,1 0 0 0 0,-1 0 0 0 0,1 0 0 0 0,-1 0 0 0 0,0 1 0 0 0,1-1 0 0 0,-1 0 0 0 0,0 0 0 0 0,1 0 0 0 0,-1 0 0 0 0,1 0 0 0 0,-1 0 0 0 0,0 0 0 0 0,1 0 0 0 0,-1-1 0 0 0,0 1 0 0 0,1 0 0 0 0,-1 0 0 0 0,0 0 0 0 0,1 0 0 0 0,-1 0 0 0 0,0-1 0 0 0,1 1 0 0 0,-1 0 0 0 0,0 0 0 0 0,1 0 0 0 0,-1-1 0 0 0,0 1 0 0 0,1-1 0 0 0,27-4 0 0 0,-23 5 0 0 0,8-2 0 0 0,3-2 0 0 0,1 4 0 0 0,-8-1 0 0 0,-1-3 0 0 0,0 1 0 0 0,1-2 0 0 0,0 3 0 0 0,2 0 0 0 0,-1-1 0 0 0,-2 2 0 0 0,4 1 0 0 0,-2-3 0 0 0,1 0 0 0 0,-2-1 0 0 0,3 0 0 0 0,1 0 0 0 0,-3 3 0 0 0,1-4 0 0 0,-2 4 0 0 0,3-4 0 0 0,-3-1 0 0 0,0 2 0 0 0,3 1 0 0 0,-4-2 0 0 0,1 2 0 0 0,2-1 0 0 0,-2-1 0 0 0,-2-1 0 0 0,3 2 0 0 0,-1 0 0 0 0,0 1 0 0 0,-1-1 0 0 0,0 0 0 0 0,1 0 0 0 0,-1-2 0 0 0,1 2 0 0 0,-1-1 0 0 0,-1-2 0 0 0,2 1-2 0 0,-6 6 5 0 0,11-8 27 0 0,7-10 727 0 0,-21 17-845 0 0,10-4-518 0 0,-9 3 662 0 0,1 1-1 0 0,-1-1 1 0 0,1 1 0 0 0,-1 0 0 0 0,1 0 0 0 0,-1-1 0 0 0,1 1 0 0 0,0 0 0 0 0,-1 1-1 0 0,1-1 1 0 0,0 0-56 0 0,-1 1-190 0 0,8-4-204 0 0,17-5 294 0 0,-25 9 100 0 0,10-6 0 0 0,-7 1 0 0 0,0-1 0 0 0,2-1 34 0 0,4 0-4 0 0,8-1-30 0 0,-14 7 0 0 0,-1 0 0 0 0,0-1 0 0 0,0 1 0 0 0,0 0 0 0 0,-1-1 0 0 0,1 0 0 0 0,0 0 0 0 0,18-17 0 0 0,9 1 0 0 0,-28 16 0 0 0,0 1 0 0 0,-1-1 0 0 0,1 1 0 0 0,0-1 0 0 0,-1 0 0 0 0,1 0 0 0 0,-1 1 0 0 0,1-1 0 0 0,0-2 0 0 0,3 0 0 0 0,14-9 17 0 0,-14 4 14 0 0,0 0-15 0 0,19-21-16 0 0,-15 13 0 0 0,-8 14 0 0 0,14-11 11 0 0,-13 11 32 0 0,-1 1-41 0 0,-1 2-2 0 0,0-1 1 0 0,0 1-1 0 0,0-1 0 0 0,0 1 1 0 0,1-1-1 0 0,-1 1 0 0 0,0-1 1 0 0,0 1-1 0 0,0-1 0 0 0,0 1 1 0 0,1 0-1 0 0,-1-1 0 0 0,0 1 1 0 0,0-1-1 0 0,1 1 0 0 0,-1 0 1 0 0,0-1-1 0 0,1 1 0 0 0,-1 0 1 0 0,1-1-1 0 0,-1 1 0 0 0,0 0 1 0 0,1 0-1 0 0,-1-1 0 0 0,1 1 1 0 0,-1 0-2 0 0,12-6 1 0 0,-1-3 1 0 0,-10 6 1 0 0,1 1 6 0 0,5-3 35 0 0,-4-2-33 0 0,-3 5 3 0 0,0-1 19 0 0,10-4-13 0 0,-2 0-19 0 0,3-5-2 0 0,-10 9 10 0 0,-1 1-3 0 0,1 2-2 0 0,-1-1 0 0 0,0 1-1 0 0,0-1 1 0 0,0 1 0 0 0,1-1 0 0 0,-1 1 0 0 0,0-1-1 0 0,1 1 1 0 0,-1-1 0 0 0,0 1 0 0 0,1-1 0 0 0,-1 1-1 0 0,1 0 1 0 0,-1-1 0 0 0,0 1 0 0 0,1 0 0 0 0,0-1-3 0 0,0 0 5 0 0,8-21 59 0 0,-2 12-64 0 0,-4 3 0 0 0,1-5-3 0 0,-3 11 7 0 0,0-1 1 0 0,0 1 0 0 0,0-1 0 0 0,0 1-1 0 0,0-1 1 0 0,-1 1 0 0 0,1-1 0 0 0,-1 0-1 0 0,1 1 1 0 0,-1-1 0 0 0,1 0 0 0 0,-1 0-5 0 0,0-2 12 0 0,0-1-12 0 0,8-14-2 0 0,8-15 66 0 0,1 3 184 0 0,-15 29-248 0 0,5-12-34 0 0,-7 12 40 0 0,8-12-2 0 0,-5 8-4 0 0,-1-1 11 0 0,4 1 32 0 0,-4-2-33 0 0,0-2-10 0 0,-1 7 0 0 0,0 2 0 0 0,0 0 0 0 0,0 0 0 0 0,0 0 0 0 0,0 0 0 0 0,0 0 0 0 0,0 0 0 0 0,0 0 0 0 0,0-1 0 0 0,0 1 0 0 0,-1 0 0 0 0,1 0 0 0 0,0-1 0 0 0,-1 1 0 0 0,1-1 0 0 0,2-5 0 0 0,-1-1 0 0 0,2-1 0 0 0,0 1 0 0 0,-3 2 0 0 0,2 0 0 0 0,5-5 0 0 0,-5-1 0 0 0,-2 5 0 0 0,0 0 0 0 0,2-1 0 0 0,-2-2 0 0 0,3 2 0 0 0,-3 0 0 0 0,2 0 0 0 0,-1 0 0 0 0,-2-2 0 0 0,8-17 0 0 0,-5 19 0 0 0,-2 1 0 0 0,4-17 0 0 0,-3 4 0 0 0,-1 12 0 0 0,2 0 0 0 0,-1-2 0 0 0,-3 9 0 0 0,1 1 0 0 0,0-1 0 0 0,0 1 0 0 0,0-1 0 0 0,-1 1 0 0 0,1-1 0 0 0,0 1 0 0 0,0-1 0 0 0,0 1 0 0 0,0-1 0 0 0,0 1 0 0 0,0-1 0 0 0,0 1 0 0 0,0-1 0 0 0,0 1 0 0 0,0-1 0 0 0,0 1 0 0 0,0-1 0 0 0,0 1 0 0 0,1-1 0 0 0,-1 1 0 0 0,0-1 0 0 0,0 1 0 0 0,1-19 0 0 0,0 4 0 0 0,0 14 2 0 0,0-2-7 0 0,-5-10 43 0 0,4 12 141 0 0,0-18 485 0 0,-5-33-734 0 0,5 51 281 0 0,0-6-578 0 0,0-2 83 0 0,0 6 103 0 0,0-18 1164 0 0,-2 3-1035 0 0,1 16 53 0 0,1 0 0 0 0,-1 0 0 0 0,1-1 1 0 0,-1 1-1 0 0,1 0 0 0 0,0 0 0 0 0,0-1 0 0 0,0 1 0 0 0,1-2-1 0 0,-1-40 54 0 0,-1 36-44 0 0,-1 1-10 0 0,2-5 0 0 0,-5 2 0 0 0,0 3 0 0 0,4 2 0 0 0,2-10 0 0 0,-1 0 0 0 0,0 10 37 0 0,0 0-1 0 0,-1 0 1 0 0,0 1-1 0 0,0-1 0 0 0,0 0 1 0 0,-1-2-37 0 0,0 3 197 0 0,1-2 98 0 0,0 6-321 0 0,1-1 0 0 0,-1 0-1 0 0,1 0 1 0 0,0 1 0 0 0,-1-1-1 0 0,1 0 1 0 0,0 0 0 0 0,0 1 0 0 0,0-1-1 0 0,0 0 1 0 0,-1 0 0 0 0,1 0 0 0 0,0 1-1 0 0,0-1 1 0 0,0 0 0 0 0,1 0 26 0 0,-1 0-5 0 0,0 0 0 0 0,0 1 0 0 0,0-1 0 0 0,0 1 0 0 0,0-1 0 0 0,0 0 1 0 0,0 1-1 0 0,0-1 0 0 0,0 1 0 0 0,0-1 0 0 0,0 0 0 0 0,0 1 0 0 0,-1-1 0 0 0,1 1 0 0 0,0-1 0 0 0,0 0 1 0 0,-1 1-1 0 0,1-1 0 0 0,0 1 0 0 0,-1-1 5 0 0,1 1 0 0 0,0-1 1 0 0,-1 0-1 0 0,1 1 0 0 0,0-1 1 0 0,-1 1-1 0 0,1-1 1 0 0,0 0-1 0 0,0 0 0 0 0,0 1 1 0 0,0-1-1 0 0,-1 0 0 0 0,1 1 1 0 0,0-1-1 0 0,0 0 1 0 0,0 1-1 0 0,0-1 0 0 0,1 0 1 0 0,-1 0-1 0 0,0 0 0 0 0,-1-1-1 0 0,-1-8 56 0 0,2 4-45 0 0,-1-3-10 0 0,-2 0 0 0 0,-6-23 0 0 0,5 25 0 0 0,0 0 0 0 0,-2-10 296 0 0,6 15-160 0 0,-3-9-136 0 0,-1 7 98 0 0,4 4-154 0 0,-8-15 166 0 0,7 8-110 0 0,-3 2 0 0 0,0-1 0 0 0,3 2-29 0 0,0 0 0 0 0,0 0 0 0 0,-1 0 0 0 0,0 0 0 0 0,0 0 0 0 0,-1-2 29 0 0,-3-10 162 0 0,4 11-174 0 0,-8-12-244 0 0,7 10 255 0 0,3 6 0 0 0,0 0-1 0 0,0 0 0 0 0,0 0 1 0 0,0 0-1 0 0,-1 1 1 0 0,1-1-1 0 0,0 0 1 0 0,-1 0-1 0 0,1 0 1 0 0,-1 1-1 0 0,1-1 1 0 0,-1 0-1 0 0,1 1 0 0 0,-1-1 1 0 0,1 1-1 0 0,-1-1 1 0 0,0 0-1 0 0,1 1 1 0 0,-1-1-1 0 0,0 1 2 0 0,-4-5 0 0 0,2-1 0 0 0,-2-1 0 0 0,-7-15 114 0 0,8 15-90 0 0,3 6-70 0 0,-3-8 254 0 0,0 2-196 0 0,0 1-25 0 0,-10-14 10 0 0,11 17-61 0 0,-5 3 57 0 0,8 0 10 0 0,0 0-1 0 0,-1 0 1 0 0,1 0 0 0 0,0 0-1 0 0,-1 0 1 0 0,1 0-1 0 0,0 0 1 0 0,-1 0-1 0 0,1 0 1 0 0,0 0-1 0 0,-1 0 1 0 0,1 0 0 0 0,0 0-1 0 0,-1 0 1 0 0,1 0-1 0 0,0 0 1 0 0,-1-1-1 0 0,1 1 1 0 0,0 0-1 0 0,0 0 1 0 0,-1 0 0 0 0,1-1-1 0 0,0 1 1 0 0,-1 0-1 0 0,1 0 1 0 0,0 0-1 0 0,0-1 1 0 0,0 1-1 0 0,-1 0 1 0 0,1-1 0 0 0,0 1-1 0 0,0 0 1 0 0,0 0-1 0 0,0-1-2 0 0,-1 0-1 0 0,1 1 1 0 0,0 0-1 0 0,0 0 1 0 0,0-1 0 0 0,-1 1-1 0 0,1 0 1 0 0,0 0-1 0 0,0 0 1 0 0,0 0 0 0 0,-1-1-1 0 0,1 1 1 0 0,0 0-1 0 0,0 0 1 0 0,0 0-1 0 0,-1 0 1 0 0,1 0 0 0 0,0 0-1 0 0,0 0 1 0 0,-1 0-1 0 0,1 0 1 0 0,0-1 0 0 0,0 1-1 0 0,0 0 1 0 0,-1 0-1 0 0,1 0 1 0 0,0 0 0 0 0,0 0-1 0 0,-1 1 1 0 0,1-1-1 0 0,0 0 1 0 0,-1 0 0 0 0,0-2-53 0 0,-5-5 39 0 0,4 7 20 0 0,-6-11 2 0 0,5 6-32 0 0,2 3-19 0 0,1 2 43 0 0,1 0-1 0 0,-1-1 1 0 0,0 1 0 0 0,0 0-1 0 0,0 0 1 0 0,0 0 0 0 0,0 0-1 0 0,0-1 1 0 0,0 1 0 0 0,0 0 0 0 0,0 0-1 0 0,0 0 1 0 0,0 0 0 0 0,0-1-1 0 0,0 1 1 0 0,0 0 0 0 0,0 0-1 0 0,0 0 1 0 0,0-1 0 0 0,0 1 0 0 0,0 0-1 0 0,0 0 1 0 0,0 0 0 0 0,0 0-1 0 0,0 0 1 0 0,0-1 0 0 0,0 1-1 0 0,0 0 1 0 0,-1 0 0 0 0,1 0 0 0 0,0 0-1 0 0,0 0 1 0 0,0-1 0 0 0,0 1-1 0 0,0 0 1 0 0,0 0 0 0 0,-1 0-1 0 0,1 0 1 0 0,0 0 0 0 0,0 0-1 0 0,0 0 1 0 0,0 0 0 0 0,-1 0 0 0 0,1-1 0 0 0,-10-4 2 0 0,8-1-2 0 0,-13-20 0 0 0,15 23 11 0 0,-1 1 45 0 0,-2-3-5 0 0,2 2-83 0 0,-12-11 90 0 0,13 13-57 0 0,-1 1-1 0 0,0-1 0 0 0,0 0 0 0 0,1 0 1 0 0,-1 0-1 0 0,0 0 0 0 0,1 0 1 0 0,-1 0-1 0 0,1 0 0 0 0,-1 0 1 0 0,1 0-1 0 0,-1 0 0 0 0,1 0 1 0 0,0 0-1 0 0,-1 0 0 0 0,-3-11-71 0 0,4 10 70 0 0,-1 0 0 0 0,0 0 0 0 0,0 0 0 0 0,0 0 0 0 0,-1 1 1 0 0,1-1-1 0 0,0 0 0 0 0,-1 1 0 0 0,1-1 0 0 0,-1 0 1 0 0,0 1-1 0 0,1 0 0 0 0,-2-1 1 0 0,-3-3 64 0 0,6 5-64 0 0,0-1 0 0 0,-1 1 0 0 0,1 0 0 0 0,0 0 0 0 0,-1-1 0 0 0,1 1 0 0 0,0 0 0 0 0,-1 0 0 0 0,1 0 0 0 0,0-1 0 0 0,-1 1 0 0 0,1 0 0 0 0,-1 0 0 0 0,1 0 0 0 0,0 0 0 0 0,-1 0 0 0 0,1 0 0 0 0,-1 0 0 0 0,1 0 0 0 0,0 0 0 0 0,-1 0 0 0 0,1 0-2 0 0,0 0 1 0 0,-1 0-1 0 0,1 0 1 0 0,0 0-1 0 0,-1 0 0 0 0,1 0 1 0 0,0 0-1 0 0,0 0 1 0 0,-1 0-1 0 0,1 0 1 0 0,0-1-1 0 0,0 1 0 0 0,-1 0 1 0 0,1 0-1 0 0,0 0 1 0 0,0 0-1 0 0,-1 0 0 0 0,1 0 1 0 0,0-1-1 0 0,0 1 1 0 0,0 0-1 0 0,-1 0 1 0 0,1 0-1 0 0,0-1 0 0 0,0 1 1 0 0,0 0-1 0 0,0 0 1 0 0,-1 0-1 0 0,1-1 1 0 0,0 1-1 0 0,0 0 0 0 0,0 0 1 0 0,0-1-1 0 0,0 1 1 0 0,0 0-1 0 0,0 0 0 0 0,0-1 1 0 0,0 1-1 0 0,0 0 1 0 0,0-1-1 0 0,0 1 1 0 0,0 0 1 0 0,-1-4-1 0 0,-5 3 6 0 0,5 0-5 0 0,-1 0-1 0 0,1 0 1 0 0,-1 0-1 0 0,1 0 1 0 0,0 0-1 0 0,-1 0 0 0 0,1 0 1 0 0,0 0-1 0 0,-1-2 1 0 0,0-1 0 0 0,2 4 0 0 0,0-1 0 0 0,-1 1 0 0 0,1-1 0 0 0,0 1 0 0 0,0-1 0 0 0,-1 1 0 0 0,1-1 0 0 0,0 1 0 0 0,-1-1 0 0 0,1 1 0 0 0,-1 0 0 0 0,1-1 0 0 0,-1 1 0 0 0,1 0 0 0 0,0-1 0 0 0,-1 1 0 0 0,1 0 0 0 0,-1 0 0 0 0,1-1 0 0 0,-1 1 0 0 0,-8-6 0 0 0,7 3 0 0 0,2-1 0 0 0,-3-3 0 0 0,-6 2 0 0 0,6-1 0 0 0,2 3 0 0 0,1 2 0 0 0,0 1 0 0 0,0 0 0 0 0,0-1 0 0 0,0 1 0 0 0,0-1 0 0 0,0 1 0 0 0,0 0 0 0 0,0-1 0 0 0,0 1 0 0 0,0 0 0 0 0,0-1 0 0 0,0 1 0 0 0,-1-1 0 0 0,1 1 0 0 0,0 0 0 0 0,0-1 0 0 0,0 1 0 0 0,-1 0 0 0 0,1-1 0 0 0,0 1 0 0 0,-1 0 0 0 0,1 0 0 0 0,0-1 0 0 0,0 1 0 0 0,-1 0 0 0 0,1 0 0 0 0,0-1 0 0 0,-1 1 0 0 0,1 0 0 0 0,-1 0 0 0 0,1 0 0 0 0,0 0 0 0 0,-1 0 0 0 0,1 0 0 0 0,0-1 0 0 0,-1 1 0 0 0,-6-2 0 0 0,6 2 1 0 0,0 0-1 0 0,1 0 0 0 0,-1 0 0 0 0,1 0 0 0 0,-1 0 0 0 0,1-1 0 0 0,-1 1-1 0 0,1 0 1 0 0,-1 0 0 0 0,1 0 0 0 0,-1 0 0 0 0,1-1 0 0 0,-1 1-1 0 0,1 0 1 0 0,-1-1 0 0 0,1 1 0 0 0,0 0 0 0 0,-1-1 0 0 0,1 1-1 0 0,-1 0 1 0 0,1-1 0 0 0,0 1 0 0 0,-1-1 0 0 0,-8-11 56 0 0,-12-11-46 0 0,13 16-10 0 0,-1 2 0 0 0,1-2 0 0 0,4 1 0 0 0,-1 0 0 0 0,-4-1 0 0 0,-3-2 0 0 0,0 3 0 0 0,3-1 0 0 0,0 0 0 0 0,1 3 0 0 0,0-3 0 0 0,-4 3 0 0 0,3-3 0 0 0,1 0 0 0 0,-2 2 0 0 0,-1-2 0 0 0,2 0 0 0 0,1 1 0 0 0,0 0 0 0 0,2 0 0 0 0,-1 3 0 0 0,-2-2 0 0 0,-12-11 0 0 0,13 12 0 0 0,3 1 0 0 0,-2-1 0 0 0,2 1 0 0 0,3 2 0 0 0,0 1 0 0 0,1 0 0 0 0,-1-1 0 0 0,0 1 0 0 0,1-1 0 0 0,-1 0 0 0 0,1 1 0 0 0,-1-1 0 0 0,1 0 0 0 0,0 0 0 0 0,-1 0 0 0 0,0-1 0 0 0,0 0 0 0 0,0 1 0 0 0,-1-1 0 0 0,1 0 0 0 0,-1 1 0 0 0,1 0 0 0 0,-1-1 0 0 0,1 1 0 0 0,-4 0 0 0 0,1-1 0 0 0,-4 0 0 0 0,5 3 0 0 0,-16-5 0 0 0,11 1 0 0 0,-8-2 0 0 0,-13 0 0 0 0,-27-8 0 0 0,51 12 0 0 0,-25 1 12 0 0,29 0 47 0 0,2 0 12 0 0,-2-1-81 0 0,-1-1 0 0 0,1 1 1 0 0,-1 0-1 0 0,1 0 0 0 0,-1 0 1 0 0,0 0-1 0 0,1 0 0 0 0,-3 0 10 0 0,-21-4 0 0 0,25 5 0 0 0,1 0 0 0 0,-1 0 0 0 0,0 0 0 0 0,0 0 0 0 0,0 0 0 0 0,0 0 0 0 0,0 0 0 0 0,0 0 0 0 0,0 0 0 0 0,0 0 0 0 0,0-1 0 0 0,1 1 0 0 0,-1 0 0 0 0,0-1 0 0 0,0 1 0 0 0,0-1 0 0 0,0 1 0 0 0,0-1 0 0 0,0 0 0 0 0,0 1 0 0 0,0-1 0 0 0,-1 1 0 0 0,1-1 0 0 0,0 1 0 0 0,0-1 0 0 0,-1 1 0 0 0,1 0 0 0 0,0-1 0 0 0,-1 1 0 0 0,1 0 0 0 0,0 0 0 0 0,-1 0 0 0 0,1 0 0 0 0,0 0 0 0 0,-1 0 0 0 0,0 1 0 0 0,-12-4 0 0 0,7 3 0 0 0,-1 0 0 0 0,-40 0 0 0 0,28 0 0 0 0,11-1 0 0 0,-2-2 0 0 0,0 2 0 0 0,-34 1 0 0 0,32 0 0 0 0,1-2 0 0 0,4 0 0 0 0,-1 0 0 0 0,-4 2 0 0 0,1 3 0 0 0,3 0 0 0 0,1 1 0 0 0,0-3 0 0 0,-1-1 0 0 0,1 0 0 0 0,-1 2 0 0 0,7-1 0 0 0,-1-1 0 0 0,0 1 0 0 0,1-1 0 0 0,-1 1 0 0 0,0 0 0 0 0,1 0 0 0 0,-1 0 0 0 0,-1 2 0 0 0,4-3 0 0 0,-2 1 0 0 0,2 0 0 0 0,-1 0 0 0 0,1-1 0 0 0,-1 0 0 0 0,0 1 0 0 0,1-1 0 0 0,-1 1 0 0 0,1-1 0 0 0,-1 0 0 0 0,0 1 0 0 0,1-1 0 0 0,-1 0 0 0 0,0 0 0 0 0,0 1 0 0 0,1-1 0 0 0,-1 0 0 0 0,0 0 0 0 0,0 0 0 0 0,-6 0 0 0 0,-31 4 0 0 0,37-5 0 0 0,0 1 0 0 0,0 0 0 0 0,0 0 0 0 0,0 0 0 0 0,0 0 0 0 0,0 0 0 0 0,0 0 0 0 0,1 1 0 0 0,-1-1 0 0 0,0 0 0 0 0,0 0 0 0 0,0 1 0 0 0,0-1 0 0 0,1 0 0 0 0,-1 1 0 0 0,-1 0 0 0 0,-3 0 0 0 0,1 0 0 0 0,0-1 0 0 0,1 1 0 0 0,-1 0 0 0 0,0 0 0 0 0,0 0 0 0 0,1 0 0 0 0,-1 1 0 0 0,1-1 0 0 0,-1 1 0 0 0,-1 1 0 0 0,0 1 0 0 0,-23 4 0 0 0,23-5 0 0 0,-3-2 0 0 0,3 2 0 0 0,4-2 0 0 0,1-1 0 0 0,-1 1 0 0 0,0 0 0 0 0,1-1 0 0 0,-1 1 0 0 0,0-1 0 0 0,0 1 0 0 0,0-1 0 0 0,1 1 0 0 0,-1-1 0 0 0,0 0 0 0 0,0 0 0 0 0,0 1 0 0 0,0-1 0 0 0,0 0 0 0 0,0 0 0 0 0,0 0 0 0 0,0 0 0 0 0,-3 1 0 0 0,1 0 0 0 0,-1 1 0 0 0,1-1 0 0 0,-1 1 0 0 0,1-1 0 0 0,-1 0 0 0 0,0 0 0 0 0,0-1 0 0 0,1 1 0 0 0,-1-1 0 0 0,0 1 0 0 0,-2-1 0 0 0,4 0 0 0 0,0 0 0 0 0,-1 1 0 0 0,1-1 0 0 0,0 1 0 0 0,0 0 0 0 0,0-1 0 0 0,1 1 0 0 0,-1 0 0 0 0,0 0 0 0 0,-9 4 0 0 0,-13 0 0 0 0,19-3 0 0 0,0 4 0 0 0,1-4 0 0 0,-7 2 0 0 0,5-3 0 0 0,-1 3 0 0 0,-2 2 0 0 0,1-2 0 0 0,3 1 0 0 0,-2 0 0 0 0,-2 4 0 0 0,8-9 0 0 0,-11 5 0 0 0,-1 2 0 0 0,5-1 0 0 0,-1-1 0 0 0,1 2 0 0 0,0-1 0 0 0,-1 0 0 0 0,1 0 0 0 0,-1-1 0 0 0,1 1 0 0 0,-1-2 0 0 0,-2 1 0 0 0,5 1 0 0 0,-5 1 0 0 0,2-1 0 0 0,1-1 0 0 0,3 1 0 0 0,-3 0 0 0 0,0-2 0 0 0,3 0 0 0 0,-5 1 0 0 0,8-6 0 0 0,-16 15 0 0 0,10-10 0 0 0,-2 0 0 0 0,10-4 0 0 0,-15 14 0 0 0,8-9 0 0 0,1 2 0 0 0,-2-2 0 0 0,3-2 0 0 0,-2 0 0 0 0,2 1 0 0 0,-3 0 0 0 0,3 1 0 0 0,1 0 0 0 0,-3 1 0 0 0,1 0 0 0 0,-1-1 0 0 0,3 1 0 0 0,-2-2 0 0 0,-1 1 0 0 0,3 1 0 0 0,-1 1 0 0 0,0-2 0 0 0,-4 1 0 0 0,6-4 0 0 0,-4 1 0 0 0,-2-2 0 0 0,8-1 0 0 0,1 0 0 0 0,0 0 0 0 0,-1 0 0 0 0,1 1 0 0 0,-1-1 0 0 0,1 0 0 0 0,-1 0 0 0 0,1 0 0 0 0,0 1 0 0 0,-1-1 0 0 0,1 0 0 0 0,0 0 0 0 0,-1 1 0 0 0,1-1 0 0 0,0 0 0 0 0,-1 1 0 0 0,1-1 0 0 0,0 0 0 0 0,-1 1 0 0 0,1-1 0 0 0,0 1 0 0 0,0-1 0 0 0,0 0 0 0 0,-1 1 0 0 0,1-1 0 0 0,-21 19 0 0 0,16-11 0 0 0,5-8 0 0 0,0 1 0 0 0,-1 0 0 0 0,1 0 0 0 0,-1-1 0 0 0,1 1 0 0 0,-1 0 0 0 0,1-1 0 0 0,-1 1 0 0 0,1 0 0 0 0,-1-1 0 0 0,0 1 0 0 0,1-1 0 0 0,-1 1 0 0 0,0-1 0 0 0,0 1 0 0 0,1-1 0 0 0,-1 0 0 0 0,0 1 0 0 0,-2-1 0 0 0,4-1 0 0 0,-18 12 0 0 0,10-7 0 0 0,-5 3 0 0 0,8-3 0 0 0,1-1 0 0 0,-1 1 0 0 0,1 0 0 0 0,0 0 0 0 0,0 0 0 0 0,0 0 0 0 0,0 0 0 0 0,1 1 0 0 0,-1 1 0 0 0,-1 1 0 0 0,-10 6 0 0 0,12-12 0 0 0,0 1 0 0 0,0-1 0 0 0,0 1 0 0 0,0 0 0 0 0,0 0 0 0 0,1 0 0 0 0,-1 0 0 0 0,0 0 0 0 0,1 0 0 0 0,0 0 0 0 0,0 0 0 0 0,-1 0 0 0 0,1 1 0 0 0,0 1 0 0 0,1-3 0 0 0,-1 0 0 0 0,1 0 0 0 0,-1 0 0 0 0,1 0 0 0 0,-1 0 0 0 0,1 0 0 0 0,-1 0 0 0 0,0 0 0 0 0,0-1 0 0 0,1 1 0 0 0,-1 0 0 0 0,0 0 0 0 0,0-1 0 0 0,0 1 0 0 0,0 0 0 0 0,-8 9 0 0 0,-9 22-21 0 0,-6 14-1623 0 0,22-40 219 0 0,0 0 1 0 0,0 0 0 0 0,0 0 0 0 0,0 4 1424 0 0,0 1-6821 0 0</inkml:trace>
  <inkml:trace contextRef="#ctx0" brushRef="#br0" timeOffset="1547.447">3022 1092 3224 0 0,'0'0'368'0'0,"0"0"337"0"0,0 0 154 0 0,0 0 33 0 0,0 0-32 0 0,0 0-151 0 0,0 0-62 0 0,0 0-9 0 0,0 0-36 0 0,0 0-137 0 0,0 0-60 0 0,0 0-11 0 0,0 0 12 0 0,0 0 64 0 0,0 0 30 0 0,0 0 4 0 0,0 0-34 0 0,0 0-139 0 0,0 0-62 0 0,0 0-11 0 0,0 0-10 0 0,0 0-35 0 0,0 0-18 0 0,0 0-3 0 0,0 0-16 0 0,0 0-67 0 0,0 0-28 0 0,0 0-7 0 0,0 0 56 0 0,3-5 734 0 0,9-26 307 0 0,0 12-161 0 0,-11 18-670 0 0,-1 1-149 0 0,0 0-60 0 0,0-1-17 0 0,4-6-10 0 0,5-10-25 0 0,-1 0-86 0 0,-2 5 7 0 0,-1 0 0 0 0,18-11 0 0 0,-20 19 151 0 0,0 1-1 0 0,0-1 1 0 0,0 1-1 0 0,-1-1 1 0 0,1 0-1 0 0,1-4-150 0 0,5-7 388 0 0,-3 5-303 0 0,1 0 0 0 0,-2 0 0 0 0,0-1 0 0 0,0 0 0 0 0,-1 1 0 0 0,0-2 0 0 0,0 1 0 0 0,-2 0 0 0 0,1-1-85 0 0,-3 8 0 0 0,1 1 0 0 0,0-1 0 0 0,0 1 0 0 0,1-1 0 0 0,-1 1 0 0 0,1-1 0 0 0,-1 1 0 0 0,1 0 0 0 0,0 0 0 0 0,0-1 0 0 0,1 2 0 0 0,-1-1 0 0 0,0 0 0 0 0,2-1 0 0 0,9-15 0 0 0,-9 12 0 0 0,-1 3 0 0 0,0 11 0 0 0,3-3-268 0 0,-5-4-1133 0 0,-1 0-514 0 0</inkml:trace>
  <inkml:trace contextRef="#ctx0" brushRef="#br0" timeOffset="4224.766">3681 8 3768 0 0,'0'0'168'0'0,"0"0"88"0"0,0 0 244 0 0,0 0 107 0 0,0 0 22 0 0,0 0-28 0 0,0 0-128 0 0,-1 2-264 0 0,-6 7 6172 0 0,-13-4-1977 0 0,8-2-3705 0 0,10-3-535 0 0,1 0-113 0 0,0 0-1 0 0,1 0 0 0 0,-1 1 0 0 0,0-1 0 0 0,0 0 0 0 0,0 0 0 0 0,0 0 0 0 0,1 0 0 0 0,-1 0 0 0 0,0 0 0 0 0,0-1 1 0 0,0 1-1 0 0,0 0 0 0 0,1 0 0 0 0,-1-1 0 0 0,0 1 0 0 0,0 0 0 0 0,0-1 0 0 0,1 1 0 0 0,-1 0 0 0 0,0-1-50 0 0,0 0 66 0 0,-1 0 0 0 0,1 1-1 0 0,-1-1 1 0 0,1 1-1 0 0,-1-1 1 0 0,1 1 0 0 0,-1 0-1 0 0,0-1 1 0 0,0 1-66 0 0,-52-5 817 0 0,3 13-310 0 0,43-5-444 0 0,7-2-49 0 0,0-1 1 0 0,0 1-1 0 0,0-1 1 0 0,0 1-1 0 0,-1-1 1 0 0,1 1 0 0 0,0-1-1 0 0,0 0 1 0 0,-1 1-1 0 0,1-1 1 0 0,0 0 0 0 0,-1 0-1 0 0,1 0 1 0 0,0 0-1 0 0,0 0 1 0 0,-1 0-15 0 0,-2 0 26 0 0,0 1-1 0 0,1 0 1 0 0,-1 0-1 0 0,0 0 1 0 0,1 0-1 0 0,-1 0 1 0 0,0 1-1 0 0,1 0 1 0 0,0-1 0 0 0,-1 2-26 0 0,-1-1 25 0 0,1 1 0 0 0,-1-1 0 0 0,0 0 0 0 0,1 0 0 0 0,-4 0-25 0 0,-21 12 75 0 0,3 4-11 0 0,1 9 43 0 0,23-26-107 0 0,1-1 0 0 0,-1 1 0 0 0,1 0 0 0 0,0 1 0 0 0,-1-1 0 0 0,1 0 0 0 0,0 0 0 0 0,-1 1-1 0 0,1-1 1 0 0,0 0 0 0 0,0 1 0 0 0,0 0 0 0 0,-17 20 129 0 0,14-17-105 0 0,0 0 1 0 0,0 1-1 0 0,0-1 0 0 0,1 1 1 0 0,0 0-1 0 0,-3 6-24 0 0,3-2 0 0 0,0-6 0 0 0,-3 4 0 0 0,1 0 0 0 0,5-7 0 0 0,0 0 0 0 0,-1 1 0 0 0,0-1 0 0 0,1 0 0 0 0,-1 0 0 0 0,0 1 0 0 0,0-1 0 0 0,1 0 0 0 0,-1 0 0 0 0,0 0 0 0 0,0 0 0 0 0,0 0 0 0 0,0 0 0 0 0,-1 0 0 0 0,-15 22 0 0 0,-1 8 54 0 0,18-21-43 0 0,0-8-9 0 0,-12 19-5 0 0,4 1 3 0 0,7-17 28 0 0,5 16 64 0 0,-2-10-109 0 0,-3-8 19 0 0,4 13-3 0 0,1 8 192 0 0,-4-19-153 0 0,0-3-35 0 0,0-1-1 0 0,0 0 1 0 0,0 1-1 0 0,0-1 1 0 0,1 0 0 0 0,-1 1-1 0 0,0-1 1 0 0,1 1 0 0 0,-1-1-1 0 0,1 0 1 0 0,-1 1-1 0 0,1-1 1 0 0,0 1-3 0 0,3 13 8 0 0,8 2 33 0 0,-11-16-41 0 0,0 1-2 0 0,0-2 3 0 0,-1 1 0 0 0,0-1 0 0 0,1 1 0 0 0,-1-1 0 0 0,0 1 0 0 0,0-1 0 0 0,1 1 0 0 0,-1-1 0 0 0,0 1 0 0 0,0-1 0 0 0,0 1 0 0 0,0-1 0 0 0,0 1 0 0 0,0 0 0 0 0,0-1 0 0 0,0 1 0 0 0,0-1 0 0 0,0 1 0 0 0,0-1 0 0 0,0 1 0 0 0,0 0 0 0 0,0 0-1 0 0,0 0 98 0 0,3 1 1 0 0,-2-4-21 0 0,0 4-79 0 0,6 16-206 0 0,-6-15 259 0 0,0 0 1 0 0,0 0-1 0 0,1 0 1 0 0,-1 0-1 0 0,1-1 1 0 0,0 1-1 0 0,0-1 0 0 0,0 1 1 0 0,0-1-1 0 0,0 0 1 0 0,1 0-1 0 0,1 2-52 0 0,0-1 59 0 0,-5-2-56 0 0,1 0-1 0 0,0-1 1 0 0,1 1 0 0 0,-1-1 0 0 0,0 1-1 0 0,0 0 1 0 0,0-1 0 0 0,0 1-1 0 0,0-1 1 0 0,0 1 0 0 0,1-1 0 0 0,-1 1-1 0 0,0-1 1 0 0,1 1 0 0 0,-1-1-1 0 0,0 1 1 0 0,1-1 0 0 0,-1 1 0 0 0,0-1-1 0 0,1 0 1 0 0,-1 1 0 0 0,1-1 0 0 0,-1 1-1 0 0,1-1-2 0 0,5 6 11 0 0,-4-5 32 0 0,1 3-22 0 0,-1-2 22 0 0,2 4-33 0 0,4 0-10 0 0,0-1 0 0 0,-1 0 7 0 0,-7-3 10 0 0,2 1 10 0 0,20 5-14 0 0,-10-4-13 0 0,-1 0 0 0 0,-1-1 0 0 0,2-2 0 0 0,-1-1 11 0 0,-7 0 32 0 0,6 0-33 0 0,-1 0-10 0 0,3 0 0 0 0,0-1 0 0 0,1-1 0 0 0,1 1 0 0 0,-2-2 0 0 0,2 1 0 0 0,0 0 0 0 0,-4 1 0 0 0,2-3 0 0 0,1 1 0 0 0,-1 2 0 0 0,1-2 0 0 0,-2 0 11 0 0,-7 2 32 0 0,3-3-33 0 0,4-3-10 0 0,-1 0 0 0 0,-3 3 0 0 0,-1-3 0 0 0,1 0 0 0 0,1 2 0 0 0,1 1 0 0 0,1-1 11 0 0,-9 2 11 0 0,-1 2-21 0 0,0 1 0 0 0,0-1 0 0 0,0 1 0 0 0,0-1 0 0 0,0 1 0 0 0,0-1 1 0 0,1 1-1 0 0,-1 0 0 0 0,0-1 0 0 0,0 1 0 0 0,1-1 0 0 0,-1 1 0 0 0,0 0 0 0 0,1-1 0 0 0,-1 1 0 0 0,0-1 0 0 0,1 1 0 0 0,-1 0 0 0 0,0 0 1 0 0,1-1-1 0 0,-1 1 0 0 0,1 0 0 0 0,-1 0 0 0 0,1-1 0 0 0,-1 1 0 0 0,0 0 0 0 0,1 0 0 0 0,-1 0 0 0 0,1 0-1 0 0,1-2 0 0 0,-2 0 0 0 0,16-9 0 0 0,-14 9 0 0 0,1 1 0 0 0,-1-1 0 0 0,0 0 0 0 0,0 1 0 0 0,0-1 0 0 0,0 0 0 0 0,0 0 0 0 0,0 0 0 0 0,-1 0 0 0 0,1-1 0 0 0,-1 1 0 0 0,1-1 0 0 0,-2 3 0 0 0,12-9 32 0 0,6-13 90 0 0,-15 17-136 0 0,-2 3 15 0 0,-1 1 0 0 0,1 0-1 0 0,0 0 1 0 0,0-1 0 0 0,0 1-1 0 0,0 0 1 0 0,0 0 0 0 0,0 0-1 0 0,0 0 1 0 0,1 0 0 0 0,-1 0-1 0 0,0 0 0 0 0,3-2-3 0 0,0 0-1 0 0,-1 0 1 0 0,1 0-1 0 0,-1 0 1 0 0,0-1-1 0 0,0 0 1 0 0,0 1-1 0 0,0-2 4 0 0,1 0 0 0 0,3-12 0 0 0,-5 10 0 0 0,-2 6 0 0 0,0 1 0 0 0,0-1 0 0 0,0 1 0 0 0,0-1 0 0 0,0 0 0 0 0,1 1 0 0 0,-1-1 0 0 0,0 1 0 0 0,0-1 0 0 0,1 1 0 0 0,-1-1 0 0 0,0 1 0 0 0,0-1 0 0 0,1 1 0 0 0,-1-1 0 0 0,1 1 0 0 0,-1-1 0 0 0,0 1 0 0 0,1-1 0 0 0,6-5 0 0 0,6-19 0 0 0,-10 20 0 0 0,-3 4 0 0 0,0 1 0 0 0,1-1 0 0 0,-1 0 0 0 0,0 0 0 0 0,0 1 0 0 0,0-1 0 0 0,1 0 0 0 0,-1 1 0 0 0,0-1 0 0 0,1 0 0 0 0,-1 1 0 0 0,1-1 0 0 0,-1 1 0 0 0,1-1 0 0 0,-1 1 0 0 0,1-1 0 0 0,-1 1 0 0 0,1-1 0 0 0,3-4 0 0 0,-1-11 0 0 0,0 9 27 0 0,-2 6 109 0 0,-1 1 39 0 0,0 0 7 0 0,0 0-43 0 0,1-14-470 0 0,9-20 715 0 0,-9 26-384 0 0,0-7-88 0 0,-1 13 52 0 0,0 0 1 0 0,0 0-1 0 0,0 0 1 0 0,-1 0-1 0 0,1 0 1 0 0,0 0-1 0 0,-1 0 1 0 0,0 0-1 0 0,1 0 0 0 0,-1 0 1 0 0,0 0-1 0 0,0 1 1 0 0,0-1-1 0 0,-1-1 36 0 0,-6-16-38 0 0,7 5 38 0 0,0 10 4 0 0,-8-16 65 0 0,5 14-78 0 0,2 4 9 0 0,0 1-2 0 0,-12-11 132 0 0,13 10-76 0 0,-10-21 31 0 0,10 22-79 0 0,0-1 1 0 0,0 1-1 0 0,0 0 0 0 0,0 0 1 0 0,0-1-1 0 0,-1 1 0 0 0,1 0 1 0 0,0 0-1 0 0,0 1 0 0 0,-1-1 1 0 0,1 0-1 0 0,0 0 0 0 0,-2 0-6 0 0,-10-7 35 0 0,-7-7-35 0 0,15 14 0 0 0,4 1 0 0 0,1 0 0 0 0,-1 0 0 0 0,0 0 0 0 0,1 0 0 0 0,-1 0 0 0 0,0 0 0 0 0,1-1 0 0 0,-1 1 0 0 0,0 0 0 0 0,1-1 0 0 0,-1 1 0 0 0,1 0 0 0 0,-1-1 0 0 0,1 1 0 0 0,-1-1 0 0 0,1 1 0 0 0,-1 0 0 0 0,1-1 0 0 0,-1 0 0 0 0,1 1 0 0 0,-1-1 0 0 0,1 1 0 0 0,0-1 1 0 0,-1 1 0 0 0,1 0 0 0 0,0 0 0 0 0,0-1 0 0 0,-1 1 0 0 0,1 0 0 0 0,0 0-1 0 0,-1-1 1 0 0,1 1 0 0 0,0 0 0 0 0,-1 0 0 0 0,1 0 0 0 0,0-1 0 0 0,-1 1 0 0 0,1 0 0 0 0,0 0-1 0 0,-1 0 1 0 0,1 0 0 0 0,-1 0 0 0 0,1 0 0 0 0,0 0 0 0 0,-1 0 0 0 0,1 0 0 0 0,-1 0-1 0 0,-7-1 28 0 0,-8-13-14 0 0,-5-1-14 0 0,17 10 0 0 0,4 4 0 0 0,-1 0 0 0 0,1 1 0 0 0,0-1 0 0 0,-1 0 0 0 0,1 1 0 0 0,-1-1 0 0 0,1 1 0 0 0,-1-1 0 0 0,0 1 0 0 0,1-1 0 0 0,-1 1 0 0 0,1-1 0 0 0,-1 1 0 0 0,0 0 0 0 0,1-1 0 0 0,-1 1 0 0 0,0 0 0 0 0,0-1 0 0 0,1 1 0 0 0,-1 0 0 0 0,0 0 0 0 0,0 0 0 0 0,1 0 0 0 0,-1 0-3 0 0,0 0 0 0 0,1 0 1 0 0,-1-1-1 0 0,1 1 0 0 0,-1 0 0 0 0,0 0 0 0 0,1 0 0 0 0,-1 0 0 0 0,1-1 0 0 0,-1 1 0 0 0,1 0 0 0 0,-1-1 1 0 0,0 1-1 0 0,1 0 0 0 0,0-1 0 0 0,-1 1 0 0 0,1 0 0 0 0,-1-1 0 0 0,1 1 0 0 0,-1-1 0 0 0,1 1 1 0 0,0-1-1 0 0,-1 1 0 0 0,1-1 3 0 0,-1-1-2089 0 0,-3 1-4479 0 0,2 1-641 0 0</inkml:trace>
  <inkml:trace contextRef="#ctx0" brushRef="#br0" timeOffset="16747.247">1300 1246 1840 0 0,'5'-12'471'0'0,"-5"12"1157"0"0,0 0 541 0 0,0 0 109 0 0,0 0-179 0 0,0 0-847 0 0,0 0-367 0 0,0 0-75 0 0,0 0-46 0 0,0 0-151 0 0,0 0-62 0 0,0 0-9 0 0,0 0-15 0 0,0 0-47 0 0,0 0-22 0 0,0 0-2 0 0,0 0-16 0 0,0 0-66 0 0,0 0-29 0 0,0 0-8 0 0,0 0-9 0 0,0 0-34 0 0,0 0-20 0 0,0 0-2 0 0,0 0-12 0 0,0 0-49 0 0,0 0-19 0 0,0 0-7 0 0,4 5 634 0 0,-3-5-845 0 0,-1 0 65 0 0,1 0 1 0 0,-1 0-1 0 0,1 0 0 0 0,0 1 0 0 0,-1-1 0 0 0,1 0 0 0 0,-1 0 1 0 0,1 1-1 0 0,-1-1 0 0 0,1 0 0 0 0,-1 1 0 0 0,1-1 0 0 0,-1 0 0 0 0,1 1 1 0 0,-1-1-1 0 0,1 1 0 0 0,-1-1 0 0 0,0 1 0 0 0,1-1 0 0 0,-1 1-39 0 0,0-1 128 0 0,0 0-1 0 0,6 8 458 0 0,14 23 435 0 0,-16-25-938 0 0,0 0 1 0 0,0 0-1 0 0,1-1 0 0 0,3 4-82 0 0,9 9 63 0 0,-14-14-24 0 0,-1-1-36 0 0,1 0 0 0 0,-1 0 0 0 0,1 0 0 0 0,0 0 0 0 0,0-1 0 0 0,0 1 0 0 0,0-1-3 0 0,12 9 0 0 0,-5-3 0 0 0,-6-4 11 0 0,4 0 41 0 0,10 3 13 0 0,-11-4-54 0 0,-5-2 32 0 0,11 8 192 0 0,-13-9-7994 0 0,3-5 1070 0 0</inkml:trace>
  <inkml:trace contextRef="#ctx0" brushRef="#br0" timeOffset="18471.358">1288 1257 6848 0 0,'0'0'314'0'0,"0"0"-6"0"0,0 0-66 0 0,0 0 452 0 0,0 0 217 0 0,0 0 45 0 0,0 0-57 0 0,0 0-285 0 0,0 0-124 0 0,0 0-30 0 0,0 0 24 0 0,0 0 117 0 0,0 0 51 0 0,0 0 11 0 0,0 0-41 0 0,0 0-174 0 0,13-8 927 0 0,17-13 75 0 0,-28 20-1271 0 0,-2 1-23 0 0,0 0-11 0 0,0 0-1 0 0,1-1-65 0 0,0-1-1 0 0,0 0 1 0 0,1 0-1 0 0,-1 1 1 0 0,0-1-1 0 0,1 1 1 0 0,0-1-1 0 0,0 0-78 0 0,3-2 156 0 0,29-30 356 0 0,-30 30-461 0 0,-1 2-20 0 0,0-1-1 0 0,-1 1 1 0 0,1-1 0 0 0,-1 0-1 0 0,1 0 1 0 0,0-2-31 0 0,14-17 248 0 0,-14 19-225 0 0,0 0 1 0 0,-1 1-1 0 0,0-1 1 0 0,0-1 0 0 0,0 1-1 0 0,0 0 1 0 0,0 0 0 0 0,0-1-1 0 0,-1 1 1 0 0,1-4-24 0 0,13-38 369 0 0,-3 11-139 0 0,-3 4 36 0 0,-7 22-235 0 0,0 1 0 0 0,-1-1 0 0 0,-1 0 0 0 0,1 1-1 0 0,-1-1 1 0 0,0 0 0 0 0,-1 1 0 0 0,0-1 0 0 0,-1-5-31 0 0,-3-18 67 0 0,5 26-58 0 0,0 0 0 0 0,-1 0 0 0 0,0-1 0 0 0,0 1 1 0 0,-1 0-1 0 0,1 0 0 0 0,-1 0 0 0 0,0 1 0 0 0,-1-3-9 0 0,-9-10 26 0 0,0 0 0 0 0,-4-4-26 0 0,9 12 12 0 0,-2 2 18 0 0,8 6-28 0 0,0 1 0 0 0,0-1 0 0 0,0 0 0 0 0,0 0 1 0 0,0 0-1 0 0,0 1 0 0 0,0-1 0 0 0,0 0 0 0 0,1 0 0 0 0,-1 0 0 0 0,0-1-2 0 0,0 1 0 0 0,1 0 0 0 0,-1 0 0 0 0,0 0 0 0 0,1 0 0 0 0,-1 0 0 0 0,0 1 0 0 0,0-1 0 0 0,1 0 0 0 0,-1 0 0 0 0,0 1 0 0 0,0-1 0 0 0,0 1 0 0 0,-5-5 0 0 0,5 5 0 0 0,1 0 0 0 0,-1-1 0 0 0,0 1 0 0 0,1 0 0 0 0,0-1 0 0 0,-1 1 0 0 0,1 0 0 0 0,-1-1 0 0 0,1 1 0 0 0,-1-1 0 0 0,1 1 0 0 0,0-1 0 0 0,-1 1 0 0 0,1-1 0 0 0,0 1 0 0 0,-1-1 0 0 0,1 1 0 0 0,0-1 0 0 0,0 1 0 0 0,0-1 0 0 0,0 0 0 0 0,-1 1 0 0 0,1-1 0 0 0,0 1 0 0 0,0-1 0 0 0,0 0 0 0 0,0-1 0 0 0,-13-21 11 0 0,10 19-4 0 0,1-1-1 0 0,-1 1 1 0 0,0 0 0 0 0,0 0-1 0 0,-1 1 1 0 0,1-1 0 0 0,-1 0-1 0 0,-2-1-6 0 0,-4-1 14 0 0,1-1-1 0 0,-1 2 0 0 0,0 0 1 0 0,-4-2-14 0 0,-20 0 10 0 0,31 5-10 0 0,-15 0 0 0 0,0-1 0 0 0,14 2 0 0 0,0 0 0 0 0,0 0 0 0 0,-1 0 0 0 0,1 1 0 0 0,0-1 0 0 0,-1 1 0 0 0,-2 0 0 0 0,-9 4 0 0 0,13-2 0 0 0,-24-3 0 0 0,-7 2 0 0 0,-11 2 0 0 0,35-2 0 0 0,1 1 0 0 0,0 0 0 0 0,-1 1 0 0 0,1 0 0 0 0,0 0 0 0 0,0 1 0 0 0,0 0 0 0 0,-3 4 0 0 0,-30 13 0 0 0,29-15 0 0 0,-1 0 0 0 0,2 2 0 0 0,-7 3 0 0 0,2 1 17 0 0,-17 13 30 0 0,28-19-47 0 0,0 1 0 0 0,0-1 0 0 0,0 2 0 0 0,-1 1 0 0 0,0 1 0 0 0,-1-1 0 0 0,5-5 0 0 0,0 0 0 0 0,0 0 0 0 0,0 0 0 0 0,1 0 0 0 0,-1 1 0 0 0,1-1 0 0 0,-1 2 0 0 0,-2 4 0 0 0,-1 5 0 0 0,6-11 7 0 0,-1 0 0 0 0,0-1-1 0 0,0 1 1 0 0,0-1 0 0 0,-1 1-1 0 0,1-1 1 0 0,-1 1 0 0 0,-1 2-7 0 0,-7 12 10 0 0,6-2-10 0 0,4-13 0 0 0,-8 12 0 0 0,5-13 0 0 0,-2 18 0 0 0,2-8 9 0 0,1-7-4 0 0,1 0-1 0 0,-1 0 1 0 0,1 0-1 0 0,0 1 1 0 0,0-1 0 0 0,1 0-1 0 0,0 0 1 0 0,0 1-1 0 0,0-1 1 0 0,0 0 0 0 0,1 1-1 0 0,0 1-4 0 0,0-4 7 0 0,0 1 0 0 0,0-1-1 0 0,1 0 1 0 0,-1 1 0 0 0,1-1-1 0 0,0 1-6 0 0,14 29 148 0 0,-4-7-82 0 0,-9-16-45 0 0,-3-1 22 0 0,0-9-43 0 0,1 12 35 0 0,0-9-22 0 0,0-3-10 0 0,-1 1 0 0 0,1-1 1 0 0,0 1-1 0 0,-1 0 0 0 0,1-1 0 0 0,-1 1 0 0 0,1 0 0 0 0,-1-1 1 0 0,1 1-1 0 0,-1 0 0 0 0,0 0 0 0 0,1 0 0 0 0,-1-1 0 0 0,0 1 1 0 0,1 0-4 0 0,0 5 32 0 0,11 16 120 0 0,-9-19-138 0 0,-1 0 0 0 0,1 0 0 0 0,0 0 0 0 0,0 0 0 0 0,0 0 0 0 0,1 0 0 0 0,-1-1 1 0 0,1 0-1 0 0,-1 1 0 0 0,1-1-14 0 0,-2-1-3 0 0,13 9 3 0 0,-7-6 3 0 0,3 1 5 0 0,18 8 45 0 0,4 5 22 0 0,-8-1-23 0 0,-23-15-43 0 0,1 0 0 0 0,-1-1 1 0 0,1 1-1 0 0,0-1 1 0 0,-1 1-1 0 0,1-1 0 0 0,1 0-9 0 0,17 15 64 0 0,21-5 54 0 0,-28-5-69 0 0,0-1-12 0 0,-11-5 11 0 0,4 3-36 0 0,24 9 106 0 0,-24-12-108 0 0,1 0-10 0 0,0 0 0 0 0,1 0 0 0 0,0 0 0 0 0,0 0 0 0 0,1 0 0 0 0,-4 0 0 0 0,2-1 0 0 0,1-2 0 0 0,-1 0 0 0 0,-1 2 11 0 0,-4 1 32 0 0,5 0-33 0 0,3-4-10 0 0,-5 1 0 0 0,60-24 640 0 0,-64 27-658 0 0,0-1 0 0 0,1 0 0 0 0,-1 0 0 0 0,0 0 0 0 0,0 0-1 0 0,0 0 1 0 0,0-1 0 0 0,1 0 18 0 0,-1 0-45 0 0,0 1-1 0 0,0-1 0 0 0,0 1 1 0 0,1 0-1 0 0,-1 0 0 0 0,0 0 1 0 0,1 0-1 0 0,-1 0 0 0 0,1 0 46 0 0,30-14-75 0 0,-25 10-47 0 0,0 1-1 0 0,1 1 1 0 0,-1-1 0 0 0,1 1 122 0 0,0 0-559 0 0,-1 0 0 0 0,-1-1 0 0 0,7-3 559 0 0,24-10-3136 0 0,-21 10 1389 0 0,0 0-212 0 0</inkml:trace>
  <inkml:trace contextRef="#ctx0" brushRef="#br0" timeOffset="13407.432">753 2835 2760 0 0,'0'0'125'0'0,"0"0"249"0"0,0 0 958 0 0,0 0 421 0 0,0 0 81 0 0,0 0-130 0 0,0 0-622 0 0,0 0-269 0 0,0 0-56 0 0,0 0-31 0 0,0 0-86 0 0,0 0-38 0 0,0 0-8 0 0,-8-16 3456 0 0,23-4-2342 0 0,-13 19-1597 0 0,1 0 0 0 0,0 0 0 0 0,-1 0 0 0 0,1 1 0 0 0,0-1 0 0 0,0 1 0 0 0,0-1-111 0 0,4 1 128 0 0,-1-2 0 0 0,0 1 0 0 0,0-1 0 0 0,1 0 0 0 0,-1 0 0 0 0,0 0 0 0 0,-1-1 0 0 0,1 0 0 0 0,0 0 0 0 0,1-3-128 0 0,14-5 215 0 0,-13 6-165 0 0,0 0 0 0 0,0-1 0 0 0,-1 0 0 0 0,0 0 0 0 0,0 0 0 0 0,0-1 1 0 0,-1-1-51 0 0,4-2 62 0 0,1-1 1 0 0,7-4-63 0 0,-13 11 7 0 0,-1 1-1 0 0,1 0 1 0 0,0 1 0 0 0,0-1-1 0 0,0 1 1 0 0,0 0 0 0 0,1 0-1 0 0,-1 1-6 0 0,-2-2 9 0 0,0 1 12 0 0,13 0 3 0 0,-11 2-17 0 0,-3 0-6 0 0,0 0 1 0 0,0 0-1 0 0,0 0 0 0 0,0-1 0 0 0,0 1 1 0 0,-1 0-1 0 0,1-1 0 0 0,0 0 0 0 0,0 1 1 0 0,0-1-1 0 0,1 0-1 0 0,23-6 53 0 0,-10 5-53 0 0,-12 5 0 0 0,-4-2 0 0 0,4 1-4 0 0,-1 0 0 0 0,1-1 0 0 0,-1 0-1 0 0,1 0 1 0 0,0 0 0 0 0,0 0 0 0 0,-1 0-1 0 0,1-1 1 0 0,0 0 0 0 0,0 0 0 0 0,0 0-1 0 0,0 0 1 0 0,-1 0 0 0 0,1-1 0 0 0,0 0 0 0 0,0 0-1 0 0,3-1 5 0 0,-6 1-72 0 0,-1 2 69 0 0,0-1 0 0 0,1 0-1 0 0,-1 0 1 0 0,0 0 0 0 0,1 0 0 0 0,-1 0-1 0 0,0 0 1 0 0,1 0 0 0 0,-1 0-1 0 0,0 0 1 0 0,1 0 0 0 0,-1 0-1 0 0,0 0 1 0 0,1 0 0 0 0,-1 0 0 0 0,0 0-1 0 0,1 0 1 0 0,-1 0 0 0 0,0 0-1 0 0,1 0 1 0 0,-1 0 0 0 0,0 0 0 0 0,1-1-1 0 0,-1 1 4 0 0,15-3 18 0 0,-13 3 39 0 0,12-3 203 0 0,-14 3-244 0 0,1 0 0 0 0,0 0 0 0 0,0 0 0 0 0,-1 0 0 0 0,1 0 0 0 0,0 0 0 0 0,-1 0 0 0 0,1 0 0 0 0,0 0 0 0 0,-1 0 0 0 0,1 1 0 0 0,0-1 0 0 0,-1 0 0 0 0,1 1 1 0 0,0-1-1 0 0,-1 0 0 0 0,1 1 0 0 0,0-1-16 0 0,1 0-3822 0 0,-2 0-3612 0 0</inkml:trace>
  <inkml:trace contextRef="#ctx0" brushRef="#br0" timeOffset="15639.774">686 2907 920 0 0,'0'0'323'0'0,"0"0"1018"0"0,0 0 444 0 0,0 0 87 0 0,0 0-137 0 0,0 0-638 0 0,0 0-281 0 0,0 0-59 0 0,0 0-31 0 0,0 0-86 0 0,0 0-38 0 0,0 0-8 0 0,0 0-32 0 0,0 0-122 0 0,0-10 2504 0 0,7-6-2198 0 0,-5 12-589 0 0,-1 0 1 0 0,1 0-1 0 0,-1 0 0 0 0,0 0 1 0 0,0 0-1 0 0,0 0 1 0 0,-1 0-1 0 0,1-1-157 0 0,-1 1 58 0 0,0 1-1 0 0,1-1 1 0 0,0 1-1 0 0,-1 0 0 0 0,1-1 1 0 0,0 1-1 0 0,1-1-57 0 0,-1 0 103 0 0,1 1-1 0 0,-1-1 1 0 0,-1 1 0 0 0,1-1-1 0 0,0 1 1 0 0,-1-1-1 0 0,0-1-102 0 0,-4-88 846 0 0,-4 40-248 0 0,7 49-566 0 0,0 0 0 0 0,0 1-1 0 0,0-1 1 0 0,0 0-1 0 0,0 1 1 0 0,-1-1 0 0 0,0 1-1 0 0,0 0 1 0 0,0 0-1 0 0,-1-3-31 0 0,-1 5 28 0 0,3 5 31 0 0,1-3-55 0 0,0-1 1 0 0,0 1-1 0 0,0-1 0 0 0,0 0 0 0 0,0 1 1 0 0,0-1-1 0 0,-1 0 0 0 0,1 1 0 0 0,0-1 1 0 0,0 0-1 0 0,0 1 0 0 0,-1-1 1 0 0,1 0-1 0 0,0 1 0 0 0,0-1 0 0 0,-1 0 1 0 0,1 1-1 0 0,0-1 0 0 0,-1 0 0 0 0,1 0 1 0 0,0 0-1 0 0,-1 1 0 0 0,1-1 1 0 0,0 0-1 0 0,-1 0 0 0 0,1 0 0 0 0,0 0 1 0 0,-1 0-1 0 0,1 1 0 0 0,0-1 0 0 0,-1 0 1 0 0,1 0-5 0 0,-15 1 70 0 0,12-2-49 0 0,2 2-15 0 0,0-1-1 0 0,1 0 1 0 0,-1 0-1 0 0,0 0 1 0 0,0 0-1 0 0,0-1 1 0 0,0 1-1 0 0,0 0 1 0 0,0 0-1 0 0,1 0 1 0 0,-1-1-1 0 0,0 1 1 0 0,0 0 0 0 0,0-1-1 0 0,0 1 1 0 0,1-1-1 0 0,-1 1 1 0 0,0-1-1 0 0,1 1 1 0 0,-1-1-1 0 0,0 0-5 0 0,0-1 12 0 0,-3-1 41 0 0,2 1-41 0 0,1 1 0 0 0,-1-1-1 0 0,0 1 1 0 0,0 0 0 0 0,0 0-1 0 0,0 0 1 0 0,0 0 0 0 0,0 0-1 0 0,0 0 1 0 0,0 0 0 0 0,0 0-1 0 0,-2 1-11 0 0,4 0 2 0 0,-1 0 0 0 0,1 0 0 0 0,-1 0 0 0 0,1 0 0 0 0,-1 0 0 0 0,1 0 0 0 0,0 0 0 0 0,-1 0-1 0 0,1 0 1 0 0,-1 0 0 0 0,1-1 0 0 0,-1 1 0 0 0,1 0 0 0 0,-1 0 0 0 0,1 0 0 0 0,0 0 0 0 0,-1-1 0 0 0,1 1-1 0 0,-1 0 1 0 0,1 0 0 0 0,0-1 0 0 0,-1 1 0 0 0,1 0 0 0 0,0-1 0 0 0,-1 1 0 0 0,1 0 0 0 0,0-1 0 0 0,0 1-1 0 0,-1-1 1 0 0,1 1 0 0 0,0-1-2 0 0,0 1 3 0 0,0-1-1 0 0,-1 1 1 0 0,1-1-1 0 0,0 0 1 0 0,-1 1-1 0 0,1-1 1 0 0,0 1-1 0 0,-1-1 0 0 0,1 1 1 0 0,0 0-1 0 0,-1-1 1 0 0,1 1-1 0 0,-1-1 1 0 0,1 1-1 0 0,-1 0 1 0 0,1-1-1 0 0,-1 1 1 0 0,1 0-1 0 0,-1 0 1 0 0,1-1-1 0 0,-1 1 1 0 0,0 0-3 0 0,-23-12 74 0 0,23 12-74 0 0,0-1 0 0 0,1 0 0 0 0,-1 1-1 0 0,0-1 1 0 0,0 1 0 0 0,0-1 0 0 0,0 1-1 0 0,0-1 1 0 0,0 1 0 0 0,0 0 0 0 0,1 0-1 0 0,-1-1 1 0 0,0 1 0 0 0,0 0 0 0 0,0 0-1 0 0,0 0 1 0 0,0 0 0 0 0,0 0 0 0 0,0 0 0 0 0,-10-2 64 0 0,8 1-51 0 0,-11 0 39 0 0,10 1-41 0 0,-43-8 197 0 0,29 7-181 0 0,13 1-12 0 0,1-1-1 0 0,-1 1 1 0 0,1 0-1 0 0,-1 0 0 0 0,1 1 1 0 0,0-1-1 0 0,-1 1 1 0 0,1 0-1 0 0,-1 0 0 0 0,1 1 1 0 0,0-1-1 0 0,0 1-14 0 0,-2 1 0 0 0,1-1 0 0 0,-1 1 0 0 0,0-1 0 0 0,1-1 0 0 0,-3 1 0 0 0,2 0 0 0 0,0-1 0 0 0,0 1 0 0 0,1 1 0 0 0,-1-1 0 0 0,-1 1 0 0 0,-16 8 25 0 0,19-10-19 0 0,0 0-1 0 0,0 1 1 0 0,0-1 0 0 0,1 1-1 0 0,-1 0 1 0 0,1 0-1 0 0,-2 2-5 0 0,2-2 0 0 0,0-1 0 0 0,1 1 0 0 0,-1-1 0 0 0,0 1 0 0 0,0-1-1 0 0,0 0 1 0 0,0 0 0 0 0,0 0 2 0 0,0 0 0 0 0,0 1-1 0 0,0-1 1 0 0,0 0 0 0 0,0 1-1 0 0,1 0 1 0 0,-1 0-2 0 0,-2 1 6 0 0,0 1 0 0 0,0-1 0 0 0,0 0 0 0 0,-1 0 0 0 0,1 0 0 0 0,-1-1-1 0 0,0 1 1 0 0,1-2 0 0 0,-2 1-6 0 0,6-1 0 0 0,0-1 0 0 0,0 0 0 0 0,0 0 0 0 0,0 1 0 0 0,0-1 0 0 0,0 1 0 0 0,1-1 0 0 0,-1 1 0 0 0,0-1 0 0 0,0 1 0 0 0,1-1 0 0 0,-1 1 0 0 0,0 0 0 0 0,-13 10 0 0 0,13-11 0 0 0,1 0 0 0 0,-1 0 0 0 0,0 0 0 0 0,1 0 0 0 0,-1 1 0 0 0,0-1 0 0 0,0 0 0 0 0,1 0 0 0 0,-1 0 0 0 0,0-1 0 0 0,1 1 0 0 0,-1 0 0 0 0,0 0 0 0 0,1 0 0 0 0,-1 0 0 0 0,0-1 0 0 0,1 1 0 0 0,-1 0 0 0 0,1-1 0 0 0,-1 1 0 0 0,0 0 0 0 0,1-1 0 0 0,-1 1 0 0 0,1-1 0 0 0,-1 1 0 0 0,1-1 0 0 0,-1 1 0 0 0,1-1 0 0 0,-1 1 0 0 0,1-1 0 0 0,0 1 0 0 0,-1-1 0 0 0,1 1 0 0 0,-1-1 0 0 0,1 1 0 0 0,-1 0 0 0 0,1-1 0 0 0,-1 1 0 0 0,1 0 0 0 0,-1 0 0 0 0,1-1 0 0 0,-1 1 0 0 0,1 0 0 0 0,-1 0 0 0 0,0 0 0 0 0,1 0 0 0 0,-1-1 0 0 0,1 1 0 0 0,-1 0 0 0 0,0 0 0 0 0,1 0 0 0 0,-1 0 0 0 0,1 0 0 0 0,-1 1 0 0 0,0-1 0 0 0,-2 2 0 0 0,1-1 0 0 0,-1 1 0 0 0,1 0 0 0 0,-1 0 0 0 0,1 1 0 0 0,0-1 0 0 0,0 1 0 0 0,0-1 0 0 0,0 1 0 0 0,1-1 0 0 0,-1 1 0 0 0,1 0 0 0 0,-1 0 0 0 0,1 0 0 0 0,0 0 0 0 0,0 0 0 0 0,0 0 0 0 0,1 0 0 0 0,-1 0 0 0 0,1 1 0 0 0,-8 24 0 0 0,0-7 0 0 0,0 2 0 0 0,2-1 0 0 0,-2 16 0 0 0,-8 36 0 0 0,11-25 0 0 0,1-33 0 0 0,2-9 0 0 0,1 1 0 0 0,3 14 0 0 0,-1-15 0 0 0,3 3 0 0 0,1 10 0 0 0,-5-18 0 0 0,0 2 0 0 0,7 8 0 0 0,-3-6 0 0 0,11 13 0 0 0,-13-17 0 0 0,2 2 0 0 0,-3 3 0 0 0,-1-6 0 0 0,0 0 0 0 0,0 0 0 0 0,0 0 0 0 0,0-1 0 0 0,1 1 0 0 0,-1 0 0 0 0,0 0 0 0 0,0 0 0 0 0,1-1 0 0 0,-1 1 0 0 0,1 0 0 0 0,-1-1 0 0 0,0 1 0 0 0,1 0 0 0 0,0-1 0 0 0,-1 1 0 0 0,1 0 0 0 0,-1-1 0 0 0,1 1 0 0 0,0-1 0 0 0,-1 1 0 0 0,1-1 0 0 0,11 10 0 0 0,-1 3 0 0 0,-9-10 0 0 0,23 18 0 0 0,-17-16 0 0 0,2 2 0 0 0,-9-3 0 0 0,-1-4 0 0 0,0 0 0 0 0,0 1 0 0 0,0-1 0 0 0,0 1 0 0 0,0-1 0 0 0,0 1 0 0 0,0-1 0 0 0,0 1 0 0 0,0-1 0 0 0,1 0 0 0 0,-1 1 0 0 0,0-1 0 0 0,0 1 0 0 0,0-1 0 0 0,1 1 0 0 0,-1-1 0 0 0,0 0 0 0 0,0 1 0 0 0,1-1 0 0 0,-1 0 0 0 0,0 1 0 0 0,1-1 0 0 0,-1 0 0 0 0,0 0 0 0 0,1 1 0 0 0,-1-1 0 0 0,1 0 0 0 0,-1 0 0 0 0,0 0 0 0 0,1 1 0 0 0,14 6 0 0 0,-4-2 0 0 0,-11-3 0 0 0,1 1 0 0 0,17 6 0 0 0,-9-4 0 0 0,-5-3 0 0 0,-1 0 0 0 0,1-1 0 0 0,0 1 0 0 0,-1-1 0 0 0,1 0 0 0 0,0 0 0 0 0,0 0 0 0 0,0 0 0 0 0,0-1 0 0 0,0 0 0 0 0,13 5 0 0 0,12-2 0 0 0,5 3 64 0 0,-5-1 0 0 0,-20-4-64 0 0,6 1 0 0 0,-10-4 11 0 0,-3 2 32 0 0,12 1-31 0 0,-12-1-12 0 0,0 0 0 0 0,0 0 0 0 0,1 0-1 0 0,-1-1 1 0 0,0 1 0 0 0,0 0 0 0 0,0-1-1 0 0,0 0 1 0 0,2 0 0 0 0,46-2 64 0 0,-29-2-64 0 0,-10 2 0 0 0,-10 3 1 0 0,1 0 0 0 0,0 0 0 0 0,0-1 0 0 0,-1 1-1 0 0,1-1 1 0 0,0 1 0 0 0,-1-1 0 0 0,1 1 0 0 0,-1-1 0 0 0,1 0 0 0 0,-1 0 0 0 0,2-1-1 0 0,31-17 117 0 0,-24 11-117 0 0,-9 6 0 0 0,1 1 0 0 0,-1 0 0 0 0,0 0 0 0 0,0 0 0 0 0,1 0 0 0 0,-1 0 0 0 0,0 0 0 0 0,1 0 0 0 0,-1 1 0 0 0,1-1 0 0 0,-1 0 0 0 0,1 1 0 0 0,1-1 0 0 0,2 0 0 0 0,-4 1 0 0 0,1 0 0 0 0,-1-1 0 0 0,1 1 0 0 0,0-1 0 0 0,-1 1 0 0 0,1-1 0 0 0,-1 0 0 0 0,1 1 0 0 0,-1-1 0 0 0,0 0 0 0 0,1-1 0 0 0,5-1 0 0 0,-1-1 0 0 0,0-1 0 0 0,0 1 0 0 0,0-1 0 0 0,2-3 0 0 0,-4 4 0 0 0,6-6 45 0 0,9-3-26 0 0,-14 9-19 0 0,-1-3 0 0 0,4 2 0 0 0,-5-2 0 0 0,-1 0 0 0 0,2-1 0 0 0,0-2 0 0 0,1 2 0 0 0,-2 1 11 0 0,1-1 32 0 0,-3 0-33 0 0,3 1-10 0 0,2-3 0 0 0,3 1 0 0 0,-7 2 0 0 0,0-1 0 0 0,-4-1 0 0 0,2 8 0 0 0,0 0 0 0 0,0 1 0 0 0,0-1 0 0 0,0 1 0 0 0,0-1 0 0 0,0 0 0 0 0,0 1 0 0 0,0-1 0 0 0,0 1 0 0 0,0-1 0 0 0,0 0 0 0 0,0 1 0 0 0,0-1 0 0 0,0 1 0 0 0,1-1 0 0 0,-1 0 0 0 0,0 1 0 0 0,0-1 0 0 0,1 1 0 0 0,-1-1 0 0 0,1 0 0 0 0,0-1 0 0 0,-1-7 0 0 0,0 4 1 0 0,0 0 1 0 0,0-1 0 0 0,-1 1 0 0 0,1 0 0 0 0,-1 0 0 0 0,-1-4-2 0 0,1 5 9 0 0,0 0 0 0 0,0-1 1 0 0,1 1-1 0 0,0 0 0 0 0,0-1 0 0 0,0 1 0 0 0,0-2-9 0 0,1 1-17 0 0,-1 0 1 0 0,0-1-1 0 0,0 1 0 0 0,-1 0 0 0 0,0-1 17 0 0,1 2-506 0 0,-1 1 1 0 0,1-1-1 0 0,0 0 1 0 0,0 0-1 0 0,1 1 1 0 0,-1-1 505 0 0,3-3-1838 0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18.556"/>
    </inkml:context>
    <inkml:brush xml:id="br0">
      <inkml:brushProperty name="width" value="0.3" units="cm"/>
      <inkml:brushProperty name="height" value="0.6" units="cm"/>
      <inkml:brushProperty name="color" value="#EF0C4D"/>
      <inkml:brushProperty name="tip" value="rectangle"/>
      <inkml:brushProperty name="rasterOp" value="maskPen"/>
    </inkml:brush>
  </inkml:definitions>
  <inkml:trace contextRef="#ctx0" brushRef="#br0">97 847 3224 0 0,'-2'0'143'0'0,"-14"0"22"0"0,5 0-100 0 0,1 0 0 0 0,0 0 0 0 0,-1-1 0 0 0,-3-1-65 0 0,-9-3 7225 0 0,23 4-7193 0 0,0 0 1 0 0,0 0-1 0 0,0 0 0 0 0,1 0 0 0 0,-1 0 1 0 0,0 0-1 0 0,0 0 0 0 0,1 0 1 0 0,-1 0-1 0 0,0 0 0 0 0,1 0 0 0 0,-1 0 1 0 0,1 0-1 0 0,-1 0-32 0 0,8-7-24 0 0,1 0 0 0 0,-1 1-1 0 0,1 0 1 0 0,1 0 0 0 0,9-5 24 0 0,54-26-27 0 0,-53 29 34 0 0,81-30-7 0 0,-43 15 73 0 0,2 2 0 0 0,55-12-73 0 0,-37 11 358 0 0,26-13-358 0 0,86-34 208 0 0,-97 31-72 0 0,-3 2 64 0 0,127-31 276 0 0,-129 42-207 0 0,29-9 108 0 0,68-21 117 0 0,24-8 351 0 0,127-18-845 0 0,-222 58 49 0 0,2 5 1 0 0,44 1-50 0 0,101 7 32 0 0,-166 12 0 0 0,71 10-32 0 0,-89-3 12 0 0,94 13 53 0 0,-156-19-61 0 0,125 27 71 0 0,-117-23-64 0 0,-2 1-1 0 0,1 1 0 0 0,-1 1 0 0 0,0 0 1 0 0,3 4-11 0 0,-21-12 14 0 0,0 1 1 0 0,0 0 0 0 0,0 0 0 0 0,0 0 0 0 0,-1 0 0 0 0,1 1 0 0 0,-1-1 0 0 0,1 1 0 0 0,-1-1 0 0 0,0 1 0 0 0,0 0 0 0 0,0 0 0 0 0,0 0 0 0 0,0 0 0 0 0,-1 0 0 0 0,1 1 0 0 0,-1-1-1 0 0,0 0 1 0 0,0 1 0 0 0,0-1 0 0 0,-1 0 0 0 0,1 1 0 0 0,-1-1 0 0 0,0 1 0 0 0,0 0 0 0 0,0-1 0 0 0,0 1 0 0 0,0-1 0 0 0,-1 1 0 0 0,0-1 0 0 0,1 0 0 0 0,-2 1 0 0 0,1-1-1 0 0,0 0 1 0 0,0 1 0 0 0,-1-1 0 0 0,0 0 0 0 0,0 0 0 0 0,-1 1-15 0 0,-16 25 258 0 0,-2-2 0 0 0,-1 0 0 0 0,-1-1 0 0 0,-1-1-1 0 0,-7 4-257 0 0,12-14 134 0 0,-1-1 0 0 0,-1-1 0 0 0,-7 3-134 0 0,-14 9 100 0 0,-42 22 164 0 0,-82 34-264 0 0,130-64-2 0 0,-104 43 126 0 0,-97 26-124 0 0,37-14 262 0 0,4 9-1 0 0,3 8 0 0 0,-59 44-261 0 0,31-4 552 0 0,-23 28-552 0 0,-53 35 16 0 0,241-154-16 0 0,-183 118 0 0 0,178-126 5 0 0,47-25-114 0 0,1 1-1 0 0,-1 1 0 0 0,1 1 0 0 0,0 0 0 0 0,-2 2 110 0 0,14-8-169 0 0,1-2-14 0 0,2-1-1 0 0,14-3 71 0 0,0 0-1 0 0,0 2 0 0 0,0-1 1 0 0,5 2 113 0 0,20-3-106 0 0,105-11 106 0 0,-87 9 0 0 0,-24 3 0 0 0,18-5 0 0 0,14-7 0 0 0,-1-2 0 0 0,-1-3 0 0 0,-1-3 0 0 0,32-18 0 0 0,17-11-30 0 0,236-104-285 0 0,-266 124 235 0 0,0 4-1 0 0,2 4 1 0 0,31-3 80 0 0,103-8-875 0 0,-148 24-31 0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4:32.233"/>
    </inkml:context>
    <inkml:brush xml:id="br0">
      <inkml:brushProperty name="width" value="0.35" units="cm"/>
      <inkml:brushProperty name="height" value="0.35" units="cm"/>
      <inkml:brushProperty name="color" value="#AE198D"/>
      <inkml:brushProperty name="inkEffects" value="galaxy"/>
      <inkml:brushProperty name="anchorX" value="-85248.25"/>
      <inkml:brushProperty name="anchorY" value="-58392.98828"/>
      <inkml:brushProperty name="scaleFactor" value="0.5"/>
    </inkml:brush>
    <inkml:brush xml:id="br1">
      <inkml:brushProperty name="width" value="0.35" units="cm"/>
      <inkml:brushProperty name="height" value="0.35" units="cm"/>
      <inkml:brushProperty name="color" value="#AE198D"/>
      <inkml:brushProperty name="inkEffects" value="galaxy"/>
      <inkml:brushProperty name="anchorX" value="-90135.15625"/>
      <inkml:brushProperty name="anchorY" value="-62214.86719"/>
      <inkml:brushProperty name="scaleFactor" value="0.5"/>
    </inkml:brush>
    <inkml:brush xml:id="br2">
      <inkml:brushProperty name="width" value="0.35" units="cm"/>
      <inkml:brushProperty name="height" value="0.35" units="cm"/>
      <inkml:brushProperty name="color" value="#AE198D"/>
      <inkml:brushProperty name="inkEffects" value="galaxy"/>
      <inkml:brushProperty name="anchorX" value="-93787.80469"/>
      <inkml:brushProperty name="anchorY" value="-61093.03516"/>
      <inkml:brushProperty name="scaleFactor" value="0.5"/>
    </inkml:brush>
    <inkml:brush xml:id="br3">
      <inkml:brushProperty name="width" value="0.35" units="cm"/>
      <inkml:brushProperty name="height" value="0.35" units="cm"/>
      <inkml:brushProperty name="color" value="#AE198D"/>
      <inkml:brushProperty name="inkEffects" value="galaxy"/>
      <inkml:brushProperty name="anchorX" value="-95520.42969"/>
      <inkml:brushProperty name="anchorY" value="-62201.51953"/>
      <inkml:brushProperty name="scaleFactor" value="0.5"/>
    </inkml:brush>
    <inkml:brush xml:id="br4">
      <inkml:brushProperty name="width" value="0.35" units="cm"/>
      <inkml:brushProperty name="height" value="0.35" units="cm"/>
      <inkml:brushProperty name="color" value="#AE198D"/>
      <inkml:brushProperty name="inkEffects" value="galaxy"/>
      <inkml:brushProperty name="anchorX" value="-97736.70313"/>
      <inkml:brushProperty name="anchorY" value="-62863.15234"/>
      <inkml:brushProperty name="scaleFactor" value="0.5"/>
    </inkml:brush>
    <inkml:brush xml:id="br5">
      <inkml:brushProperty name="width" value="0.35" units="cm"/>
      <inkml:brushProperty name="height" value="0.35" units="cm"/>
      <inkml:brushProperty name="color" value="#AE198D"/>
      <inkml:brushProperty name="inkEffects" value="galaxy"/>
      <inkml:brushProperty name="anchorX" value="-101460.53906"/>
      <inkml:brushProperty name="anchorY" value="-63190.28516"/>
      <inkml:brushProperty name="scaleFactor" value="0.5"/>
    </inkml:brush>
    <inkml:brush xml:id="br6">
      <inkml:brushProperty name="width" value="0.35" units="cm"/>
      <inkml:brushProperty name="height" value="0.35" units="cm"/>
      <inkml:brushProperty name="color" value="#AE198D"/>
      <inkml:brushProperty name="inkEffects" value="galaxy"/>
      <inkml:brushProperty name="anchorX" value="-103046.4375"/>
      <inkml:brushProperty name="anchorY" value="-62940.25391"/>
      <inkml:brushProperty name="scaleFactor" value="0.5"/>
    </inkml:brush>
    <inkml:brush xml:id="br7">
      <inkml:brushProperty name="width" value="0.35" units="cm"/>
      <inkml:brushProperty name="height" value="0.35" units="cm"/>
      <inkml:brushProperty name="color" value="#AE198D"/>
      <inkml:brushProperty name="inkEffects" value="galaxy"/>
      <inkml:brushProperty name="anchorX" value="-105607.97656"/>
      <inkml:brushProperty name="anchorY" value="-67386.0625"/>
      <inkml:brushProperty name="scaleFactor" value="0.5"/>
    </inkml:brush>
  </inkml:definitions>
  <inkml:trace contextRef="#ctx0" brushRef="#br0">1 2994 9848 0 0,'0'0'0'0'0,"0"-6"1024"0"0,0 1-1072 0 0,-1-2-75 0 0,2-6 294 0 0,2-1-171 0 0,1-1 214 0 0,3-1-88 0 0,2 1 38 0 0,3 0-4 0 0,3 1-187 0 0,4 0 128 0 0,2 1-122 0 0,3 0 32 0 0,1 1 82 0 0,2 1-45 0 0,1 0-56 0 0,2 0 131 0 0,1 0-155 0 0,1 1-64 0 0,1 2 44 0 0,6-1-24 0 0,0 3 88 0 0,0 1-24 0 0,-3 2 12 0 0,-2 3 0 0 0,-3 2 0 0 0,-3 3 0 0 0,-1 3-75 0 0,-2 1 96 0 0,3 6-31 0 0,3 7 10 0 0,3 7 0 0 0,-3 3 0 0 0,-3 0 0 0 0,-3 1 84 0 0,-7-2-34 0 0,-4-1-59 0 0,-3 0 20 0 0,-3 0-11 0 0,-2 0 0 0 0,-2-1 0 0 0,-1 1 149 0 0,1 0-70 0 0,0 2 19 0 0,0 0 0 0 0,-2 3-114 0 0,0 10 32 0 0,-2 11 86 0 0,0 11 56 0 0,-3 11-104 0 0,1-2 58 0 0,-1-5-130 0 0,0-5 146 0 0,0-7-160 0 0,-1-4 122 0 0,1-3-111 0 0,1 6 106 0 0,0 1-106 0 0,0-1 32 0 0,-2 8-11 0 0,0-2 0 0 0,-2-4 0 0 0,0 5 0 0 0,-2 5 0 0 0,-3 6 0 0 0,0 3 0 0 0,0 4 84 0 0,2-8-24 0 0,1-8 12 0 0,3-2 205 0 0,3 0 110 0 0,2 3-243 0 0,2 2-491 0 0,3 4 432 0 0,2 2 197 0 0,0-7-212 0 0,0-7-72 0 0,-1-2 26 0 0,1 0-136 0 0,-1 1-80 0 0,-1-6 128 0 0,-1-6 64 0 0,0-6 133 0 0,0-5-54 0 0,0 4 19 0 0,-1 7-112 0 0,0 8 30 0 0,1 8 58 0 0,1 9-95 0 0,-1-2 32 0 0,1-4-11 0 0,1 1 0 0 0,1-4-75 0 0,0-6 96 0 0,3 4-31 0 0,1-5 10 0 0,0-6 0 0 0,0-5 0 0 0,0-5 0 0 0,2 3 0 0 0,2 2 0 0 0,4 5 0 0 0,0 3 0 0 0,1-4 0 0 0,-3-4 0 0 0,-1-6 0 0 0,-3-5 0 0 0,-1-4 0 0 0,-1-3 0 0 0,-1 0 0 0 0,0-1 74 0 0,0-1-95 0 0,1-1 32 0 0,0 0-11 0 0,1 0 0 0 0,0-3 0 0 0,1 0 0 0 0,1-2 0 0 0,0-1 0 0 0,0-2 0 0 0,0-1 0 0 0,1-1 0 0 0,-2-1 84 0 0,2-1-108 0 0,0-1 110 0 0,4 1-23 0 0,3-1-76 0 0,0-1 118 0 0,4 0-48 0 0,0-1-67 0 0,-3-2 96 0 0,-1-1-107 0 0,-1-1 106 0 0,-2 0-106 0 0,2 0 32 0 0,0-2 63 0 0,1 0-95 0 0,1-2 32 0 0,1 0-11 0 0,0-1 0 0 0,1 0 0 0 0,6-1 0 0 0,3 0 74 0 0,5 0-95 0 0,-2 0 106 0 0,-3-1-106 0 0,3 0 32 0 0,1-2-11 0 0,3-1 93 0 0,4 0-120 0 0,-3-1 41 0 0,-2-1-14 0 0,-4 1 0 0 0,-2 0 74 0 0,-2 1-95 0 0,-1 0 32 0 0,-2 0-11 0 0,0 0 102 0 0,-1 0-131 0 0,1-1 137 0 0,1 0-135 0 0,0-1 115 0 0,6-3-109 0 0,0-1 116 0 0,0-1-119 0 0,7-3 36 0 0,-1-1 62 0 0,0 0-95 0 0,-2 1 32 0 0,-3 1-11 0 0,-3 0 74 0 0,-1 2-95 0 0,-1 1 32 0 0,0-1-11 0 0,1 1 0 0 0,-2 0 0 0 0,2 1 0 0 0,-1 0 0 0 0,1 0 0 0 0,0-1 0 0 0,0 0 0 0 0,-1-1 0 0 0,1-2 0 0 0,0-1 0 0 0,0-2 0 0 0,-1-1 0 0 0,1-2 74 0 0,0-1-95 0 0,0-2 32 0 0,1-3-11 0 0,2-2 74 0 0,2-3-95 0 0,2-2 32 0 0,0-3 73 0 0,8-9-108 0 0,9-11 110 0 0,8-12-107 0 0,0-1 32 0 0,-4 1-11 0 0,-4 4 0 0 0,-4 4 0 0 0,-3 3 0 0 0,-1 3 0 0 0,1 1 0 0 0,0 1-131 0 0,2-1-28 0 0,4-1-18 0 0,-33 30-7907 0 0,-1 1-1232 0 0</inkml:trace>
  <inkml:trace contextRef="#ctx0" brushRef="#br1" timeOffset="1150.341">6351 4748 2760 0 0,'0'0'0'0'0,"2"-1"248"0"0,1-1-289 0 0,0-1 82 0 0,2-3-41 0 0,1-1 1008 0 0,5-5 1028 0 0,1-3-1371 0 0,3-2-112 0 0,1-1-95 0 0,1 2-96 0 0,6-2 276 0 0,2 2-525 0 0,1 0 156 0 0,1 3-59 0 0,-1 2-68 0 0,-1 2 1 0 0,-1 2-4 0 0,7 2 146 0 0,1 3-201 0 0,2 0 67 0 0,1 3-23 0 0,0 0-10 0 0,6 3 125 0 0,2 1-167 0 0,-1 0 73 0 0,7 2 126 0 0,10 0 6 0 0,9 0 93 0 0,9-3-18 0 0,-2-1-203 0 0,-2-3 62 0 0,-7-3-31 0 0,-4-2 0 0 0,-5-2 0 0 0,-4-2 0 0 0,11-4 186 0 0,0-2-267 0 0,-1-1 88 0 0,9-3 137 0 0,9-2-86 0 0,7-1-30 0 0,6 1-89 0 0,0 0-55 0 0,-7 1 44 0 0,-8 3-133 0 0,0-3 149 0 0,-8-1-160 0 0,-6-1 132 0 0,-4 0-124 0 0,-4-2 36 0 0,7-8 62 0 0,-3-3-95 0 0,0-2 209 0 0,-4 0-71 0 0,-2-1 29 0 0,-3 0-2 0 0,0 1-252 0 0,-1 0 16 0 0,-2 0-30 0 0,0 1-4 0 0,-1-1 147 0 0,-1 0-42 0 0,0 0 21 0 0,-2-1 0 0 0,-1 0 0 0 0,-1-1 0 0 0,-2 0 0 0 0,6-6 93 0 0,0 0 20 0 0,-2 1 10 0 0,8-3-90 0 0,-3 1-167 0 0,-4 2 32 0 0,4-3-136 0 0,0-4 86 0 0,0-5-107 0 0,-4 3 123 0 0,-7 4-47 0 0,-7 5 17 0 0,-7 4 82 0 0,-5 0-108 0 0,-4 2 138 0 0,-6 3 53 0 0,-3 4-12 0 0,-4 3 13 0 0,-4-1 121 0 0,-6 0 59 0 0,-6 3-121 0 0,-3 5 129 0 0,-3 4-31 0 0,-3 4 19 0 0,-2 5-1 0 0,-4 4-9 0 0,-2 5 4 0 0,-2 2-2 0 0,-10 5 102 0 0,-3 3-252 0 0,-2 5 78 0 0,0 3-32 0 0,2 3-75 0 0,-10 5 22 0 0,-9 6-198 0 0,-3 2 156 0 0,0-2-55 0 0,-5 3-10747 0 0,14-8 6294 0 0</inkml:trace>
  <inkml:trace contextRef="#ctx0" brushRef="#br2" timeOffset="2124.504">7067 2246 3224 0 0,'0'0'0'0'0,"-3"-1"288"0"0,1 0-336 0 0,-2 1 96 0 0,1 0-48 0 0,1 1 1148 0 0,0-1 1174 0 0,1 0-1562 0 0,0 1-245 0 0,1-3 192 0 0,2-1-514 0 0,1-2-37 0 0,3-2-33 0 0,1 0-25 0 0,7-4 158 0 0,7-6 19 0 0,10-5-24 0 0,9-7-30 0 0,11-8-121 0 0,2-2-100 0 0,-1 0 93 0 0,-1 0-114 0 0,-4 2 32 0 0,9-8 63 0 0,-1 0-95 0 0,-2-2 32 0 0,12-10 63 0 0,0 0-95 0 0,-2 1 106 0 0,-2 2-106 0 0,-2 2 134 0 0,9-4 119 0 0,11-5 194 0 0,-2 1-285 0 0,0 3 92 0 0,4-4 202 0 0,9-3-152 0 0,-3 4-205 0 0,-4 5 64 0 0,6-1-38 0 0,-4 4-38 0 0,-5 4-72 0 0,-5 4 92 0 0,-6 3 52 0 0,13-5 182 0 0,13-6-315 0 0,1 2-128 0 0,-3 4 29 0 0,5-1-44 0 0,3 1 162 0 0,2 2-46 0 0,-9 8 22 0 0,-13 7 0 0 0,-3 9 0 0 0,-11 7-75 0 0,-9 6 96 0 0,-3 8-31 0 0,-7 3 10 0 0,-7 4 0 0 0,1 3 0 0 0,1 2-75 0 0,3 1 96 0 0,3-1-31 0 0,-2-1 10 0 0,0-1 0 0 0,-4 0 0 0 0,-2 1 0 0 0,-6 3 0 0 0,-6 1 74 0 0,-7 0-95 0 0,-5 6 125 0 0,-5 7 37 0 0,-8 7-91 0 0,-8 10 43 0 0,-5 1-14 0 0,-2-1 10 0 0,-7 4 100 0 0,-2 0-130 0 0,-2-4-59 0 0,-6 5-79 0 0,-2-2 106 0 0,0-3-40 0 0,-6 4 13 0 0,0-3 0 0 0,1-2 0 0 0,-6 2 74 0 0,-7 5 17 0 0,-9 4 74 0 0,0-2-109 0 0,1-6 47 0 0,-4 0 86 0 0,-6-1-130 0 0,4-5-59 0 0,4-3 15 0 0,5-6-15 0 0,4-4 0 0 0,3-3 74 0 0,2-2-95 0 0,-11 5 32 0 0,-12 6-11 0 0,-13 6 74 0 0,-8 7-20 0 0,-9 5-65 0 0,-5 6 22 0 0,-4 7-11 0 0,-3 4 0 0 0,10-2 0 0 0,11-6 0 0 0,1 1 0 0 0,9-7 0 0 0,10-5 0 0 0,-1 2-187 0 0,6-5 240 0 0,-11 9-1787 0 0,-3 3-6953 0 0,13-10 4690 0 0</inkml:trace>
  <inkml:trace contextRef="#ctx0" brushRef="#br3" timeOffset="5180.332">8350 2818 11312 0 0,'0'0'0'0'0,"0"0"504"0"0,-4-1 261 0 0,-2-1-924 0 0,1 0 281 0 0,1 1-122 0 0,1 0 317 0 0,1 1-53 0 0,0-1 44 0 0,2 1 3 0 0,1-2-177 0 0,2-4 154 0 0,3-2-204 0 0,5-2-82 0 0,3-2 18 0 0,2-2-20 0 0,3-3 0 0 0,4-1 0 0 0,10-5 84 0 0,14-4 69 0 0,16-3 14 0 0,5 4-98 0 0,-1 4 6 0 0,9 7 30 0 0,-41 10-52 0 0,14 2-53 0 0,45 3-5 0 0,12 7 16 0 0,9 9 63 0 0,-7 2-95 0 0,-10 3 32 0 0,-11-1 63 0 0,-13 0-95 0 0,0 2 106 0 0,3 4-31 0 0,-1 3-65 0 0,-8 3 22 0 0,-11 2-11 0 0,-34-20-8255 0 0,-4 0-1269 0 0</inkml:trace>
  <inkml:trace contextRef="#ctx0" brushRef="#br4" timeOffset="8070.576">7004 1882 5984 0 0,'0'0'0'0'0,"2"-2"536"0"0,1-5-504 0 0,2-2 22 0 0,2-3-36 0 0,0-3 579 0 0,2-2-86 0 0,3-2 89 0 0,0-3 4 0 0,4-3-295 0 0,6-9 356 0 0,4-2-465 0 0,3-3-77 0 0,3-1-35 0 0,0-1-17 0 0,2 1-82 0 0,2-1 96 0 0,1 0-106 0 0,1 0 32 0 0,2 0-11 0 0,-1 0 0 0 0,0-1 0 0 0,0 0 0 0 0,1 0 0 0 0,0-2 0 0 0,1 1 0 0 0,1 1 0 0 0,3 1 0 0 0,2 1 0 0 0,10-6 0 0 0,14-7 0 0 0,11-5 0 0 0,9-4 0 0 0,6-3 0 0 0,3-2 0 0 0,3-1 0 0 0,-10 7 0 0 0,-10 8 74 0 0,-10 9-95 0 0,-9 7 116 0 0,0 0-119 0 0,5 1 110 0 0,5 0-107 0 0,4 0 32 0 0,-3 5-11 0 0,-4 6 0 0 0,-6 4 0 0 0,-5 3-75 0 0,4 2 96 0 0,-3 3-31 0 0,-3 1 10 0 0,6-2 0 0 0,-3 2 0 0 0,-2 0 74 0 0,4 0-95 0 0,-3 1 32 0 0,-3 1-11 0 0,2 2 0 0 0,2 2 0 0 0,-6 4 0 0 0,-6 1 0 0 0,-3 4 0 0 0,-7 2 0 0 0,-6 2 0 0 0,-2 2 0 0 0,1 4 0 0 0,-5 2 0 0 0,-3 2 0 0 0,-1 3 0 0 0,-3 3 0 0 0,-2 0 0 0 0,-2 2 0 0 0,-3-1 0 0 0,-1-1 0 0 0,-1 2 0 0 0,1 0 0 0 0,0 1 0 0 0,0 0 0 0 0,0 0-75 0 0,4 6 96 0 0,0 0-31 0 0,0 1 10 0 0,-1 5 0 0 0,-3-2 0 0 0,-2-1 0 0 0,-1 3 0 0 0,-3 3 0 0 0,-2 5 0 0 0,-1 6 74 0 0,-3 8-95 0 0,-3-2 32 0 0,-4-4-11 0 0,-7 4 0 0 0,-9 4 84 0 0,-9 7-34 0 0,-3-3-59 0 0,-3-4 20 0 0,0-3-11 0 0,-2-3 0 0 0,0 0 0 0 0,-3 0 0 0 0,-16 19-7429 0 0,8-10 4390 0 0</inkml:trace>
  <inkml:trace contextRef="#ctx0" brushRef="#br5" timeOffset="8878.561">7829 1422 5928 0 0,'0'0'0'0'0,"0"0"256"0"0,1-4 149 0 0,3-3-490 0 0,2-2 149 0 0,4-7 365 0 0,3-2-57 0 0,1-4 61 0 0,4-7 247 0 0,2-3-636 0 0,3-2 198 0 0,4-1-92 0 0,2 0-174 0 0,3-1 143 0 0,2-1-146 0 0,2-3 115 0 0,4 0-109 0 0,2 0 32 0 0,4-2-11 0 0,3 0 0 0 0,4-2 0 0 0,16-10 0 0 0,6-2 0 0 0,5-1 0 0 0,2 2 0 0 0,0-2 0 0 0,-16 13-10574 0 0</inkml:trace>
  <inkml:trace contextRef="#ctx0" brushRef="#br6" timeOffset="10772.022">683 3428 3224 0 0,'0'0'0'0'0,"0"0"136"0"0,-1 2 47 0 0,-1 2-219 0 0,0 5 65 0 0,0 2-29 0 0,0 3 597 0 0,0 2-95 0 0,1 2 72 0 0,-1 2 18 0 0,1 2-459 0 0,0 2 49 0 0,0 2-70 0 0,1 1-4 0 0,-1 2-126 0 0,0 1 36 0 0,0 1 56 0 0,1 2-95 0 0,-1 0 32 0 0,1 2-11 0 0,-1 2 0 0 0,-1 1 0 0 0,0 2 0 0 0,-2 1 0 0 0,-1 1 0 0 0,-1 2 0 0 0,-1 1 0 0 0,0 1 0 0 0,-1 2 0 0 0,-2 9 74 0 0,-1 2-20 0 0,0 0-65 0 0,-3 8 218 0 0,-1 9-114 0 0,-1-1-33 0 0,0-5-60 0 0,1-5 11 0 0,1-6 73 0 0,0-4-108 0 0,0-4 110 0 0,-1-3-107 0 0,0 0 106 0 0,-1-1-106 0 0,1 0 200 0 0,-1 2-69 0 0,1 1 28 0 0,-5 11 91 0 0,0 2-204 0 0,1 1 65 0 0,-2 10 48 0 0,1-1-170 0 0,1-3 166 0 0,0 7-92 0 0,3-3-47 0 0,3-4 16 0 0,1-5 63 0 0,2-4-95 0 0,2-4 32 0 0,-1-4-11 0 0,1-2 0 0 0,1-2 0 0 0,0-2 112 0 0,1-1-144 0 0,0-2 160 0 0,0-1-48 0 0,1 0 16 0 0,2 0 0 0 0,-1 8 0 0 0,3 7-112 0 0,2 0 32 0 0,1-3 96 0 0,2-5-70 0 0,1-5 28 0 0,2-3-6 0 0,1-5-75 0 0,1-2 96 0 0,-1 0-106 0 0,1-2 106 0 0,1 0-106 0 0,6 6 32 0 0,3 0 63 0 0,2 0-95 0 0,2-2 32 0 0,2-3-11 0 0,5 5 0 0 0,8 6 0 0 0,0-1 0 0 0,0-1 0 0 0,-2-3 0 0 0,-1-3 0 0 0,3 3 0 0 0,7 2 0 0 0,2-2 0 0 0,-2-5 0 0 0,0-3 0 0 0,-1-5 0 0 0,0-5 0 0 0,1-4 0 0 0,12-3 0 0 0,11-5 0 0 0,2-4 0 0 0,0-4 0 0 0,8-7 0 0 0,11-6 0 0 0,11-5 74 0 0,-3-3-95 0 0,-5-1 32 0 0,3-3-11 0 0,-5-1 0 0 0,-6-1 0 0 0,-3 1 0 0 0,-2-1 0 0 0,-2 0 0 0 0,-1-1 0 0 0,17-6 74 0 0,0-3-95 0 0,3-3 32 0 0,-2-2-4426 0 0,-18 7-856 0 0</inkml:trace>
  <inkml:trace contextRef="#ctx0" brushRef="#br7" timeOffset="11480.006">3692 6768 5984 0 0,'0'0'0'0'0,"1"-4"536"0"0,0-3-504 0 0,1-2 22 0 0,1-6 944 0 0,1-1-121 0 0,2-3 118 0 0,1-1 26 0 0,2-3-605 0 0,1-1 53 0 0,2-2-70 0 0,2-2-22 0 0,2-1-233 0 0,2-2 19 0 0,2-1-30 0 0,3-1-3 0 0,2 0-68 0 0,2-2 10 0 0,1-2-81 0 0,2-2 132 0 0,4-1-155 0 0,14-14 122 0 0,7-3-111 0 0,4-6 32 0 0,2-2-11 0 0,1-2 0 0 0,1-1-4070 0 0,0-3 380 0 0,-12 14-1776 0 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0:45.494"/>
    </inkml:context>
    <inkml:brush xml:id="br0">
      <inkml:brushProperty name="width" value="0.05" units="cm"/>
      <inkml:brushProperty name="height" value="0.05" units="cm"/>
    </inkml:brush>
  </inkml:definitions>
  <inkml:trace contextRef="#ctx0" brushRef="#br0">70 58 456 0 0,'4'-14'3225'0'0,"-4"13"-2143"0"0,0 1-292 0 0,5-15 3015 0 0,-5-9 1359 0 0,0 21-1503 0 0,0 18-3101 0 0,1-12-527 0 0,-1-1 8 0 0,1-1 0 0 0,-1 1 0 0 0,0 0 0 0 0,0-1 0 0 0,1 1 0 0 0,-1 0 0 0 0,0-1 0 0 0,-1 1 0 0 0,1 0-1 0 0,0-1 1 0 0,0 1 0 0 0,-1 0 0 0 0,1-1 0 0 0,-1 1 0 0 0,0 0-41 0 0,1-1 2 0 0,-1 1 0 0 0,1-1 0 0 0,0 0 0 0 0,-1 0 0 0 0,1 1 0 0 0,0-1 0 0 0,0 0-1 0 0,0 0 1 0 0,0 0 0 0 0,0 1 0 0 0,0-1 0 0 0,0 0 0 0 0,0 0 0 0 0,1 1-2 0 0,1 17-2 0 0,-6 34 468 0 0,4-52-455 0 0,-1 1-1 0 0,1 0 1 0 0,0 0 0 0 0,0 0 0 0 0,0 0 0 0 0,0 0 0 0 0,0 0 0 0 0,1 0 0 0 0,-1 2-11 0 0,1-3 9 0 0,-1 1 0 0 0,0 0 0 0 0,0-1 0 0 0,0 1 0 0 0,0-1 0 0 0,0 1 0 0 0,0 0 0 0 0,0-1 0 0 0,0 1 0 0 0,-1 1-9 0 0,1-3 2 0 0,0 0 1 0 0,-1 1-1 0 0,1-1 1 0 0,0 1-1 0 0,0-1 1 0 0,0 0 0 0 0,-1 1-1 0 0,1-1 1 0 0,0 1-1 0 0,0-1 1 0 0,0 1-1 0 0,0-1 1 0 0,0 1-1 0 0,0-1 1 0 0,0 1-1 0 0,0-1 1 0 0,0 1 0 0 0,0-1-1 0 0,0 1 1 0 0,0-1-1 0 0,0 0 1 0 0,0 1-1 0 0,0-1 1 0 0,1 1-1 0 0,-1-1 1 0 0,0 1 0 0 0,0-1-3 0 0,1 1 1 0 0,-1-1 0 0 0,0 1 1 0 0,0-1-1 0 0,1 0 0 0 0,-1 1 1 0 0,0-1-1 0 0,0 1 0 0 0,0-1 1 0 0,0 1-1 0 0,0-1 0 0 0,0 1 1 0 0,0-1-1 0 0,0 1 0 0 0,0-1 1 0 0,0 1-1 0 0,0-1 1 0 0,0 1-1 0 0,0-1 0 0 0,0 1 1 0 0,0-1-1 0 0,-1 0 0 0 0,1 1 1 0 0,0-1-1 0 0,0 1 0 0 0,-1-1 1 0 0,1 0-1 0 0,0 1-1 0 0,-1 1-59 0 0,1 1 1 0 0,-1-1-1 0 0,1 0 0 0 0,0 1 0 0 0,0-1 1 0 0,0 1-1 0 0,0-1 0 0 0,0 0 0 0 0,0 1 0 0 0,1 0 59 0 0,0 15 503 0 0,-2-10-292 0 0,0-6-208 0 0,1 0 0 0 0,-1 1 1 0 0,1-1-1 0 0,-1 0 1 0 0,1 0-1 0 0,0 1 0 0 0,0-1 1 0 0,0 0-1 0 0,0 1-3 0 0,-1 34 117 0 0,0-17-98 0 0,0 0-1 0 0,1 10-18 0 0,0-18 27 0 0,-4 6-27 0 0,2-2 0 0 0,3-3 0 0 0,-1 21 0 0 0,1-24 0 0 0,2 0 0 0 0,-2-9 0 0 0,-1 1 0 0 0,1 0 0 0 0,-1-1 0 0 0,0 1 0 0 0,1 0 0 0 0,-1 0 0 0 0,0-1 0 0 0,0 1 0 0 0,0 0 0 0 0,-1 0 0 0 0,1 0 0 0 0,0-1 0 0 0,-1 5 0 0 0,0 2 0 0 0,-2-3 0 0 0,2 19 0 0 0,1 16 0 0 0,0-30 0 0 0,-2-8 0 0 0,1 0 0 0 0,0 9 0 0 0,5 44 0 0 0,-4-50 0 0 0,1 3 0 0 0,-2 0 0 0 0,1 0 0 0 0,-1 1 0 0 0,-1 5 0 0 0,1-5 0 0 0,1-8 0 0 0,0 0 0 0 0,0 0 0 0 0,0 0 0 0 0,0 0 0 0 0,0 0 0 0 0,0 0 0 0 0,0 0 0 0 0,0 0 0 0 0,-1 0 0 0 0,1 0 0 0 0,0 0 0 0 0,-1 0 0 0 0,1 0 0 0 0,-1 0 0 0 0,1 0 0 0 0,0 0 0 0 0,-1-1 0 0 0,1 1 0 0 0,0 0 0 0 0,0 0 0 0 0,0 0 0 0 0,0 0 0 0 0,0 0 0 0 0,0 0 0 0 0,0 0 0 0 0,0-1 0 0 0,0 1 0 0 0,0 0 0 0 0,0 0 0 0 0,0 0 0 0 0,1 0 0 0 0,-1 0 0 0 0,0 0 0 0 0,1 2 0 0 0,0 0 0 0 0,-1 1 0 0 0,1 0 0 0 0,-1 0 0 0 0,0 0 0 0 0,0-1 0 0 0,-1 1 0 0 0,1 0 0 0 0,-2 3 0 0 0,1 2-11 0 0,0-1 38 0 0,3 29 21 0 0,-2-29-48 0 0,0 0 11 0 0,-1 4 33 0 0,0-10-32 0 0,-1 0-17 0 0,1 18 7 0 0,1-18-1 0 0,-2 0 0 0 0,1 11 51 0 0,4 23 33 0 0,-3-8 86 0 0,0-5-24 0 0,-1 0 0 0 0,-1 5-147 0 0,1-26 15 0 0,1 0 0 0 0,-1 0 0 0 0,1 0-1 0 0,0 0 1 0 0,0 0 0 0 0,-1 0 0 0 0,1-1 0 0 0,1 1-1 0 0,-1 0 1 0 0,0 0 0 0 0,0 0 0 0 0,1 0-15 0 0,-1-1 8 0 0,0 0 1 0 0,0-1 0 0 0,1 1 0 0 0,-1 0 0 0 0,0-1 0 0 0,0 1-1 0 0,0 0 1 0 0,0-1 0 0 0,0 1 0 0 0,0 0 0 0 0,0 0 0 0 0,-1-1-1 0 0,1 1 1 0 0,0 0 0 0 0,0-1 0 0 0,-1 1-9 0 0,0 2 17 0 0,0 11 76 0 0,1-4-51 0 0,0 34 83 0 0,1-26-69 0 0,-1-13-54 0 0,1 0 0 0 0,-1 0 0 0 0,0 0 0 0 0,0 0 0 0 0,0 0-1 0 0,-1-1 1 0 0,1 1 0 0 0,-1 0 0 0 0,-1 0 0 0 0,-1 4-2 0 0,1-8 14 0 0,1 2-5 0 0,0 15 75 0 0,1-7-88 0 0,1-6 14 0 0,-1 0 0 0 0,0 0 0 0 0,-1 0-1 0 0,1-1 1 0 0,-1 1 0 0 0,1 0 0 0 0,-2 0-1 0 0,1-1-9 0 0,1-3 0 0 0,0-1 0 0 0,-1 1 0 0 0,1-1 0 0 0,0 1 0 0 0,0-1 0 0 0,-1 1 0 0 0,1-1 0 0 0,0 1 0 0 0,0-1 0 0 0,0 1 0 0 0,0-1 0 0 0,0 1 0 0 0,0-1 0 0 0,0 1 0 0 0,0-1 0 0 0,0 1 0 0 0,0-1 0 0 0,0 1 0 0 0,0-1 0 0 0,0 1 0 0 0,0-1 0 0 0,0 1 0 0 0,0-1 0 0 0,1 1 0 0 0,-1-1 0 0 0,0 2 0 0 0,0 15 54 0 0,-1-11-44 0 0,1-5-10 0 0,-1 1 0 0 0,1 0 0 0 0,-1 0 0 0 0,1-1 0 0 0,0 1 0 0 0,0 0 0 0 0,0 0 0 0 0,0 0 0 0 0,0-1 0 0 0,0 1 0 0 0,0 0 0 0 0,0 0 0 0 0,2 3 0 0 0,-10 19 0 0 0,6-19 0 0 0,1 2 0 0 0,1 3 0 0 0,0-3 11 0 0,0-5 32 0 0,0 6-28 0 0,-2 19 44 0 0,1-21-59 0 0,1 2 0 0 0,0-1 0 0 0,-3 1 0 0 0,2-1 0 0 0,0 4 5 0 0,0-12-11 0 0,0 1 4 0 0,0 3 8 0 0,0 35 55 0 0,1-28-61 0 0,-3-4 11 0 0,2-3 32 0 0,1 5-57 0 0,0-6-103 0 0,0-2-14 0 0,0 0 3 0 0,0 0-184 0 0,0 0-772 0 0,1-2-336 0 0,2-4-68 0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0:52.121"/>
    </inkml:context>
    <inkml:brush xml:id="br0">
      <inkml:brushProperty name="width" value="0.05" units="cm"/>
      <inkml:brushProperty name="height" value="0.05" units="cm"/>
    </inkml:brush>
  </inkml:definitions>
  <inkml:trace contextRef="#ctx0" brushRef="#br0">0 192 3568 0 0,'0'0'165'0'0,"0"0"90"0"0,0 0 290 0 0,0 0 126 0 0,0 0 29 0 0,3-1-899 0 0,9-1 10720 0 0,-9 1-8988 0 0,18-2-949 0 0,-19 3-554 0 0,1 0 0 0 0,-1 0 0 0 0,0 0 0 0 0,0 0 0 0 0,1-1 0 0 0,-1 1 0 0 0,0-1 0 0 0,1 0-30 0 0,-1 0 80 0 0,-2 1 0 0 0,2 1-19 0 0,1-1-1 0 0,-1 0 1 0 0,0 1-1 0 0,1-1 1 0 0,-1 0-1 0 0,1 0 0 0 0,-1-1 1 0 0,1 1-1 0 0,2-1-60 0 0,29-2 512 0 0,-25 2-462 0 0,-5 0-4 0 0,-1 0 0 0 0,1 0 0 0 0,-1 1 0 0 0,1 0 0 0 0,-1 0 0 0 0,3 0-46 0 0,12 0 234 0 0,-10 1-214 0 0,4 0 93 0 0,-1 0 1 0 0,1 0-1 0 0,8-1-113 0 0,9 0 54 0 0,-21 1-52 0 0,-3 0 6 0 0,0-1 0 0 0,0 0 0 0 0,0 0 0 0 0,0 0 0 0 0,1-1 0 0 0,-1 0 0 0 0,0 0 0 0 0,0 0 0 0 0,1-1-8 0 0,-4 2 0 0 0,0 0 0 0 0,8 3 0 0 0,-8-2 1 0 0,-1 0 0 0 0,1-1-1 0 0,0 1 1 0 0,-1-1 0 0 0,1 0-1 0 0,0 1 1 0 0,0-1-1 0 0,-1 0 1 0 0,1 0 0 0 0,0 0-1 0 0,0 0 1 0 0,-1-1 0 0 0,1 1-1 0 0,0 0 1 0 0,-1-1-1 0 0,1 1 1 0 0,0-1-1 0 0,43 1 53 0 0,-14 7-53 0 0,-20-6 0 0 0,-3-1 0 0 0,23 5 0 0 0,-27-4 0 0 0,2 0 0 0 0,4-2 0 0 0,-1 1 0 0 0,-1 3 0 0 0,0-2 0 0 0,29 4 0 0 0,-35-5 0 0 0,0 2 0 0 0,18-1 0 0 0,-9-2 0 0 0,-1 1 0 0 0,1-1 0 0 0,-1-1 0 0 0,6-1 0 0 0,-9 1 0 0 0,0 1 0 0 0,0 0 0 0 0,-1 0 0 0 0,4 1 0 0 0,10-3 0 0 0,2 3 0 0 0,45 3 103 0 0,-48-3-126 0 0,10 0 23 0 0,-9 0 0 0 0,-11-1 0 0 0,-1-1 0 0 0,-6 2 0 0 0,-1-1 0 0 0,0 1 0 0 0,1-1 0 0 0,-1 1 0 0 0,0 0 0 0 0,1 0 0 0 0,-1 0 0 0 0,1 0 0 0 0,-1 0 0 0 0,1 0 0 0 0,-1 0 0 0 0,0 0 0 0 0,2 1 0 0 0,0 0 0 0 0,9 2 0 0 0,-11-1 0 0 0,2 0 0 0 0,26-2 0 0 0,-1 1 0 0 0,5 1 0 0 0,-31-2 0 0 0,-1 0 0 0 0,0 0 0 0 0,1 0 0 0 0,-1 0 0 0 0,0 0 0 0 0,0 0 0 0 0,1 1 0 0 0,-1-1 0 0 0,0 0 0 0 0,0 1 0 0 0,2 0 0 0 0,5 1 0 0 0,8-1 0 0 0,-4 3 0 0 0,-4-3 0 0 0,-3 2 0 0 0,6 1 0 0 0,-2-3 0 0 0,12-2 0 0 0,26 1 0 0 0,-39 0 0 0 0,-2 0 0 0 0,4 1 0 0 0,0 2 0 0 0,-3-2 0 0 0,2-2 0 0 0,2-2 0 0 0,1 3 0 0 0,5 4 0 0 0,-9-1 0 0 0,1 3 0 0 0,1-2 0 0 0,-3 0 0 0 0,5 0 0 0 0,-7-4 0 0 0,9-3 0 0 0,-3 2 18 0 0,-8 4 25 0 0,20-2 368 0 0,8-1-424 0 0,-29 0-62 0 0,9-1-174 0 0,-8 0 202 0 0,23 0-41 0 0,2 1 88 0 0,0 3 11 0 0,19-11 90 0 0,-28 7-245 0 0,5-1 144 0 0,0 3 0 0 0,-7 1 0 0 0,-6-3 0 0 0,-8 0 0 0 0,18 0 0 0 0,-7 1 0 0 0,-6 1 0 0 0,0 1 0 0 0,2 0 0 0 0,-9 0 0 0 0,29-1 0 0 0,-22-1 0 0 0,1 1 0 0 0,-7 0 0 0 0,1 0 0 0 0,16-4 0 0 0,-18 3 0 0 0,0 0 0 0 0,0-1 0 0 0,0 1 0 0 0,0 0 0 0 0,0 0 0 0 0,0 0 0 0 0,0 0 0 0 0,0 0 0 0 0,1 0 0 0 0,-1 0 0 0 0,0 0 0 0 0,0 1 0 0 0,0-1 0 0 0,0 0 0 0 0,0 1 0 0 0,0-1 0 0 0,5 2 0 0 0,2-2 0 0 0,0 2 0 0 0,5 2 4 0 0,4-3-61 0 0,1-5 46 0 0,0 1 11 0 0,-7 3 0 0 0,-3 0 5 0 0,-4 0 31 0 0,1 0 0 0 0,-1 0-1 0 0,1 0 1 0 0,-1-1-1 0 0,1 0 1 0 0,1 0-36 0 0,31-6-219 0 0,-29 6 219 0 0,54-3 0 0 0,-51 3 0 0 0,0 0 0 0 0,14-7 0 0 0,-24 8 0 0 0,0-1 0 0 0,0 1 0 0 0,0-1 0 0 0,0 1 0 0 0,-1 0 0 0 0,1 0 0 0 0,0 0 0 0 0,0-1 0 0 0,0 1 0 0 0,0 0 0 0 0,0 0 0 0 0,0 0 0 0 0,0 0 0 0 0,0 0 0 0 0,0 1 0 0 0,-1-1 0 0 0,2 0 0 0 0,1 1 0 0 0,0-3 0 0 0,0 1 0 0 0,11 2 0 0 0,-11 0 0 0 0,24 0 0 0 0,-21-1 0 0 0,21-2 0 0 0,-23 2 0 0 0,1 0 0 0 0,0 0 0 0 0,-1-1 0 0 0,1 1 0 0 0,0-1 0 0 0,-1 0 0 0 0,4-1 0 0 0,-7 2 0 0 0,0 0 0 0 0,0 0 0 0 0,0-1 0 0 0,0 1 0 0 0,0 0 0 0 0,0 0 0 0 0,0 0 0 0 0,0 0 0 0 0,0 0 0 0 0,0 0 0 0 0,0 1 0 0 0,0-1 0 0 0,0 0 0 0 0,0 0 0 0 0,5 2 0 0 0,-1-1 0 0 0,1-1 0 0 0,0 1 0 0 0,0-1 0 0 0,2 0 0 0 0,1 0 0 0 0,4-1 0 0 0,-11-2 0 0 0,0 1 0 0 0,5-1 0 0 0,-6 3 0 0 0,1-1 0 0 0,-1 1 0 0 0,1-1 0 0 0,-1 0 0 0 0,1 1 0 0 0,-1-1 0 0 0,0 0 0 0 0,1 0 0 0 0,-1 0 0 0 0,0 0 0 0 0,0 0 0 0 0,0 0 0 0 0,0 0 0 0 0,0 1 0 0 0,0-1 0 0 0,1 1 0 0 0,-1-1 0 0 0,0 1 0 0 0,0-1 0 0 0,0 1 0 0 0,0 0 0 0 0,1 0 0 0 0,-1-1 0 0 0,0 1 0 0 0,30-1 0 0 0,-5 4 234 0 0,-25-3-74 0 0,-1 0-34 0 0,0 0-167 0 0,0 0-78 0 0,0 0-10 0 0,2 0 17 0 0,-1 1 111 0 0,0-1 0 0 0,-1 1-1 0 0,1-1 1 0 0,0 0 0 0 0,-1 1 0 0 0,1-1-1 0 0,0 0 1 0 0,-1 0 0 0 0,1 1 0 0 0,0-1 0 0 0,0 0-1 0 0,-1 0 1 0 0,1 0 0 0 0,0 0 0 0 0,-1 0-1 0 0,1 0 1 0 0,0 0 0 0 0,0 0 0 0 0,-1 0-1 0 0,1-1 2 0 0,11 5 2 0 0,-10-2-2 0 0,-2-2 0 0 0,1 1 0 0 0,-1-1 0 0 0,1 1 0 0 0,-1-1 0 0 0,1 0 0 0 0,0 0 0 0 0,-1 1 0 0 0,1-1 0 0 0,-1 0 0 0 0,1 0 0 0 0,0 0 0 0 0,-1 0 0 0 0,1 0 0 0 0,0 1 0 0 0,-1-1 0 0 0,1 0 0 0 0,-1-1 0 0 0,1 1 0 0 0,0 0 0 0 0,-1 0 0 0 0,1 0 0 0 0,0 0 0 0 0,-1 0 0 0 0,20-4 14 0 0,-12 3 60 0 0,-7 1 46 0 0,-1 0 10 0 0,0 0-32 0 0,8 0-270 0 0,-4-2 128 0 0,21 1-176 0 0,-15 0 220 0 0,1-1 0 0 0,-10 3 0 0 0,0 0 0 0 0,0-1 0 0 0,0 0 0 0 0,0 1 0 0 0,1-1 0 0 0,-1 0 0 0 0,0 0 0 0 0,0 1 0 0 0,0-1 0 0 0,0 0 0 0 0,0 0 0 0 0,0 0 0 0 0,1 0 0 0 0,-1 0 0 0 0,1-1 0 0 0,19 3 0 0 0,9-4-122 0 0,-30 2 136 0 0,1 0 1 0 0,-1 0 0 0 0,1 0-1 0 0,0 0 1 0 0,-1 0 0 0 0,1 0-1 0 0,0 0 1 0 0,-1 0 0 0 0,1 0-1 0 0,-1 0 1 0 0,1 0 0 0 0,0 0-1 0 0,-1-1 1 0 0,1 1 0 0 0,-1 0-1 0 0,1-1 1 0 0,-1 1 0 0 0,1 0-1 0 0,0-1 1 0 0,-1 1 0 0 0,0 0-1 0 0,1-1-14 0 0,-1 1 136 0 0,3-1-22 0 0,11-3-89 0 0,-10 4-29 0 0,8 0 5 0 0,0 1-1 0 0,0-1 0 0 0,1-3 0 0 0,-11 1 0 0 0,1 0 0 0 0,10 0 0 0 0,-3 0 29 0 0,-6 1-36 0 0,1 1 0 0 0,0-1 0 0 0,-1 1-1 0 0,1 0 1 0 0,0 0 0 0 0,-1 0 0 0 0,1 1 0 0 0,0-1-1 0 0,3 2 8 0 0,12 2 28 0 0,-5-2-59 0 0,-13-3 32 0 0,3-1-227 0 0,13 0 468 0 0,6-3-333 0 0,-23 5-60 0 0,-1 0-10 0 0,9-3 101 0 0,-8 3 94 0 0,1 0 0 0 0,-1 0 0 0 0,1 0 0 0 0,-1 0 0 0 0,1 0 1 0 0,-1 0-1 0 0,1 1 0 0 0,-1-1 0 0 0,1 0 0 0 0,0 1-34 0 0,3 0-40 0 0,-1 1 0 0 0,1-1 0 0 0,0-1 0 0 0,0 1 0 0 0,0-1 0 0 0,2 0 40 0 0,0-2 148 0 0,-5 1-168 0 0,-1 1-1 0 0,1-1 1 0 0,-1 1-1 0 0,0 0 1 0 0,1-1-1 0 0,-1 1 1 0 0,1 0-1 0 0,-1 0 1 0 0,1 0-1 0 0,-1 0 1 0 0,1 0-1 0 0,-1 0 1 0 0,1 0-1 0 0,-1 0 1 0 0,1 1-1 0 0,0-1 21 0 0,0 2-17 0 0,-1-2 20 0 0,0 1 0 0 0,0-1-1 0 0,0 0 1 0 0,0 1 0 0 0,0-1-1 0 0,-1 0 1 0 0,1 0 0 0 0,0 1-1 0 0,0-1 1 0 0,0 0-1 0 0,0 0 1 0 0,0 0 0 0 0,0 0-1 0 0,0 0 1 0 0,0-1 0 0 0,0 1-3 0 0,7-1-30 0 0,-5 0 80 0 0,-1 1 1 0 0,0 0-1 0 0,0-1 1 0 0,1 1-1 0 0,-1 0 1 0 0,0 0-1 0 0,1 0 1 0 0,-1 1-1 0 0,0-1 1 0 0,0 0-1 0 0,2 1-50 0 0,10 1-286 0 0,8-3 136 0 0,-13 1 127 0 0,-1-1 23 0 0,-6 0 0 0 0,-1 0 0 0 0,1 0 0 0 0,-1 1 0 0 0,1-1 0 0 0,0 0 0 0 0,-1 1 0 0 0,1-1 0 0 0,0 1 0 0 0,0 0 0 0 0,-1-1 0 0 0,1 1 0 0 0,0 0 0 0 0,0 0 0 0 0,-1 0 0 0 0,1 1 0 0 0,16-2 0 0 0,-4-3 0 0 0,-13 3 0 0 0,-1 1 0 0 0,1-1 0 0 0,0 0 0 0 0,0 1 0 0 0,0-1 0 0 0,0 1 0 0 0,0 0 0 0 0,0-1 0 0 0,0 1 0 0 0,0 0 0 0 0,0 0 0 0 0,1 0 0 0 0,-1 0 0 0 0,0 0 0 0 0,1 0 0 0 0,13-3 0 0 0,9-2 0 0 0,-10 1 1 0 0,-11 5-3 0 0,-2-1 3 0 0,0 1 0 0 0,0-1 0 0 0,0 0-1 0 0,0 0 1 0 0,0 1 0 0 0,-1-1 0 0 0,1 0 0 0 0,0 0-1 0 0,0 0 1 0 0,0 0 0 0 0,0 0 0 0 0,0 0 0 0 0,0 0-1 0 0,0-1 1 0 0,0 1 0 0 0,0 0 0 0 0,0 0 0 0 0,0-1-1 0 0,20-3 458 0 0,-12 3-458 0 0,-4 2 0 0 0,0-1 0 0 0,0 0 0 0 0,-1 0 0 0 0,1-1 0 0 0,0 1 0 0 0,0-1 0 0 0,1 0 0 0 0,27 0 0 0 0,-20 0 0 0 0,-11 0 0 0 0,1-1 0 0 0,10-1 0 0 0,-9 2 0 0 0,14 2 0 0 0,14 0 0 0 0,-13 1-17 0 0,56-5-558 0 0,-39 3 575 0 0,25 2 0 0 0,-59-2 0 0 0,16-3 0 0 0,-10 0 0 0 0,13 0 0 0 0,-5 2 0 0 0,-5-1 0 0 0,-5 1 0 0 0,1 1 0 0 0,2 0 0 0 0,-1 1 0 0 0,3 1 0 0 0,-5-2 0 0 0,3 0 0 0 0,2-4 0 0 0,3 1 0 0 0,-1 2 0 0 0,-11 0 1 0 0,2 0-3 0 0,9 3 19 0 0,-11-1 74 0 0,0-2-87 0 0,0 0 0 0 0,0 0 0 0 0,0 1 0 0 0,0 0 1 0 0,0-1-1 0 0,1 1 0 0 0,-1 0 0 0 0,0 0 0 0 0,0 0 0 0 0,0 0 0 0 0,2 0-4 0 0,-1 1-124 0 0,8-1 94 0 0,-8 0 33 0 0,10-4-4 0 0,-8 2 46 0 0,21-3-62 0 0,-17 5-11 0 0,20-3 28 0 0,-21 1 0 0 0,8 4 0 0 0,-14-2 0 0 0,20-5 0 0 0,-11 2 0 0 0,-9 1 0 0 0,0 0 0 0 0,11-1 0 0 0,-3 3 0 0 0,-2 0 0 0 0,28 0 0 0 0,12 0 0 0 0,-39-1 0 0 0,24-5 11 0 0,-32 6-3 0 0,10-2 27 0 0,2 3 103 0 0,8 1 73 0 0,-15-2-232 0 0,-1 1 0 0 0,1-1 0 0 0,0 0 0 0 0,-1 0-1 0 0,1 0 1 0 0,0-1 0 0 0,5-1 21 0 0,-10 0-44 0 0,0 2 41 0 0,-1-1-1 0 0,0 1 1 0 0,0 0 0 0 0,1-1-1 0 0,-1 1 1 0 0,0 0 0 0 0,1-1-1 0 0,-1 1 1 0 0,0 0 0 0 0,1 0-1 0 0,-1-1 1 0 0,1 1-1 0 0,-1 0 1 0 0,0 0 0 0 0,1 0-1 0 0,-1 0 1 0 0,1-1 0 0 0,-1 1-1 0 0,1 0 1 0 0,-1 0 0 0 0,0 0-1 0 0,1 0 1 0 0,-1 0-1 0 0,1 0 1 0 0,-1 0 0 0 0,1 0-1 0 0,-1 0 4 0 0,20-7-22 0 0,-19 7 53 0 0,0-1 1 0 0,0 1 0 0 0,0-1-1 0 0,0 1 1 0 0,0 0 0 0 0,0-1-1 0 0,1 1 1 0 0,-1 0 0 0 0,0 0-1 0 0,0-1 1 0 0,0 1 0 0 0,1 0-32 0 0,-1 0-150 0 0,12 0-134 0 0,-2-1 404 0 0,3 2-29 0 0,-8-1-216 0 0,20 0 25 0 0,0 0 573 0 0,-24 0-592 0 0,2-4-137 0 0,13-2 248 0 0,-9 5 8 0 0,0-2 0 0 0,1 0 0 0 0,2 2 0 0 0,-2 1 0 0 0,-1 0 0 0 0,3 0 0 0 0,2 0 1 0 0,-12-1-1 0 0,0 1 1 0 0,-1 0-1 0 0,1 0 0 0 0,0 0 1 0 0,-1 0-1 0 0,1 0 1 0 0,0 0-1 0 0,-1 0 0 0 0,1 0 1 0 0,0 0-1 0 0,-1 0 0 0 0,1 0 1 0 0,0 0-1 0 0,-1 1 0 0 0,1-1 1 0 0,0 0-1 0 0,-1 0 1 0 0,1 1-1 0 0,-1-1 0 0 0,1 0 1 0 0,-1 1-1 0 0,1-1 0 0 0,0 1 1 0 0,-1-1-1 0 0,0 1 0 0 0,1-1 1 0 0,-1 1-1 0 0,1-1 1 0 0,-1 1-1 0 0,0-1 0 0 0,1 1 1 0 0,-1-1-1 0 0,0 1 0 0 0,1 0 1 0 0,-1 0-1 0 0,1-1 19 0 0,0 0 0 0 0,0 1 1 0 0,0-1-1 0 0,0 0 0 0 0,0 0 1 0 0,0 1-1 0 0,0-1 1 0 0,-1 0-1 0 0,1 0 0 0 0,0 0 1 0 0,0 0-1 0 0,0 0 0 0 0,0-1 1 0 0,1 1-20 0 0,1 0 53 0 0,15 0-32 0 0,-17 0-172 0 0,1 0-10 0 0,15 0-18 0 0,14 3 591 0 0,-29-3-274 0 0,-2 0-198 0 0,0 0-90 0 0,0 0-11 0 0,0 0 38 0 0,0 0 186 0 0,0 0 86 0 0,0 0 13 0 0,1 0-71 0 0,-1 1-86 0 0,1 0 1 0 0,0-1-1 0 0,0 1 1 0 0,0-1-1 0 0,0 1 0 0 0,0 0 1 0 0,1-1-1 0 0,-1 0 0 0 0,0 1 1 0 0,0-1-1 0 0,0 0 1 0 0,0 1-1 0 0,0-1 0 0 0,2 0-5 0 0,12 1 0 0 0,-10-3-5 0 0,-2 1-6 0 0,14-2-326 0 0,-5 1 356 0 0,0 0 0 0 0,0 1 0 0 0,9 1-19 0 0,-15-1 92 0 0,1 0 68 0 0,24 0-121 0 0,-19-1-187 0 0,-1 0 0 0 0,0-1 0 0 0,0-1 0 0 0,8-3 148 0 0,-15 6 7 0 0,-1 0 0 0 0,0 0-1 0 0,1 1 1 0 0,0-1 0 0 0,-1 1 0 0 0,1-1-1 0 0,-1 1 1 0 0,3 0-7 0 0,-6 0-13 0 0,7 0-15 0 0,3-3 28 0 0,-9 3 0 0 0,22 0 0 0 0,-17 0 37 0 0,0 0 0 0 0,-1 0-1 0 0,1-1 1 0 0,0 0-1 0 0,0 0 1 0 0,-1-1-1 0 0,2 0-36 0 0,-4 2 162 0 0,4 0-24 0 0,0 2-110 0 0,-6-1-65 0 0,1-1-1 0 0,-1 0 0 0 0,0 0 0 0 0,0 1 1 0 0,0-1-1 0 0,1 0 0 0 0,-1 0 0 0 0,0 0 0 0 0,0-1 1 0 0,1 1-1 0 0,-1 0 0 0 0,0 0 0 0 0,0-1 1 0 0,1 1-1 0 0,-1 0 0 0 0,0-1 38 0 0,1 0 64 0 0,0 1-1 0 0,15-1-170 0 0,-6-1 107 0 0,3-4 0 0 0,-14 6 0 0 0,26-5 0 0 0,-16 4 0 0 0,1 1 0 0 0,-2-1 0 0 0,9-1 23 0 0,-12 3 187 0 0,-3 0-259 0 0,-2 0-68 0 0,-1-1 180 0 0,0 0 81 0 0,0 0 14 0 0,0 0-39 0 0,0 0-172 0 0,0 0-71 0 0,0 0-18 0 0,0 0 37 0 0,0 0 161 0 0,0 0 68 0 0,0 0 17 0 0,0 0-43 0 0,0 0-184 0 0,0 0-28 0 0,0 0-913 0 0,0 0-3870 0 0,0 0-1668 0 0</inkml:trace>
  <inkml:trace contextRef="#ctx0" brushRef="#br0" timeOffset="2210.432">5006 37 2760 0 0,'0'0'359'0'0,"0"0"465"0"0,0 0 205 0 0,0 0 40 0 0,0 0-54 0 0,0 0-269 0 0,0 0-118 0 0,0 0-20 0 0,0 0-37 0 0,0 0-131 0 0,0 0-59 0 0,0 0-11 0 0,0 0 2 0 0,0 0 17 0 0,0 0 10 0 0,0 0 1 0 0,0 0-14 0 0,0 0-54 0 0,0 0-20 0 0,0 0-6 0 0,0 0-10 0 0,0 0-35 0 0,0 0-18 0 0,0 0-3 0 0,0 0-2 0 0,0 0-4 0 0,0 0-2 0 0,0 0 0 0 0,0 0-3 0 0,0 0-137 0 0,1 0 0 0 0,-1 0 0 0 0,1 0-1 0 0,0-1 1 0 0,-1 1 0 0 0,1 1 0 0 0,-1-1 0 0 0,1 0 0 0 0,0 0 0 0 0,-1 0 0 0 0,1 0 0 0 0,-1 0 0 0 0,1 0 0 0 0,-1 1-1 0 0,1-1-91 0 0,1 2 83 0 0,-1 0-1 0 0,0 0 0 0 0,1 0 0 0 0,-1 0 0 0 0,1-1 0 0 0,0 1 0 0 0,0 0 0 0 0,1 0-82 0 0,4 5 247 0 0,-6-7-103 0 0,-1 0 0 0 0,25 11 818 0 0,-11-4-772 0 0,-13-7-94 0 0,1 1-5 0 0,-1-1-79 0 0,1 1 0 0 0,-1-1 0 0 0,1 1 0 0 0,-1-1 0 0 0,0 1 0 0 0,1 0 0 0 0,-1 0 0 0 0,1-1 1 0 0,-1 1-1 0 0,0 0 0 0 0,0 0 0 0 0,0 0 0 0 0,0 0 0 0 0,1 1 0 0 0,-1-1 0 0 0,-1 0 0 0 0,1 0 0 0 0,0 1 0 0 0,0 0-12 0 0,2 2 11 0 0,2 1 42 0 0,-3-4-39 0 0,0 0 0 0 0,0 0 0 0 0,0 0 0 0 0,0 0 0 0 0,0 0 0 0 0,1-1-1 0 0,-1 1 1 0 0,0-1 0 0 0,0 1 0 0 0,1-1-14 0 0,-1 0 10 0 0,0 1 0 0 0,1-1 0 0 0,-1 1 0 0 0,0 0 1 0 0,0 0-1 0 0,0-1 0 0 0,0 1 0 0 0,0 0 0 0 0,0 1 0 0 0,0-1 0 0 0,0 0 0 0 0,1 2-10 0 0,4 2 12 0 0,2 5-12 0 0,-7-8 1 0 0,8 4 9 0 0,-2-1 28 0 0,-4-3-35 0 0,-1 0 0 0 0,1 0 0 0 0,0 1 0 0 0,-1 0 0 0 0,3 1-3 0 0,-2 0 1 0 0,0-1 0 0 0,0 1 0 0 0,-1 0-1 0 0,1 0 1 0 0,2 5-1 0 0,-4-6 7 0 0,1-1 36 0 0,6 1-35 0 0,-2 1-5 0 0,9 15-4 0 0,-10-15 1 0 0,-4-3 0 0 0,-1 0 0 0 0,1 0 0 0 0,0 0 0 0 0,-1 1 0 0 0,1-1 0 0 0,-1 0 0 0 0,1 1 0 0 0,-1 0 0 0 0,0-1 0 0 0,1 2 0 0 0,6 6-203 0 0,-1-1-1 0 0,2 0 1 0 0,0 0 203 0 0,0 0 564 0 0,6 4-513 0 0,-3 1-56 0 0,-10-10 5 0 0,9 5 0 0 0,-8-6 9 0 0,0 0-1 0 0,0 1 0 0 0,-1-1 1 0 0,1 0-1 0 0,-1 1 0 0 0,0-1 1 0 0,0 1-1 0 0,0 0 0 0 0,1 0-8 0 0,-3-2-11 0 0,8 10 11 0 0,-6-10 0 0 0,0-1 0 0 0,6 8 0 0 0,-4 0 0 0 0,-3-7 0 0 0,4 8 0 0 0,-1-7 0 0 0,11 15 0 0 0,9 8 0 0 0,-3-6 0 0 0,-14-12 11 0 0,17 18 42 0 0,-19-19-53 0 0,2-1 0 0 0,-1 2 0 0 0,2-1 0 0 0,-1-1 0 0 0,-2 3 0 0 0,2 1 0 0 0,-2-1 0 0 0,0 0 0 0 0,-2-5 0 0 0,9 5 0 0 0,-4-2 0 0 0,14 10 717 0 0,-9-8-1139 0 0,3 4 448 0 0,-7-5 285 0 0,13 11-855 0 0,-19-16 544 0 0,0 0 0 0 0,0-1 0 0 0,1 1 0 0 0,-1-1 0 0 0,0 1 0 0 0,1-1 0 0 0,1 0 0 0 0,3 2 0 0 0,-1-1 0 0 0,0 1 0 0 0,0 0 0 0 0,5 4 0 0 0,-11-7 1 0 0,8 4-3 0 0,5-1 30 0 0,-7 0 132 0 0,10 11-291 0 0,8 5 131 0 0,-18-13 11 0 0,-4-5 32 0 0,5 2-22 0 0,-6-2 32 0 0,0 0 1 0 0,6 4-33 0 0,-4-2 22 0 0,5 2-33 0 0,3 3-2 0 0,-11-6-21 0 0,0 1 24 0 0,24 13 101 0 0,-16-10-91 0 0,-5-5 22 0 0,4 2-22 0 0,-4-1 22 0 0,1 3-22 0 0,-4-3 32 0 0,0-1 1 0 0,8 7-33 0 0,0-4 32 0 0,-7-4 13 0 0,-1 1-8 0 0,4 5-35 0 0,-2-4 20 0 0,3 3-22 0 0,-4-4 32 0 0,-2-1-13 0 0,0 0-96 0 0,0 0-24 0 0,0 0 0 0 0,0 0-48 0 0,0 0-201 0 0,0 0-88 0 0,0 0-858 0 0,0 0-3518 0 0,0 0-1504 0 0</inkml:trace>
  <inkml:trace contextRef="#ctx0" brushRef="#br0" timeOffset="3748.473">5218 1812 2304 0 0,'0'0'305'0'0,"0"0"443"0"0,0 0 196 0 0,0 0 43 0 0,0 0-38 0 0,0 0-180 0 0,0 0-81 0 0,0 0-14 0 0,0 0-28 0 0,0 0-106 0 0,0 0-48 0 0,0 0-10 0 0,0 0-13 0 0,8-12 1750 0 0,-6 10-1980 0 0,0 0 1 0 0,0-1 0 0 0,0 1 0 0 0,0 1-1 0 0,0-1 1 0 0,0 0 0 0 0,1 1-1 0 0,-1-1 1 0 0,2 0-240 0 0,4-3 411 0 0,-7 5-253 0 0,0-1-128 0 0,-1 0 0 0 0,1 0 0 0 0,0 0 0 0 0,-1 0 0 0 0,1 1 0 0 0,0-1 0 0 0,0 0 1 0 0,-1 0-1 0 0,1 1 0 0 0,0-1 0 0 0,0 1 0 0 0,0-1 0 0 0,0 1-30 0 0,7-7 187 0 0,3-9 220 0 0,-9 10-323 0 0,0 0 0 0 0,1 1 0 0 0,0-1 0 0 0,0 1 0 0 0,3-4-84 0 0,9-18 804 0 0,-2 8 196 0 0,-9 14-975 0 0,-1 1 0 0 0,1-1 0 0 0,1 1 0 0 0,3-4-25 0 0,9-10 31 0 0,3-5 81 0 0,-12 14-67 0 0,-1 0 1 0 0,1 0-1 0 0,-1-1 0 0 0,-1 0 1 0 0,0 0-1 0 0,1-3-45 0 0,-4 7 24 0 0,0 1-1 0 0,0-1 1 0 0,1 1-1 0 0,0 0 1 0 0,0 0 0 0 0,0 1-1 0 0,0-1 1 0 0,2-1-24 0 0,20-21 144 0 0,-5 6-61 0 0,12-25 34 0 0,-17 28-63 0 0,-1 3-596 0 0,-14 15 393 0 0,30-15 917 0 0,-17 8-715 0 0,-10 4-46 0 0,1-1-1 0 0,-1 0 1 0 0,0 1-1 0 0,0-2 1 0 0,-1 1-1 0 0,1 0 1 0 0,-1-1 0 0 0,0 1-1 0 0,0-1 1 0 0,1-1-7 0 0,-4 5-2 0 0,0 1 2 0 0,4-7 22 0 0,1 1-1 0 0,0 0 0 0 0,0 0 1 0 0,0 0-1 0 0,1 1 0 0 0,5-4-21 0 0,8-9 118 0 0,-7 11-78 0 0,-12 7-37 0 0,16-15 39 0 0,8-4 65 0 0,-11 8-21 0 0,-11 10-72 0 0,7-12 32 0 0,3-10-17 0 0,-8 15 9 0 0,-1 0 0 0 0,1 1 0 0 0,1 0 1 0 0,1-2-39 0 0,-2 2 10 0 0,2-3-10 0 0,-7 11 0 0 0,24-28 0 0 0,-18 20 0 0 0,2-1 0 0 0,1 2 0 0 0,0-1 0 0 0,-2-1 0 0 0,0 1 0 0 0,0-2 0 0 0,-6 5 0 0 0,0 2 0 0 0,0 0 3 0 0,0 1 0 0 0,0 0-1 0 0,0 0 1 0 0,0 0 0 0 0,0 0 0 0 0,0 0 0 0 0,1 0 0 0 0,-1 0-1 0 0,0 1 1 0 0,1-1 0 0 0,-1 0 0 0 0,1 0 0 0 0,-1 0 0 0 0,1 1-1 0 0,-1-1 1 0 0,1 0 0 0 0,-1 1 0 0 0,1-1 0 0 0,0 0-3 0 0,3-4 21 0 0,-4 4-21 0 0,0 1 1 0 0,0 0-1 0 0,0 0 0 0 0,1 0 1 0 0,-1 0-1 0 0,0 0 1 0 0,0 0-1 0 0,0 0 0 0 0,1 0 1 0 0,-1 0-1 0 0,0 0 0 0 0,0 0 1 0 0,0 0-1 0 0,0 0 0 0 0,1 0 1 0 0,-1 0-1 0 0,0 0 1 0 0,0 0-1 0 0,0 0 0 0 0,1 0 1 0 0,-1 0-1 0 0,0 0 0 0 0,0 1 1 0 0,0-1-1 0 0,0 0 0 0 0,1 0 1 0 0,-1 0-1 0 0,0 0 0 0 0,0 0 1 0 0,0 0-1 0 0,0 1 1 0 0,0-1-1 0 0,0 0 0 0 0,1 0 1 0 0,-1 0-1 0 0,0 0 0 0 0,0 1 1 0 0,0-1-1 0 0,0 0 0 0 0,0 0 1 0 0,0 0-1 0 0,0 0 1 0 0,0 1-1 0 0,5 8-213 0 0,-4-9 142 0 0,0 2 325 0 0,0-1-560 0 0,0 0-1 0 0,-1 0 1 0 0,1 0 0 0 0,0 0 0 0 0,-1 1 0 0 0,1-1 0 0 0,-1 0 0 0 0,1 0 0 0 0,-1 0-1 0 0,1 0 1 0 0,-1 1 0 0 0,0-1 0 0 0,0 0 0 0 0,1 0 0 0 0,-1 1 0 0 0,0-1 0 0 0,0 0 306 0 0,-2 2-2354 0 0,0 1 684 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02.246"/>
    </inkml:context>
    <inkml:brush xml:id="br0">
      <inkml:brushProperty name="width" value="0.05" units="cm"/>
      <inkml:brushProperty name="height" value="0.05" units="cm"/>
    </inkml:brush>
  </inkml:definitions>
  <inkml:trace contextRef="#ctx0" brushRef="#br0">1 1959 1840 0 0,'0'0'260'0'0,"0"0"419"0"0,0 0 178 0 0,0 0 36 0 0,0 0-53 0 0,0 0-263 0 0,0 0-117 0 0,0 0-20 0 0,0 0-28 0 0,0 0-90 0 0,0 0-40 0 0,0 0-8 0 0,0 0-14 0 0,0 0-50 0 0,0 0-18 0 0,0 0-6 0 0,5-2 109 0 0,-2 1 3850 0 0,0-1-4011 0 0,1 1 0 0 0,-1 0 0 0 0,0 0 0 0 0,1 0 0 0 0,-1 1 0 0 0,0-1 0 0 0,1 1 0 0 0,0 0-134 0 0,-3 0 96 0 0,-1 0 0 0 0,0 0 1 0 0,0 0 6 0 0,0 0 1 0 0,0 0 0 0 0,0 0-3 0 0,2 0 41 0 0,0 0-132 0 0,-1 0-1 0 0,1-1 1 0 0,-1 1 0 0 0,1 0-1 0 0,-1 0 1 0 0,0 1 0 0 0,1-1-1 0 0,-1 0 1 0 0,1 0 0 0 0,-1 1-1 0 0,1-1 1 0 0,-1 1 0 0 0,0-1-1 0 0,1 1-9 0 0,7 3 120 0 0,1 0-1 0 0,0-1 1 0 0,0 0 0 0 0,0-1-1 0 0,1 0 1 0 0,6 0-120 0 0,3 1-12 0 0,-13-1 36 0 0,-6-2-17 0 0,-1 0 0 0 0,1 1 1 0 0,0-1-1 0 0,-1 0 1 0 0,1 0-1 0 0,0 1 0 0 0,0-1 1 0 0,-1 0-1 0 0,1 0 1 0 0,0 0-1 0 0,0 0 1 0 0,-1 0-1 0 0,1 0 0 0 0,0 0 1 0 0,0 0-8 0 0,21-2 66 0 0,-14 2-45 0 0,-1-2 32 0 0,3 1 22 0 0,4-2-5 0 0,-12 4-52 0 0,-1-1-16 0 0,-1 0-1 0 0,0 1 1 0 0,1-1 0 0 0,-1 0 0 0 0,1 1-1 0 0,-1-1 1 0 0,1 0 0 0 0,-1 0 0 0 0,1 0-1 0 0,-1 1 1 0 0,1-1 0 0 0,-1 0 0 0 0,1 0-1 0 0,0 0 1 0 0,-1 0 0 0 0,1 0 0 0 0,-1 0-1 0 0,1 0 1 0 0,-1 0 0 0 0,1 0 0 0 0,-1 0-1 0 0,1 0 1 0 0,0-1-2 0 0,6 0 29 0 0,-5 0-22 0 0,0 0 0 0 0,1 1 0 0 0,-1-1 0 0 0,0 1 0 0 0,1-1 0 0 0,-1 1 0 0 0,0 0 1 0 0,1 0-1 0 0,-1 0 0 0 0,1 0 0 0 0,0 1-7 0 0,54-1 93 0 0,-9 0-40 0 0,-28-3-53 0 0,-11 4 0 0 0,-1-1 0 0 0,25-8 0 0 0,-1 11 64 0 0,-24-3-64 0 0,0-3 0 0 0,1 3 0 0 0,5 1 0 0 0,-8 1 0 0 0,2-1 0 0 0,1-1 0 0 0,2 0 0 0 0,-2 0 0 0 0,2 1 0 0 0,18 3 0 0 0,-14 0 0 0 0,2-3 0 0 0,11 2 0 0 0,-17-1 0 0 0,-9 0 0 0 0,22-1 0 0 0,4-1 0 0 0,-11 3 3 0 0,-7-1 76 0 0,-9-2-65 0 0,0 1 84 0 0,-1-1 4 0 0,12 0 2 0 0,45 0-464 0 0,-28-4 360 0 0,-12 1 0 0 0,-17 3 0 0 0,15 3 0 0 0,6-2 0 0 0,-14 0 0 0 0,-1-1 0 0 0,18-4 0 0 0,-24 4 0 0 0,1 0 0 0 0,0 0 0 0 0,-1-1 0 0 0,1 1 0 0 0,0 0 0 0 0,0 0 0 0 0,-1 0 0 0 0,1 0 0 0 0,0 0 0 0 0,-1 0 0 0 0,1 0 0 0 0,0 0 0 0 0,-1 0 0 0 0,1 0 0 0 0,0 0 0 0 0,0 1 0 0 0,-1-1 0 0 0,1 0 0 0 0,2 0 0 0 0,9-4 0 0 0,5 0 0 0 0,-11 1 0 0 0,31-8 0 0 0,-34 11 0 0 0,28-7 0 0 0,-29 5 0 0 0,-1 2 0 0 0,16 1 0 0 0,7-5 0 0 0,-21 3 0 0 0,11 0 0 0 0,10-6 0 0 0,-16 5 0 0 0,0-1 0 0 0,0 0 0 0 0,1 3 0 0 0,4 3 0 0 0,-13-3 0 0 0,23 0 0 0 0,-4 0 0 0 0,1 0 11 0 0,-14 0 27 0 0,-7 1-22 0 0,1-1-16 0 0,0 0 0 0 0,0 0 0 0 0,0 0 0 0 0,0 0 0 0 0,0 0 0 0 0,0 0 0 0 0,0 0 0 0 0,0 0 0 0 0,0 0 0 0 0,1 0 0 0 0,-1 0 0 0 0,0 0 0 0 0,0 0 0 0 0,0 0-1 0 0,0 0 1 0 0,0 0 0 0 0,0 0 0 0 0,0 0 0 0 0,0 0 0 0 0,0 0 0 0 0,0 1 0 0 0,0-1 0 0 0,0 0 0 0 0,0 0 0 0 0,0 0 0 0 0,0 0 0 0 0,0 0 0 0 0,0 0 0 0 0,0 0 0 0 0,0 0 0 0 0,0 0 0 0 0,0 0 0 0 0,0 0 0 0 0,0 0 0 0 0,0 0 0 0 0,0 0 0 0 0,0 0 0 0 0,0 0 0 0 0,0 1 0 0 0,0-1 0 0 0,0 0 0 0 0,0 0 0 0 0,0 0 0 0 0,0 0-1 0 0,0 0 1 0 0,0 0 0 0 0,0 0 0 0 0,0 0 0 0 0,0 0 0 0 0,0 0 0 0 0,32 1 1 0 0,-12 2-1 0 0,-3 1 0 0 0,-4-2 0 0 0,-9-3 0 0 0,16 3 0 0 0,-17-1 0 0 0,-1-1 0 0 0,1 1 0 0 0,-1-1 0 0 0,1 0 0 0 0,-1 0 0 0 0,1 0 0 0 0,-1 0 0 0 0,1 0 0 0 0,0 0 0 0 0,3-1 0 0 0,6 1 0 0 0,-7-1 0 0 0,7-2 0 0 0,-10 1 0 0 0,1 1 0 0 0,11-2 0 0 0,-10 3 0 0 0,10-2 0 0 0,-11 1 0 0 0,-2 0 0 0 0,0 1 0 0 0,0-1 0 0 0,1 1 0 0 0,-1-1 0 0 0,0 1 0 0 0,0-1 0 0 0,0 1 0 0 0,0 0 0 0 0,0-1 0 0 0,0 1 0 0 0,1 0 0 0 0,-1 0 0 0 0,0 0 0 0 0,1 0 0 0 0,3-1 1 0 0,20-1 9 0 0,12 2 43 0 0,-35 0-53 0 0,5-1 0 0 0,-5 0 0 0 0,0 0 0 0 0,0 1 0 0 0,-1-1 0 0 0,1 0 0 0 0,0 1 0 0 0,0-1 0 0 0,0 1 0 0 0,0-1 0 0 0,0 1 0 0 0,0 0 0 0 0,1 0 0 0 0,8-3 0 0 0,-10 3 0 0 0,24 2 0 0 0,-14 0-1 0 0,-3-5 39 0 0,-1 0 12 0 0,-4 2-15 0 0,3-1-13 0 0,0 0 0 0 0,1 0 0 0 0,0 0 0 0 0,-1 1 0 0 0,6 0-22 0 0,12-2 0 0 0,-16 2 0 0 0,0-1 0 0 0,-3 5 0 0 0,-3-1 0 0 0,12 3 0 0 0,1-3 0 0 0,-11-3 0 0 0,18 4 0 0 0,-3 3 0 0 0,-10-5 0 0 0,41-1 64 0 0,-40 0-64 0 0,-1 0 0 0 0,31 0 0 0 0,-11 0 0 0 0,-15 2 0 0 0,1-5 0 0 0,-8-1 0 0 0,-1 0 0 0 0,17 3 0 0 0,-20 2 0 0 0,0 0-2 0 0,14 0 58 0 0,11-1-35 0 0,-22-1 34 0 0,-4-1-58 0 0,21 2 4 0 0,-11-3-1 0 0,-10 2 0 0 0,1 0 0 0 0,-1 0 0 0 0,0 1 0 0 0,1-1 0 0 0,-1 1 0 0 0,0-1 0 0 0,1 1 0 0 0,-1 0 0 0 0,0 0 0 0 0,1 0 0 0 0,0 0 0 0 0,46 3 0 0 0,-38 1 0 0 0,-3-3 0 0 0,1-1 0 0 0,4 4 0 0 0,-11-4 0 0 0,-1 0 0 0 0,0 1 0 0 0,1-1 0 0 0,-1 0 0 0 0,0 0 0 0 0,0 0 0 0 0,1 0 0 0 0,-1-1 0 0 0,0 1 0 0 0,1 0 0 0 0,-1 0 0 0 0,0-1 0 0 0,1 1 0 0 0,1-1 0 0 0,0 0 0 0 0,11 0 0 0 0,3-3 0 0 0,-15 3 3 0 0,0 1 0 0 0,-1-1-1 0 0,1 1 1 0 0,0 0 0 0 0,0-1-1 0 0,0 1 1 0 0,-1 0 0 0 0,1 0-1 0 0,0 0 1 0 0,1 1-3 0 0,33 0 37 0 0,-27-2-37 0 0,23-1 0 0 0,-12 5 0 0 0,11-1 66 0 0,-10 0 50 0 0,-13-1-94 0 0,-2-3 39 0 0,-4 0-61 0 0,21 1 50 0 0,-8 0-375 0 0,-14 0 319 0 0,1 1 1 0 0,-1 0-1 0 0,0 0 0 0 0,1 0 1 0 0,-1 0-1 0 0,0 0 0 0 0,1 0 1 0 0,-1 0-1 0 0,0 0 0 0 0,1 1 1 0 0,-1-1-1 0 0,1 1 6 0 0,0-1 150 0 0,-2 0 12 0 0,0 0-40 0 0,19-2-495 0 0,-17 1 252 0 0,-2 1 189 0 0,2 1 85 0 0,0 0-95 0 0,14-2 297 0 0,23 0-291 0 0,-23 0-64 0 0,-10 2 0 0 0,18 2 0 0 0,-13-3 0 0 0,2-3 0 0 0,-12 3 0 0 0,14 0 0 0 0,8-2 58 0 0,-4-1-52 0 0,-8 1-6 0 0,0 0 0 0 0,-2-3 0 0 0,8 4 0 0 0,-12 0 0 0 0,11-1 0 0 0,33 2 0 0 0,-48 0 0 0 0,0 0 0 0 0,0 0 0 0 0,1 0 0 0 0,-1 0 0 0 0,0 0 0 0 0,0 0 0 0 0,1 0 0 0 0,-1-1 0 0 0,0 1 0 0 0,0-1 0 0 0,0 1 0 0 0,1-1 0 0 0,-1 1 0 0 0,0-1 0 0 0,0 1 0 0 0,0-1 0 0 0,1-1 0 0 0,3-1 0 0 0,7 0 0 0 0,-11 2 0 0 0,0 1 0 0 0,-1 0 0 0 0,1 0 0 0 0,-1 0 0 0 0,1 0 0 0 0,0 0 0 0 0,-1 0 0 0 0,1 0 0 0 0,0 0 0 0 0,-1 0 0 0 0,1 0 0 0 0,-1 0 0 0 0,1 0 0 0 0,0 1 0 0 0,-1-1 0 0 0,1 0 0 0 0,-1 0 0 0 0,1 1 0 0 0,0-1 0 0 0,-1 0 0 0 0,1 1 0 0 0,2 0 0 0 0,24-1 11 0 0,15 0 42 0 0,-33 0-53 0 0,-6-1 0 0 0,-2 0 0 0 0,15-4 0 0 0,8-1 0 0 0,-11 3 0 0 0,-11 3 0 0 0,12 1 0 0 0,-6-2 0 0 0,-3 0 10 0 0,-1 0 0 0 0,1 0-1 0 0,-1 0 1 0 0,1 1 0 0 0,0 0-1 0 0,-1 0-9 0 0,11-2 106 0 0,-14 1-47 0 0,8 1 20 0 0,-3-2-15 0 0,26-7 206 0 0,-28 7-255 0 0,-2 1-9 0 0,0 0-1 0 0,0 0 1 0 0,0 1 0 0 0,0-1 0 0 0,0 1-1 0 0,0-1 1 0 0,0 1 0 0 0,0 0 0 0 0,0-1-1 0 0,0 1 1 0 0,0 0 0 0 0,0 1 0 0 0,1-1-6 0 0,0 0 10 0 0,-1 0 0 0 0,0-1-1 0 0,1 1 1 0 0,-1-1 0 0 0,1 1 0 0 0,-1-1 0 0 0,2-1-10 0 0,7 0 8 0 0,-8 1 35 0 0,0-1-22 0 0,-3 2-19 0 0,0 0-1 0 0,0 0 1 0 0,0-1-1 0 0,1 1 1 0 0,-1 0-1 0 0,0 0 1 0 0,0 0-1 0 0,0 0 1 0 0,1 0-1 0 0,-1 0 1 0 0,0-1-1 0 0,0 1 1 0 0,1 0-1 0 0,-1 0 1 0 0,0 0-1 0 0,0 0 1 0 0,0 0 0 0 0,1 0-1 0 0,-1 0 1 0 0,0 0-1 0 0,0 0 1 0 0,1 0-1 0 0,-1 0 1 0 0,0 0-1 0 0,0 0 1 0 0,1 0-1 0 0,-1 1 1 0 0,0-1-1 0 0,0 0 1 0 0,0 0-1 0 0,1 0 1 0 0,-1 0-1 0 0,0 0 1 0 0,0 0-2 0 0,1 1 5 0 0,0-1 0 0 0,-1 1 0 0 0,1-1 0 0 0,0 0 0 0 0,0 0 0 0 0,-1 0 0 0 0,1 1-1 0 0,0-1 1 0 0,0 0 0 0 0,0 0 0 0 0,-1 0 0 0 0,1 0 0 0 0,0 0 0 0 0,0 0 0 0 0,0 0 0 0 0,-1-1 0 0 0,1 1 0 0 0,0 0 0 0 0,0 0 0 0 0,-1-1 0 0 0,1 1 0 0 0,0 0 0 0 0,0-1 0 0 0,0 1-5 0 0,2-1 7 0 0,-1 0 2 0 0,1 0-1 0 0,-1 0 1 0 0,1 1 0 0 0,0 0-1 0 0,-1-1 1 0 0,1 1 0 0 0,0 0-1 0 0,-1 1 1 0 0,3-1-9 0 0,54 0 64 0 0,-19 0 107 0 0,-25 4-150 0 0,-12-4-15 0 0,0 0 1 0 0,1 0-1 0 0,-1 0 1 0 0,0-1-1 0 0,1 1 1 0 0,-1-1-1 0 0,0 0 0 0 0,2 0-6 0 0,8-2 66 0 0,24 0-2 0 0,-37 3-64 0 0,1 0 0 0 0,-1 0 0 0 0,0 1 0 0 0,1-1 0 0 0,-1 0 0 0 0,1 0 0 0 0,-1 0 0 0 0,1 0 0 0 0,-1 0 0 0 0,0 0-1 0 0,1 0 1 0 0,-1 0 0 0 0,1 0 0 0 0,-1 0 0 0 0,1 0 0 0 0,-1-1 0 0 0,0 1 0 0 0,1 0 0 0 0,-1 0 0 0 0,1 0 0 0 0,-1-1-1 0 0,0 1 1 0 0,1 0 0 0 0,-1 0 0 0 0,1-1 0 0 0,-1 1 0 0 0,0 0 0 0 0,2-2 9 0 0,9 2 38 0 0,37-8 27 0 0,-26 8 1 0 0,-17 0-44 0 0,1 1-18 0 0,1-1-1 0 0,-1 0 0 0 0,0 0 1 0 0,1 0-1 0 0,-1-1 0 0 0,1 0 0 0 0,-1-1-12 0 0,2 1 30 0 0,1 0 0 0 0,-1 1-1 0 0,0-1 1 0 0,1 2-30 0 0,1-2 9 0 0,-9 1-9 0 0,-1 0 0 0 0,1 0 0 0 0,-1 0 0 0 0,1-1 0 0 0,0 1 0 0 0,-1 0 0 0 0,1 0 0 0 0,0 0 0 0 0,-1 0 0 0 0,1 0 0 0 0,0 0 0 0 0,-1 0 0 0 0,1 0 0 0 0,0 0 0 0 0,-1 0 0 0 0,1 0 0 0 0,-1 1 0 0 0,1-1 0 0 0,0 0 0 0 0,-1 0 0 0 0,1 1 0 0 0,-1-1 0 0 0,1 0 0 0 0,1 1 0 0 0,6 1 0 0 0,-7-2 0 0 0,-1 0 0 0 0,1 1 0 0 0,0-1 0 0 0,-1 0 0 0 0,1 0 0 0 0,-1 0-1 0 0,1 1 1 0 0,-1-1 0 0 0,1 0 0 0 0,-1 0 0 0 0,1 1 0 0 0,-1-1-1 0 0,1 1 1 0 0,-1-1 0 0 0,1 0 0 0 0,-1 1 0 0 0,1-1 0 0 0,-1 1 0 0 0,0-1-1 0 0,1 1 1 0 0,-1 0 0 0 0,1-1-2 0 0,26-2 61 0 0,-21 2-49 0 0,22 0-10 0 0,0 0 64 0 0,-19 0-64 0 0,-1 0 0 0 0,12 1 11 0 0,-14-1 3 0 0,-1 0 0 0 0,0 0 0 0 0,1 0 1 0 0,-1 0-1 0 0,0-1 0 0 0,0 0 0 0 0,1 0 1 0 0,-1-1-1 0 0,3-1-14 0 0,-5 2 43 0 0,7-1-22 0 0,-1 1 22 0 0,-1-2-33 0 0,0 2 1 0 0,-3 0 13 0 0,3-2 5 0 0,2-5-18 0 0,-7 7 32 0 0,24 1 50 0 0,1 0-40 0 0,5 0 22 0 0,12 0 32 0 0,13 0 42 0 0,-48 0-106 0 0,-1 0-22 0 0,-1 0 22 0 0,0 0-33 0 0,1 0 1 0 0,-2 0 32 0 0,1 0-33 0 0,1 0-10 0 0,-1 0 0 0 0,3 2 11 0 0,-2-4 32 0 0,-2 2-33 0 0,33 0 44 0 0,-13 0-33 0 0,-8 0 32 0 0,-19 0-53 0 0,1 0 0 0 0,-1 0 0 0 0,0 0 0 0 0,1 0 0 0 0,-1 0 0 0 0,0 1 0 0 0,1-1 0 0 0,-1 0 0 0 0,1 0 0 0 0,-1-1 0 0 0,0 1 0 0 0,1 0 0 0 0,-1 0 0 0 0,0 0 0 0 0,1 0 0 0 0,-1 0 0 0 0,0 0-1 0 0,1 0 1 0 0,-1-1 0 0 0,0 1 0 0 0,1 0 0 0 0,-1 0 0 0 0,0 0 0 0 0,1-1 0 0 0,-1 1 0 0 0,0 0 0 0 0,0 0 0 0 0,7-4 40 0 0,30 2 60 0 0,-29 2-47 0 0,-6 0 1 0 0,38 0-433 0 0,-11 3 932 0 0,19 7-461 0 0,-41-9-81 0 0,-4-1 32 0 0,2 0-22 0 0,-2 1 22 0 0,16 8-7 0 0,-17-8-19 0 0,-1 0 1 0 0,0-1 0 0 0,1 1-1 0 0,-1 0 1 0 0,0-1 0 0 0,1 0-1 0 0,-1 1 1 0 0,1-1 0 0 0,-1 0-1 0 0,1 0 1 0 0,-1 1 0 0 0,1-1-1 0 0,-1 0 1 0 0,1-1 0 0 0,-1 1-1 0 0,1 0-17 0 0,2 0 65 0 0,2 2-41 0 0,1 3 49 0 0,-6-5-68 0 0,5 2 55 0 0,9-4 16 0 0,-3 3 3 0 0,-11-1-68 0 0,11-4 27 0 0,-5 3 5 0 0,2 1-33 0 0,-1 0-10 0 0,8-1-2 0 0,-4-4 15 0 0,-3 5 27 0 0,-7 0-37 0 0,0 0 0 0 0,0 0 0 0 0,0 0 0 0 0,1-1 0 0 0,-1 1 0 0 0,0-1 0 0 0,0 1 0 0 0,2-2-3 0 0,-4 2 2 0 0,0 0 0 0 0,1-1 0 0 0,-1 1 0 0 0,1 0 1 0 0,-1 0-1 0 0,1-1 0 0 0,-1 1 0 0 0,1 0 0 0 0,-1 0 0 0 0,1 0 0 0 0,-1 0 0 0 0,1-1 0 0 0,-1 1 1 0 0,1 0-1 0 0,-1 0 0 0 0,1 0 0 0 0,-1 0 0 0 0,1 0 0 0 0,-1 1 0 0 0,1-1 0 0 0,-1 0 0 0 0,1 0 1 0 0,-1 0-1 0 0,1 0 0 0 0,-1 1-2 0 0,3-1 0 0 0,2-2 0 0 0,1 3 1 0 0,-4-1 0 0 0,0 0-1 0 0,0 0 1 0 0,0 0 0 0 0,0-1-1 0 0,0 1 1 0 0,-1 0-1 0 0,1-1 1 0 0,0 1-1 0 0,0-1 1 0 0,0 0 0 0 0,0 1-1 0 0,-1-1 1 0 0,1 0-1 0 0,0 0 1 0 0,-1 0-1 0 0,1-1 1 0 0,0 1-1 0 0,1 0 43 0 0,6 2-31 0 0,-2-3-13 0 0,-1-1 0 0 0,3-1 55 0 0,1 5-41 0 0,-8 2-20 0 0,-2-3 10 0 0,0 1-1 0 0,0 0 1 0 0,0-1-1 0 0,1 1 1 0 0,-1-1-1 0 0,0 1 1 0 0,0-1-1 0 0,1 1 1 0 0,-1-1-1 0 0,1 1 1 0 0,-1-1-1 0 0,0 1 1 0 0,1-1-1 0 0,-1 1 1 0 0,1-1-1 0 0,-1 1 1 0 0,1-1-1 0 0,-1 0 1 0 0,1 1-1 0 0,-1-1 1 0 0,1 0-1 0 0,0 0 1 0 0,-1 1-3 0 0,7 2 10 0 0,1-4-10 0 0,-1-4 11 0 0,-4 3 32 0 0,4 0-33 0 0,1 1-10 0 0,1-2 4 0 0,-5 2-9 0 0,5-5 70 0 0,-6 5-11 0 0,4 2-44 0 0,1 2-10 0 0,-2 0 11 0 0,-4-2 32 0 0,-1 0-43 0 0,-1-1 0 0 0,0 0 1 0 0,0 0-1 0 0,0 1 0 0 0,1-1 1 0 0,-1 0-1 0 0,0 1 0 0 0,0-1 1 0 0,1 0-1 0 0,-1 0 0 0 0,0 1 1 0 0,0-1-1 0 0,1 0 0 0 0,-1 0 1 0 0,0 0-1 0 0,1 0 0 0 0,-1 1 1 0 0,0-1-1 0 0,1 0 1 0 0,-1 0-1 0 0,0 0 0 0 0,1 0 1 0 0,-1 0-1 0 0,0 0 0 0 0,1 0 1 0 0,-1 0-1 0 0,0 0 0 0 0,1 0 1 0 0,-1 0-1 0 0,1 0 0 0 0,-1 0 0 0 0,11-1 0 0 0,2 0 4 0 0,-11 0-11 0 0,0-1 11 0 0,23 1 49 0 0,-18 2-43 0 0,3 2-28 0 0,-8-2-69 0 0,25 2 72 0 0,-8-7 55 0 0,-17 4-45 0 0,-1-1 1 0 0,0 1 0 0 0,1-1 0 0 0,-1 1 0 0 0,0-1 0 0 0,1 1 0 0 0,-1 0 0 0 0,1 0 0 0 0,-1 0 0 0 0,1 0 0 0 0,-1 0 0 0 0,1 0 0 0 0,-1 0 0 0 0,0 0 0 0 0,1 1 0 0 0,-1-1 0 0 0,1 0 0 0 0,-1 1 0 0 0,0 0 0 0 0,1-1 4 0 0,-2 0 7 0 0,1 1 0 0 0,-1-1 0 0 0,0 0 1 0 0,1 0-1 0 0,-1 0 0 0 0,1 0 0 0 0,-1 0 0 0 0,1 1 0 0 0,-1-1 1 0 0,1 0-1 0 0,-1 0 0 0 0,0 0 0 0 0,1 0 0 0 0,-1 0 0 0 0,1 0 0 0 0,-1-1 1 0 0,1 1-1 0 0,-1 0 0 0 0,1 0 0 0 0,-1 0 0 0 0,0 0 0 0 0,1 0 1 0 0,-1-1-1 0 0,1 1 0 0 0,-1 0 0 0 0,0 0 0 0 0,1-1 0 0 0,-1 1 1 0 0,1 0-1 0 0,-1-1 0 0 0,0 1-7 0 0,2-2 16 0 0,1 1-1 0 0,-1-1 1 0 0,0 1 0 0 0,0 0-1 0 0,1 0 1 0 0,-1 0 0 0 0,3 0-16 0 0,3 2 55 0 0,-2 3 14 0 0,1-2-4 0 0,-6-2-56 0 0,1-1 1 0 0,0 1 0 0 0,-1 0-1 0 0,1 0 1 0 0,-1 1 0 0 0,1-1-1 0 0,0 0 1 0 0,-1 1-1 0 0,1-1 1 0 0,-1 0 0 0 0,1 1-1 0 0,-1 0 1 0 0,1-1 0 0 0,-1 1-1 0 0,1 0-9 0 0,0 0 72 0 0,-2-1-1 0 0,1 0-6 0 0,6 0 1 0 0,0 2 3 0 0,-4 0-14 0 0,2 3-34 0 0,-2-4 22 0 0,3-1-22 0 0,-4 0 22 0 0,5 0-33 0 0,3 0 1 0 0,-9 0-10 0 0,-1 0 1 0 0,0 0 0 0 0,1 0-1 0 0,-1 0 1 0 0,0 0-1 0 0,0 0 1 0 0,1 0-1 0 0,-1 0 1 0 0,0 0-1 0 0,1 0 1 0 0,-1 0-1 0 0,0 0 1 0 0,0 0 0 0 0,1 0-1 0 0,-1-1 1 0 0,0 1-1 0 0,0 0 1 0 0,1 0-1 0 0,-1 0 1 0 0,0 0-1 0 0,0 0 1 0 0,1-1 0 0 0,-1 1-1 0 0,0 0 1 0 0,0 0-1 0 0,0 0 1 0 0,0-1-1 0 0,1 1 1 0 0,-1 0-1 0 0,0 0 1 0 0,0-1-1 0 0,0 1 1 0 0,0 0 0 0 0,0 0-1 0 0,0-1 1 0 0,1 1-2 0 0,0-2-5 0 0,7-1 7 0 0,-5 3-1 0 0,-2-1 0 0 0,0 1-1 0 0,0 0 1 0 0,0 0-1 0 0,1 0 1 0 0,-1 0 0 0 0,0 0-1 0 0,0 0 1 0 0,0 0-1 0 0,0 0 1 0 0,0 0-1 0 0,0 1 1 0 0,0-1 0 0 0,0 0-1 0 0,0 1 1 0 0,1-1-1 0 0,-1 1 1 0 0,0-1-1 0 0,1 0 43 0 0,1-2-22 0 0,-1 1 22 0 0,3-2-22 0 0,-2 2 22 0 0,3 1-22 0 0,-3 0 35 0 0,2-2 19 0 0,-3 1-19 0 0,1 1-35 0 0,-1 0 22 0 0,3-3-22 0 0,-3 1 22 0 0,4 0-22 0 0,-4 2 32 0 0,-2-1 1 0 0,4-1-44 0 0,2-2 1 0 0,-4 3 16 0 0,-2 1-1215 0 0,0 0-4726 0 0,0 0-2013 0 0</inkml:trace>
  <inkml:trace contextRef="#ctx0" brushRef="#br0" timeOffset="1443.635">2659 81 1840 0 0,'0'0'213'0'0,"0"0"223"0"0,0 0 92 0 0,0 0 16 0 0,0 0-36 0 0,0 0-177 0 0,0 0-78 0 0,0 0-18 0 0,0 0-15 0 0,0 0-49 0 0,0 0-19 0 0,0 0-7 0 0,-3-6 82 0 0,3 3 4930 0 0,0 3-5049 0 0,1 0 1 0 0,-1 0-1 0 0,0 0 1 0 0,0 0-1 0 0,0 0 1 0 0,0 0 0 0 0,0-1-1 0 0,0 1 1 0 0,0 0-1 0 0,1 0 1 0 0,-1 0-1 0 0,0 0 1 0 0,0 0-1 0 0,0 0 1 0 0,0 0 0 0 0,0 0-1 0 0,0 0 1 0 0,0 0-1 0 0,1 0 1 0 0,-1 0-1 0 0,0 0 1 0 0,0 0 0 0 0,0 0-1 0 0,0 0 1 0 0,0 0-1 0 0,0 0 1 0 0,1 0-1 0 0,-1 0 1 0 0,0 0-1 0 0,0 1 1 0 0,0-1 0 0 0,0 0-1 0 0,0 0 1 0 0,0 0-1 0 0,0 0 1 0 0,0 0-1 0 0,1 0 1 0 0,-1 0-1 0 0,0 0 1 0 0,0 0 0 0 0,0 0-1 0 0,0 1 1 0 0,0-1-1 0 0,0 0 1 0 0,0 0-1 0 0,0 0 1 0 0,0 0 0 0 0,0 0-1 0 0,0 0 1 0 0,0 0-1 0 0,0 1 1 0 0,0-1-1 0 0,0 0 1 0 0,0 0-1 0 0,0 0 1 0 0,0 0-109 0 0,8 14 722 0 0,6 6-690 0 0,-13-19 102 0 0,0 3-54 0 0,-1 0 0 0 0,0 0 0 0 0,0 0 0 0 0,-1 0 0 0 0,1 0 0 0 0,-1 0 0 0 0,0 0 0 0 0,0 0 0 0 0,0 0 0 0 0,-1 0 0 0 0,1-1 0 0 0,-1 1 0 0 0,0 0 0 0 0,-2 2-80 0 0,3-5 64 0 0,1-1 0 0 0,0 0 0 0 0,0 0 0 0 0,0 0 0 0 0,0 0 0 0 0,0 0-41 0 0,0 0-174 0 0,0 0-75 0 0,0 0-20 0 0,0 0-211 0 0,0 0-879 0 0,0 0-374 0 0</inkml:trace>
  <inkml:trace contextRef="#ctx0" brushRef="#br0" timeOffset="2429.717">2659 66 2304 0 0,'0'0'331'0'0,"0"0"547"0"0,0 0 238 0 0,0 0 48 0 0,0 0-71 0 0,0 0-339 0 0,0 0-149 0 0,0 0-28 0 0,0 0-13 0 0,0 0-24 0 0,0 0-10 0 0,0 0-2 0 0,-8-10 2808 0 0,8 9-2826 0 0,0 1-4 0 0,0 0-18 0 0,0 0-68 0 0,0 0-33 0 0,0 0-3 0 0,0 0-10 0 0,0 0-48 0 0,0 0-26 0 0,0 0-4 0 0,0 0-13 0 0,0 0-58 0 0,0 0-29 0 0,0 0-4 0 0,0 0-6 0 0,0 0-30 0 0,0 0-18 0 0,0 0-2 0 0,0 0-5 0 0,0 0-23 0 0,25-4 476 0 0,-22 2-556 0 0,16 1 261 0 0,-14 2-276 0 0,-4-1-13 0 0,1 0 1 0 0,0 1 0 0 0,0-1 0 0 0,-1 0 0 0 0,1 0-1 0 0,0 0 1 0 0,0 0 0 0 0,0-1 0 0 0,-1 1 0 0 0,1 0-1 0 0,0-1 1 0 0,-1 1 0 0 0,2-1-1 0 0,3-1 28 0 0,-5 1-26 0 0,0 1-1 0 0,0-1 1 0 0,0 1-1 0 0,0 0 0 0 0,1-1 1 0 0,-1 1-1 0 0,0 0 0 0 0,0 0 1 0 0,1 0-1 0 0,-1 0 1 0 0,0 0-1 0 0,0 0 0 0 0,1 0 1 0 0,-1 0-1 0 0,0 1 1 0 0,0-1-1 0 0,0 0 0 0 0,1 1-1 0 0,4 1 1 0 0,-4-2 0 0 0,-1 1-1 0 0,1-1 1 0 0,0 0 0 0 0,0 0-1 0 0,-1 0 1 0 0,1 0 0 0 0,0 0-1 0 0,-1 0 1 0 0,1 0 0 0 0,0 0-1 0 0,0-1 1 0 0,-1 1 0 0 0,1-1-1 0 0,0 1 1 0 0,-1-1-1 0 0,5 0 23 0 0,-1 0-17 0 0,0 0 0 0 0,0 0 0 0 0,1 1 0 0 0,-1 0 0 0 0,4 0-6 0 0,18-4-1 0 0,-20 2 14 0 0,0 1 0 0 0,0-1 0 0 0,0 2 0 0 0,1-1 0 0 0,2 1-13 0 0,20 0 0 0 0,-29 0 5 0 0,0 0-1 0 0,1 0 0 0 0,-1 0 0 0 0,0 0 0 0 0,0-1 0 0 0,0 1 0 0 0,0 0 1 0 0,0 0-1 0 0,0-1 0 0 0,0 1 0 0 0,1-1 0 0 0,-1 1 0 0 0,0-1 0 0 0,0 1 1 0 0,0-1-5 0 0,3-2 1 0 0,5-1 3 0 0,-9 3-10 0 0,1-2 14 0 0,14-3 50 0 0,-5 2-57 0 0,-9 3 0 0 0,1 1 0 0 0,-1-1-1 0 0,1 1 1 0 0,0-1 0 0 0,-1 1 0 0 0,1 0 0 0 0,-1 0 0 0 0,1 0 0 0 0,0 0-1 0 0,-1 0 1 0 0,1 0 0 0 0,0 0-1 0 0,1 0 43 0 0,3 0-33 0 0,3 1-10 0 0,-3 1 11 0 0,-2-1 32 0 0,5 5-33 0 0,-2-3 1 0 0,-7-3-10 0 0,0 0 0 0 0,0 0 1 0 0,0 0-1 0 0,0 0 0 0 0,0 0 0 0 0,1 0 0 0 0,-1 0 0 0 0,0 0 1 0 0,0 0-1 0 0,0 1 0 0 0,0-1 0 0 0,0 0 0 0 0,0 0 1 0 0,0 0-1 0 0,0 0 0 0 0,0 0 0 0 0,0 0 0 0 0,0 0 0 0 0,1 0 1 0 0,-1 0-1 0 0,0 0 0 0 0,0 0 0 0 0,0 0 0 0 0,0 1 0 0 0,0-1 1 0 0,0 0-1 0 0,0 0 0 0 0,0 0 0 0 0,0 0 0 0 0,0 0 1 0 0,0 0-1 0 0,0 0 0 0 0,0 0 0 0 0,0 0 0 0 0,0 1 0 0 0,0-1 1 0 0,0 0-1 0 0,0 0 0 0 0,0 0 0 0 0,0 0 0 0 0,0 0 0 0 0,0 0 1 0 0,0 0-1 0 0,0 0 0 0 0,0 1-1 0 0,0-1 4 0 0,-1 1 0 0 0,1 0 0 0 0,0-1 0 0 0,0 1 0 0 0,0 0 0 0 0,0 0 0 0 0,0-1 0 0 0,0 1 0 0 0,1 0-1 0 0,-1-1 1 0 0,0 1 0 0 0,0 0 0 0 0,0-1 0 0 0,1 1 0 0 0,-1 0 0 0 0,0-1 0 0 0,1 1 0 0 0,-1-1 0 0 0,1 1-4 0 0,1 3 31 0 0,-2-3-8 0 0,-1 2-25 0 0,6 20 14 0 0,-3-14 34 0 0,4 18 58 0 0,-6-25-100 0 0,0-1 0 0 0,0 1 0 0 0,-1 0 1 0 0,1-1-1 0 0,0 1 0 0 0,0-1 0 0 0,-1 1 1 0 0,1-1-1 0 0,-1 1 0 0 0,0 0-4 0 0,1 1 43 0 0,4 10-29 0 0,-5-9-23 0 0,0-3 15 0 0,1 1 1 0 0,-1 0 0 0 0,0 0-1 0 0,1 0 1 0 0,0 0 0 0 0,-1 0 0 0 0,1 0-1 0 0,0 0 1 0 0,0 0 0 0 0,0 0-1 0 0,0 0 1 0 0,1 1-7 0 0,-1-2 53 0 0,0 1 1 0 0,2 3-33 0 0,-1-4 8 0 0,-1-1-310 0 0,0 0-964 0 0,0 0-381 0 0</inkml:trace>
  <inkml:trace contextRef="#ctx0" brushRef="#br0" timeOffset="7422.615">2642 1982 4400 0 0,'0'0'200'0'0,"0"0"87"0"0,0 0 237 0 0,0 0 98 0 0,0 0 18 0 0,0 0-3 0 0,0 0-38 0 0,0 0-20 0 0,0 0-3 0 0,0 0-15 0 0,0 0-61 0 0,0 0-27 0 0,0 0-7 0 0,0 0-13 0 0,0 0-45 0 0,0 0-21 0 0,0 0-3 0 0,0 0-8 0 0,0 0-35 0 0,0 0-18 0 0,0 0-3 0 0,0 0-10 0 0,0 0-38 0 0,0 0-16 0 0,0 0-6 0 0,0 0-8 0 0,0 0-22 0 0,0 0-10 0 0,0 0-2 0 0,0 0-6 0 0,-3 8 477 0 0,-1-1-595 0 0,3-5 8 0 0,0 0 1 0 0,0 0 0 0 0,0 1 0 0 0,0-1-1 0 0,0 0 1 0 0,1 0 0 0 0,-1 1 0 0 0,1-1-1 0 0,-1 2-92 0 0,-3 23 520 0 0,-1-6-104 0 0,5-18-374 0 0,0-1-1 0 0,0 1 1 0 0,-1-1-1 0 0,1 0 1 0 0,-1 0-1 0 0,0 1 1 0 0,0-1-1 0 0,0 2-41 0 0,-1-2 26 0 0,1 0-1 0 0,1 1 1 0 0,-1-1-1 0 0,0 1 1 0 0,0-1-1 0 0,1 1 1 0 0,0-1-1 0 0,-1 3-25 0 0,-3 30 83 0 0,3 10-30 0 0,-1-24-53 0 0,1-18 0 0 0,1 1 0 0 0,-1-1 0 0 0,1 1 0 0 0,0 0 0 0 0,0-1 0 0 0,0 1 0 0 0,1 2 0 0 0,-1-5 0 0 0,0-1 0 0 0,1 1 0 0 0,-1-1 0 0 0,0 0 0 0 0,0 1 0 0 0,0-1 0 0 0,0 1 0 0 0,0-1 0 0 0,0 1 0 0 0,0-1 0 0 0,0 0 0 0 0,0 1 0 0 0,0-1 0 0 0,0 1 0 0 0,0-1 0 0 0,0 1 0 0 0,-1-1 0 0 0,1 0 0 0 0,0 1 0 0 0,0-1 0 0 0,0 1 0 0 0,0-1 0 0 0,-1 1 0 0 0,0 0 0 0 0,1 0 0 0 0,0 0 0 0 0,-1 0 0 0 0,1 1 0 0 0,0-1 0 0 0,-1 0 0 0 0,1 0 0 0 0,0 0 0 0 0,0 0 0 0 0,0 1 0 0 0,0-1 0 0 0,0 0 0 0 0,-1 6 0 0 0,0-5 0 0 0,1-1 0 0 0,-1 1 0 0 0,1 0 0 0 0,-1 0 0 0 0,1 0 0 0 0,0-1 0 0 0,-1 1 0 0 0,1 0 0 0 0,0 0 0 0 0,1 0 0 0 0,-1 0 0 0 0,0 7 0 0 0,0-1 0 0 0,1 1 0 0 0,0 0 0 0 0,1 2 0 0 0,-2-10 0 0 0,0-1 0 0 0,0 1 0 0 0,0-1 0 0 0,1 1 0 0 0,-1-1 0 0 0,0 1 0 0 0,0-1 0 0 0,0 0 0 0 0,0 1 0 0 0,0-1 0 0 0,0 1 0 0 0,0-1 0 0 0,0 1 0 0 0,0-1 0 0 0,0 1 0 0 0,0-1 0 0 0,0 1 0 0 0,0-1 0 0 0,0 1 0 0 0,0-1 0 0 0,0 1 0 0 0,-1-1 0 0 0,1 0 0 0 0,0 1 0 0 0,0-1 0 0 0,0 1 0 0 0,-1-1 0 0 0,1 0 0 0 0,0 1 0 0 0,-1-1 0 0 0,1 0 0 0 0,-1 1 0 0 0,1 0 0 0 0,-1 16 40 0 0,0-7 211 0 0,1-8-180 0 0,0-1 0 0 0,0 1 0 0 0,0 0 0 0 0,0 0 0 0 0,1 0 0 0 0,-1 0 0 0 0,1 0 0 0 0,-1 0 0 0 0,1 0 0 0 0,0 0 0 0 0,0 0-71 0 0,3 31 804 0 0,-4-31-835 0 0,0-1-1 0 0,0 0 0 0 0,0 1 0 0 0,0-1 0 0 0,0 1 1 0 0,0-1-1 0 0,0 1 0 0 0,-1-1 0 0 0,1 0 1 0 0,-1 1-1 0 0,1-1 0 0 0,-1 1 32 0 0,0 0-151 0 0,1 0 234 0 0,0-1-91 0 0,1 2 21 0 0,-1-1 0 0 0,0 0 0 0 0,0 1 0 0 0,0-1 0 0 0,0 0 0 0 0,0 0 0 0 0,0 1 0 0 0,-1-1 0 0 0,1 1-13 0 0,-1-3-5 0 0,1 0-1 0 0,0 1 1 0 0,-1-1-1 0 0,1 0 0 0 0,0 1 1 0 0,-1-1-1 0 0,1 1 1 0 0,0-1-1 0 0,0 1 1 0 0,0-1-1 0 0,0 1 0 0 0,-1-1 1 0 0,1 1-1 0 0,0-1 1 0 0,0 1-1 0 0,0-1 1 0 0,0 1-1 0 0,0-1 0 0 0,0 1 1 0 0,0-1-1 0 0,0 1 1 0 0,1-1-1 0 0,-1 1 1 0 0,0-1-1 0 0,0 0 0 0 0,0 1 1 0 0,0-1-1 0 0,1 1 1 0 0,-1-1-1 0 0,0 1 1 0 0,0-1-1 0 0,1 1 6 0 0,0 0-14 0 0,-1 17 25 0 0,-3 16 42 0 0,13 1 11 0 0,-10-31-64 0 0,0-4 0 0 0,0 0 0 0 0,-1 0 0 0 0,1 0 0 0 0,0 0 0 0 0,-1 1 0 0 0,1-1 0 0 0,0 0 0 0 0,0 0 0 0 0,-1 0 0 0 0,1 1 0 0 0,0-1 0 0 0,0 0 0 0 0,0 1 0 0 0,-1-1 0 0 0,1 0 0 0 0,0 0 0 0 0,0 1 0 0 0,0-1 0 0 0,0 0 0 0 0,0 1 0 0 0,-1-1 0 0 0,1 0 0 0 0,0 1 0 0 0,0-1 0 0 0,0 0 0 0 0,0 1 0 0 0,0-1 0 0 0,0 1 0 0 0,2 6 0 0 0,1 11 64 0 0,-3-15-64 0 0,2 12 0 0 0,0-5 0 0 0,-4-2 0 0 0,5 2 0 0 0,1-1 0 0 0,3 11 0 0 0,-6 24 0 0 0,-3-8 0 0 0,1-33 0 0 0,1 0 0 0 0,0-1 0 0 0,-1 1 0 0 0,1 0 0 0 0,0-1 0 0 0,1 1 0 0 0,-1 0 0 0 0,0-1 0 0 0,1 1 0 0 0,-1 0 0 0 0,1-1 0 0 0,1 2 0 0 0,-2-4 0 0 0,3 14 0 0 0,-5-10 0 0 0,1-3 0 0 0,0 2 0 0 0,2 1 0 0 0,2 9 0 0 0,2 24 0 0 0,-5-37 1 0 0,0 0 0 0 0,0 1 0 0 0,0-1 0 0 0,0 1 0 0 0,0-1 0 0 0,0 0 0 0 0,0 1 0 0 0,0-1 0 0 0,0 1 0 0 0,0-1 0 0 0,0 1 0 0 0,0-1 0 0 0,0 0 0 0 0,0 1 0 0 0,0-1 0 0 0,0 1 0 0 0,0-1 0 0 0,-1 1 0 0 0,1-1 0 0 0,0 1-1 0 0,-1 0 2 0 0,1-1 0 0 0,0 1 0 0 0,-1 0 0 0 0,1 0 0 0 0,0 0 0 0 0,0 0 0 0 0,0 0 1 0 0,0 0-1 0 0,0 0 0 0 0,0 0 0 0 0,0 0 0 0 0,0 0 0 0 0,0-1 0 0 0,0 1 1 0 0,0 0-1 0 0,1 0 0 0 0,-1 0 0 0 0,0 0 0 0 0,1 0 0 0 0,-1 0 0 0 0,1 0-2 0 0,-1 1 0 0 0,0 1 0 0 0,0 0 0 0 0,0 0 0 0 0,0 0 0 0 0,0 0 0 0 0,-1 0 0 0 0,1 0 0 0 0,-1 0 0 0 0,0-1 0 0 0,0 3 0 0 0,-1-4 0 0 0,2 0 0 0 0,-1-1 0 0 0,1 1 0 0 0,-1-1 0 0 0,1 1 0 0 0,-1-1 0 0 0,1 1 0 0 0,0-1 0 0 0,-1 1 0 0 0,1 0 0 0 0,0-1 0 0 0,0 1 0 0 0,-1-1 0 0 0,1 1 0 0 0,0 0 0 0 0,0-1 0 0 0,0 1 0 0 0,0 0 0 0 0,0-1 0 0 0,0 1 0 0 0,0 0 0 0 0,0 0 0 0 0,0 40 106 0 0,-1-24 129 0 0,2-8-326 0 0,-1-8 90 0 0,0-1 0 0 0,0 1 1 0 0,0 0-1 0 0,0 0 0 0 0,0-1 0 0 0,0 1 1 0 0,0 0-1 0 0,0 0 0 0 0,1-1 1 0 0,-1 1-1 0 0,0 0 0 0 0,0 0 1 0 0,1-1-1 0 0,-1 1 0 0 0,1 0 0 0 0,-1-1 2 0 0,4 11 195 0 0,-1 35-431 0 0,-5-41 235 0 0,1-4 0 0 0,1-1 0 0 0,0 1 0 0 0,-1 0 0 0 0,1 0 0 0 0,0 0 0 0 0,-1-1 0 0 0,1 1 0 0 0,0 0 0 0 0,0 0 0 0 0,0 0 0 0 0,0 0 0 0 0,0-1 0 0 0,0 1 0 0 0,0 0 0 0 0,0 0 0 0 0,0 0 0 0 0,0 0 0 0 0,0-1 0 0 0,1 1 0 0 0,-1 0 0 0 0,0 0 0 0 0,1 0 0 0 0,-1-1 0 0 0,1 1 0 0 0,1 14-2 0 0,-2-12 10 0 0,-1-2-13 0 0,1 0 1 0 0,-1 0 0 0 0,1 0 0 0 0,-1 0 0 0 0,1 0-1 0 0,0 1 1 0 0,0-1 0 0 0,0 0 0 0 0,0 0 0 0 0,-1 0 0 0 0,1 0-1 0 0,1 0 1 0 0,-1 0 0 0 0,0 1 4 0 0,-1 0-8 0 0,0 1 4 0 0,0 12-25 0 0,3-6 169 0 0,5 11 54 0 0,-8-12-194 0 0,0 10 0 0 0,1-17-3 0 0,0 0 0 0 0,0 0 0 0 0,0 1 0 0 0,0-1-1 0 0,0 0 1 0 0,-1 0 0 0 0,1 0 0 0 0,0 1 0 0 0,-1-1 0 0 0,1 0-1 0 0,-1 1 4 0 0,0 0-32 0 0,0 1 0 0 0,0-1-1 0 0,0 1 1 0 0,1-1-1 0 0,-1 1 1 0 0,1-1-1 0 0,-1 1 1 0 0,1-1-1 0 0,0 1 1 0 0,0 0-1 0 0,0 0 33 0 0,0 18 0 0 0,-3 15 0 0 0,2-12 50 0 0,0-19-4 0 0,1 0-1 0 0,-1 0 1 0 0,1 0-1 0 0,1 1 0 0 0,-1-1 1 0 0,1 0-1 0 0,0 0-45 0 0,-1-4-11 0 0,0 0 0 0 0,0 0 1 0 0,0-1-1 0 0,0 1 0 0 0,0 0 0 0 0,0 0 0 0 0,0-1 0 0 0,0 1 0 0 0,-1 0 0 0 0,1-1 0 0 0,0 1 0 0 0,0 0 0 0 0,-1 0 0 0 0,1-1 0 0 0,0 1 1 0 0,-1-1-1 0 0,1 1 0 0 0,0 0 0 0 0,-1 0 11 0 0,-4 10-111 0 0,1 58 93 0 0,1 3 18 0 0,1-63 0 0 0,1-8 0 0 0,1 0 0 0 0,0 0 0 0 0,-1 0 0 0 0,1 0 0 0 0,0 0 0 0 0,0 0 0 0 0,0 0 0 0 0,0 0 0 0 0,0 0 0 0 0,0 0 0 0 0,0-1 0 0 0,0 1 0 0 0,0 0 0 0 0,1 0 0 0 0,-1 0 0 0 0,0 0 0 0 0,0 0 0 0 0,1 0 0 0 0,-1 0 0 0 0,1 0 0 0 0,1 8 44 0 0,-1-1 0 0 0,0 0 0 0 0,-1 1 0 0 0,0-1-1 0 0,0 4-43 0 0,0-1-191 0 0,-12 40 523 0 0,12-51-332 0 0,-1 1 0 0 0,1-1 0 0 0,0 1 0 0 0,0-1 0 0 0,0 1 0 0 0,0 0 0 0 0,0-1 0 0 0,0 1 0 0 0,0-1 0 0 0,0 1 0 0 0,0 0 0 0 0,0-1 0 0 0,0 1 0 0 0,1-1 0 0 0,-1 1 0 0 0,0 0 0 0 0,0-1 0 0 0,1 1 0 0 0,-1-1 0 0 0,0 1 0 0 0,1-1 0 0 0,-1 1 0 0 0,0-1 0 0 0,1 1 0 0 0,-1 0 0 0 0,0-1 0 0 0,1 1 0 0 0,-1 0 0 0 0,0-1 0 0 0,1 1 0 0 0,-1 0 0 0 0,0-1 0 0 0,0 1 0 0 0,0 0 0 0 0,0 0 0 0 0,0-1 0 0 0,0 1 0 0 0,0 0 0 0 0,0-1 0 0 0,0 1 0 0 0,0 0 0 0 0,0 0 0 0 0,-1-1 0 0 0,1 1 0 0 0,2 26-24 0 0,-4 4-312 0 0,2-13 336 0 0,0-17 0 0 0,1-1 0 0 0,-1 1 0 0 0,0-1 0 0 0,0 1 0 0 0,0 0 0 0 0,0-1 0 0 0,0 1 0 0 0,0-1 0 0 0,0 1 0 0 0,0 0 0 0 0,0-1 0 0 0,0 1 0 0 0,0-1 0 0 0,-1 1 0 0 0,1-1 0 0 0,0 1 0 0 0,0-1 0 0 0,0 1 0 0 0,-1-1 0 0 0,1 1 0 0 0,0-1 0 0 0,-1 1 0 0 0,1 0 0 0 0,-1-1 0 0 0,1 1 0 0 0,-1-1 0 0 0,1 1 0 0 0,-1 0 0 0 0,1-1 0 0 0,0 1 0 0 0,0-1 0 0 0,-1 1 0 0 0,1 0 0 0 0,0-1 0 0 0,0 1 0 0 0,-1 0 0 0 0,1-1 0 0 0,0 1 0 0 0,0 0 0 0 0,0 0 0 0 0,0-1 0 0 0,0 1 0 0 0,0 27 0 0 0,-4-10 0 0 0,3-17 0 0 0,1 0 0 0 0,0 0 0 0 0,-1 0 0 0 0,1 0 0 0 0,0 0 0 0 0,-1 0 0 0 0,1 0 0 0 0,0 0 0 0 0,0 0 0 0 0,0 0 0 0 0,0 1 0 0 0,0-1 0 0 0,0 0 0 0 0,0 0 0 0 0,1 0 0 0 0,-1 0 0 0 0,0 0 0 0 0,0 0 0 0 0,1 0 0 0 0,-1 0 0 0 0,2 3 0 0 0,0 0 0 0 0,0 0 0 0 0,-1 0 0 0 0,1 1 0 0 0,-1-1 0 0 0,0 1 0 0 0,-1-1 0 0 0,1 0 0 0 0,-1 1 0 0 0,0-1 0 0 0,0 4 0 0 0,0-6 0 0 0,1-1 0 0 0,-1 1 0 0 0,0 0 0 0 0,0-1 0 0 0,-1 1 0 0 0,1 0 0 0 0,0-1 0 0 0,-1 1 0 0 0,1 0 0 0 0,-1-1 1 0 0,0 2-1 0 0,0 4 10 0 0,1-4 13 0 0,0 1-1 0 0,-1 0 1 0 0,1-1-1 0 0,-1 1 1 0 0,0-1-1 0 0,0 1 1 0 0,0-1-1 0 0,0 1 1 0 0,-1-1-1 0 0,1 1 1 0 0,-2-1-23 0 0,5 10-162 0 0,0-6 153 0 0,-3 23 9 0 0,-7 23 0 0 0,10-33-6 0 0,-2-19 13 0 0,0 0-1 0 0,1 0 0 0 0,-1 0 1 0 0,0 0-1 0 0,1 0 0 0 0,-1 1 1 0 0,0-1-1 0 0,0 0 0 0 0,0 0 1 0 0,0 0-1 0 0,0 0 0 0 0,-1 0 1 0 0,1 1-1 0 0,0-1 0 0 0,0 0 1 0 0,-1 0-1 0 0,1 0 0 0 0,-1 1-6 0 0,0-1 78 0 0,0 0-72 0 0,1 0 0 0 0,0 0 0 0 0,-1 0 0 0 0,1 0 0 0 0,0 0 0 0 0,0 0-1 0 0,0 0 1 0 0,-1 0 0 0 0,1 0 0 0 0,0 0 0 0 0,0 0 0 0 0,0 0 0 0 0,1 0 0 0 0,-1 0-1 0 0,0 0 1 0 0,0 0-6 0 0,1 5 0 0 0,-1-5 0 0 0,0 0 0 0 0,0-1 0 0 0,0 1 0 0 0,0 0 0 0 0,0 0 0 0 0,0 0 0 0 0,0-1 0 0 0,0 1 0 0 0,-1 0 0 0 0,1 0 0 0 0,0 0 0 0 0,0-1 0 0 0,-1 1 0 0 0,1 0 0 0 0,-1 0 0 0 0,1-1 0 0 0,-1 1 0 0 0,1-1 0 0 0,-1 1 0 0 0,0 8 0 0 0,-3 7 0 0 0,3-6-12 0 0,1-2-53 0 0,0-5 55 0 0,0 0 0 0 0,0 0 0 0 0,0 0 1 0 0,-1 0-1 0 0,1 0 0 0 0,-1 0 0 0 0,0 0 0 0 0,0 0 0 0 0,0 0 0 0 0,-1 2 10 0 0,2-2 0 0 0,2-2 0 0 0,-1 12 0 0 0,-2-10 0 0 0,-1-1 0 0 0,-2 12 0 0 0,3-10 0 0 0,0 12 0 0 0,1-10 0 0 0,5 43 11 0 0,-4-47 21 0 0,-1 1-9 0 0,-4 9-25 0 0,3-10 2 0 0,0 2 0 0 0,3 10 0 0 0,0-10 0 0 0,-1-1-2 0 0,0 19 58 0 0,-1 7-46 0 0,2-16-10 0 0,-2-12 0 0 0,-1 0 0 0 0,1 0 0 0 0,0-1 0 0 0,-1 1 0 0 0,1 0 0 0 0,0 0 0 0 0,-1 0 0 0 0,1 0 0 0 0,0 0 0 0 0,0 0 0 0 0,0 0 0 0 0,0 0 0 0 0,0 0 0 0 0,0 0 0 0 0,0 0 0 0 0,1 1 0 0 0,3 27 0 0 0,-3-25 0 0 0,0 1 0 0 0,-1-1 0 0 0,1 0 0 0 0,-1 1 0 0 0,0-1 0 0 0,0 1 0 0 0,0 2 0 0 0,0 6 41 0 0,0-11-38 0 0,0-1 1 0 0,0 1 0 0 0,0-1-1 0 0,0 1 1 0 0,0-1 0 0 0,0 1-1 0 0,-1-1 1 0 0,1 1-1 0 0,0-1 1 0 0,-1 1 0 0 0,1-1-1 0 0,-1 1-3 0 0,0 0 4 0 0,1-1-1 0 0,0 1 0 0 0,-1-1 1 0 0,1 1-1 0 0,0-1 0 0 0,0 1 1 0 0,0-1-1 0 0,0 1 0 0 0,0-1 1 0 0,0 1-1 0 0,0 0 0 0 0,0-1 1 0 0,1 1-1 0 0,-1-1 0 0 0,0 1 1 0 0,1-1-1 0 0,0 0 0 0 0,-1 1 1 0 0,2 0-4 0 0,-2 0 1 0 0,1 0-1 0 0,0 0 1 0 0,0-1 0 0 0,-1 1 0 0 0,1 0 0 0 0,-1 0 0 0 0,0 0-1 0 0,1 0 1 0 0,-1 0 0 0 0,0 0 0 0 0,0 0 0 0 0,0 0 0 0 0,0 0 0 0 0,-1 0-1 0 0,1 0 0 0 0,-7 30 134 0 0,7-31-131 0 0,-1 0-14 0 0,0 1 0 0 0,1 0 0 0 0,-1-1-1 0 0,0 1 1 0 0,1 0 0 0 0,0-1-1 0 0,-1 1 1 0 0,1 0 0 0 0,0 0-1 0 0,0-1 1 0 0,0 1 0 0 0,0 0-1 0 0,1 0 12 0 0,-1 13 32 0 0,-1-4 107 0 0,1-9-153 0 0,0 1 1 0 0,-1 0-1 0 0,1-1 0 0 0,0 1 0 0 0,1-1 1 0 0,-1 1-1 0 0,0-1 0 0 0,1 1 1 0 0,-1-1-1 0 0,1 1 0 0 0,0-1 0 0 0,0 3 14 0 0,0-5 4 0 0,-1 0-1 0 0,0 0 0 0 0,0 0 0 0 0,0 0 0 0 0,0 0 1 0 0,0 0-1 0 0,0 0 0 0 0,0 1 0 0 0,0-1 0 0 0,0 0 1 0 0,0 0-1 0 0,0 0 0 0 0,0 0 0 0 0,0 0 0 0 0,0 0 1 0 0,0 1-1 0 0,0-1 0 0 0,0 0 0 0 0,0 0 0 0 0,0 0 1 0 0,0 0-1 0 0,0 0 0 0 0,0 0 0 0 0,0 1 0 0 0,0-1 1 0 0,0 0-1 0 0,0 0 0 0 0,0 0 0 0 0,-1 0 0 0 0,1 0 1 0 0,0 0-1 0 0,0 0 0 0 0,0 0 0 0 0,0 1 1 0 0,0-1-1 0 0,0 0 0 0 0,0 0 0 0 0,0 0 0 0 0,-1 0 1 0 0,1 0-1 0 0,0 0-3 0 0,0 0 3 0 0,0 0 0 0 0,0 0 0 0 0,0 0 0 0 0,0 0 0 0 0,-1 1 1 0 0,1-1-1 0 0,0 0 0 0 0,0 0 0 0 0,0 0 0 0 0,0 0 0 0 0,0 0 0 0 0,0 0 1 0 0,0 1-1 0 0,-1-1 0 0 0,1 0 0 0 0,0 0 0 0 0,0 0 0 0 0,0 0 0 0 0,0 0 1 0 0,0 1-1 0 0,0-1 0 0 0,0 0 0 0 0,0 0 0 0 0,0 0 0 0 0,0 0 0 0 0,0 1 0 0 0,0-1 1 0 0,0 0-1 0 0,0 0 0 0 0,0 0 0 0 0,0 0 0 0 0,0 0 0 0 0,0 1 0 0 0,0-1 1 0 0,0 0-1 0 0,0 0 0 0 0,1 0 0 0 0,-1 0 0 0 0,0 1 0 0 0,0-1 0 0 0,0 0-3 0 0,0 1 15 0 0,1-1-22 0 0,0 1 0 0 0,-1-1-1 0 0,0 1 1 0 0,1 0 0 0 0,-1-1 0 0 0,1 1 0 0 0,-1 0 0 0 0,0-1 0 0 0,0 1 0 0 0,1 0 0 0 0,-1-1 0 0 0,0 1 0 0 0,0 0 0 0 0,0 0 0 0 0,0-1 0 0 0,0 1 7 0 0,-6 22-228 0 0,5-20 234 0 0,-6 11-6 0 0,3-6 0 0 0,4-1 0 0 0,7 28 392 0 0,-7-10-256 0 0,2-20-268 0 0,-1-3 89 0 0,-3 7-302 0 0,1-5 345 0 0,-2 3 0 0 0,-6 7 0 0 0,9-14 0 0 0,-1 1 0 0 0,1-1 0 0 0,0 0 0 0 0,-1 1 0 0 0,1-1 0 0 0,0 1 0 0 0,0-1 0 0 0,-1 1 0 0 0,1-1 0 0 0,0 1 0 0 0,0-1 0 0 0,-1 1 0 0 0,1-1 0 0 0,0 1 0 0 0,0-1 0 0 0,0 1 0 0 0,0-1 0 0 0,0 1 0 0 0,0-1 0 0 0,0 1 0 0 0,0-1 0 0 0,0 1 0 0 0,0-1 0 0 0,0 1 0 0 0,0-1 0 0 0,1 1 0 0 0,-1-1 0 0 0,0 1 0 0 0,0-1 0 0 0,0 1 0 0 0,1-1 0 0 0,-1 1 0 0 0,0-1 0 0 0,1 2 0 0 0,1 6 0 0 0,0-2 0 0 0,4 10 0 0 0,-2-3 0 0 0,-5-11 0 0 0,-1 1 0 0 0,4 18 0 0 0,-2 6 1751 0 0,0-25-1976 0 0,0 1 1 0 0,0-1-1 0 0,0 1 1 0 0,0-1-1 0 0,0 1 1 0 0,-1-1-1 0 0,0 2 225 0 0,0 5 24 0 0,1 15 324 0 0,-1-12 1 0 0,1 0-1 0 0,1 1 0 0 0,0-1 0 0 0,1 2-348 0 0,-2-9-107 0 0,0 0 0 0 0,1 1-1 0 0,-2-1 1 0 0,1 0 0 0 0,-1 4 107 0 0,-1 9-261 0 0,3-8 595 0 0,-1-9-317 0 0,0 0 0 0 0,0 0 0 0 0,0 1 0 0 0,0-1 0 0 0,0 0 0 0 0,0 0 0 0 0,0 0 0 0 0,0 0 1 0 0,-1 0-1 0 0,1 0 0 0 0,0 0 0 0 0,-1 0 0 0 0,1 0 0 0 0,-1 0 0 0 0,1 0 0 0 0,-1 0 0 0 0,1 0 0 0 0,-1 0-17 0 0,0 0-14 0 0,1-1 0 0 0,0 0 0 0 0,0 0 0 0 0,-1 1 0 0 0,1-1 0 0 0,0 0 0 0 0,0 1 0 0 0,0-1 0 0 0,-1 1 0 0 0,1-1 0 0 0,0 0 0 0 0,0 1 0 0 0,0-1 0 0 0,0 1-1 0 0,0-1 1 0 0,0 0 0 0 0,0 1 0 0 0,0-1 0 0 0,0 1 0 0 0,0-1 0 0 0,0 0 0 0 0,0 1 0 0 0,0-1 0 0 0,0 1 0 0 0,0-1 0 0 0,0 1 14 0 0,1 0-23 0 0,-1 0 0 0 0,0 1 0 0 0,1-1 1 0 0,-1 1-1 0 0,0-1 0 0 0,0 0 0 0 0,0 1 0 0 0,0-1 0 0 0,-1 0 1 0 0,1 1-1 0 0,0-1 0 0 0,0 0 0 0 0,-1 1 0 0 0,1-1 0 0 0,-1 1 23 0 0,1 1 0 0 0,0 1 0 0 0,0-1 0 0 0,0 0 0 0 0,0 0 0 0 0,1 1 0 0 0,0 2 0 0 0,1 1 0 0 0,-2 0 0 0 0,1-5 37 0 0,0 1 0 0 0,-1-1 0 0 0,1 0-1 0 0,-1 0 1 0 0,0 0 0 0 0,0 1 0 0 0,0-1-1 0 0,0 0 1 0 0,0 0 0 0 0,0 0 0 0 0,0 1-1 0 0,-1 1-36 0 0,1-4 16 0 0,-1 1 1 0 0,1 0-1 0 0,0 0 0 0 0,0 0 0 0 0,0 0 0 0 0,0 0 0 0 0,0 0 0 0 0,0 0 0 0 0,0 0 0 0 0,0 0 0 0 0,0 0 0 0 0,0 0 1 0 0,0 0-1 0 0,1 0 0 0 0,-1 0 0 0 0,0 0 0 0 0,1-1 0 0 0,-1 2-16 0 0,1-2-7 0 0,-1 0-1 0 0,0 0 1 0 0,0 0 0 0 0,0 0-1 0 0,0 1 1 0 0,0-1 0 0 0,0 0 0 0 0,0 0-1 0 0,0 0 1 0 0,0 0 0 0 0,0 0-1 0 0,0 1 1 0 0,0-1 0 0 0,0 0-1 0 0,0 0 1 0 0,0 0 0 0 0,0 0-1 0 0,0 0 1 0 0,0 0 0 0 0,0 1 0 0 0,0-1-1 0 0,0 0 1 0 0,0 0 0 0 0,0 0-1 0 0,0 0 1 0 0,0 0 0 0 0,0 0-1 0 0,0 1 1 0 0,0-1 0 0 0,-1 0-1 0 0,1 0 1 0 0,0 0 0 0 0,0 0 0 0 0,0 0-1 0 0,0 0 1 0 0,0 0 0 0 0,0 0-1 0 0,0 0 1 0 0,0 1 0 0 0,-1-1-1 0 0,1 0 1 0 0,0 0 7 0 0,0 0-8 0 0,0 0 0 0 0,0 0-1 0 0,0 0 1 0 0,-1 0 0 0 0,1 0-1 0 0,0 0 1 0 0,0 1 0 0 0,0-1 0 0 0,0 0-1 0 0,0 0 1 0 0,0 0 0 0 0,-1 0-1 0 0,1 0 1 0 0,0 1 0 0 0,0-1-1 0 0,0 0 1 0 0,0 0 0 0 0,0 0 0 0 0,0 0-1 0 0,0 1 1 0 0,0-1 0 0 0,0 0-1 0 0,0 0 1 0 0,0 0 0 0 0,0 0 0 0 0,0 1-1 0 0,0-1 1 0 0,0 0 0 0 0,0 0-1 0 0,0 0 1 0 0,0 1 0 0 0,0-1 0 0 0,0 0-1 0 0,0 0 1 0 0,0 0 0 0 0,0 0 8 0 0,3 4-31 0 0,-2 1 24 0 0,-1 18 7 0 0,0-23 0 0 0,0 3 30 0 0,-1-1 1 0 0,1 0-1 0 0,-1 1 0 0 0,0-1 0 0 0,1 0 0 0 0,-1 1 0 0 0,0-1 0 0 0,0 0 0 0 0,-1 0 1 0 0,1 0-1 0 0,-1 1-30 0 0,1-2 15 0 0,0 1 206 0 0,1-2-57 0 0,0 0-252 0 0,0 0-110 0 0,0 2-24 0 0,4 4 36 0 0,-1 4 148 0 0,-1 14 186 0 0,-2-17 82 0 0,0 6 184 0 0,0-10-479 0 0,-1 0-1 0 0,0 0 1 0 0,1-1-1 0 0,0 1 1 0 0,0 0-1 0 0,-1 0 1 0 0,2 0-1 0 0,-1 2 66 0 0,0-5 0 0 0,0 1-1 0 0,0-1 1 0 0,0 1-1 0 0,0-1 0 0 0,0 0 1 0 0,0 1-1 0 0,0-1 0 0 0,0 1 1 0 0,0-1-1 0 0,0 1 1 0 0,0-1-1 0 0,0 0 0 0 0,0 1 1 0 0,-1-1-1 0 0,1 1 1 0 0,0-1-1 0 0,0 0 0 0 0,0 1 1 0 0,-1-1-1 0 0,1 0 1 0 0,0 1-1 0 0,0-1 0 0 0,-1 0 1 0 0,1 1-1 0 0,0-1 1 0 0,-1 0-1 0 0,1 0 0 0 0,0 1 1 0 0,-1-1-1 0 0,1 0 1 0 0,-1 0 0 0 0,0 2 169 0 0,1-2 20 0 0,0 28-15 0 0,0-23-348 0 0,-1 12-282 0 0,-1-8 475 0 0,2-8 8 0 0,0 0 1 0 0,0 0-1 0 0,-1 0 0 0 0,1 0 0 0 0,0 0 1 0 0,0 0-1 0 0,0 0 0 0 0,1 0 1 0 0,-1 0-1 0 0,0 1 0 0 0,0-1 0 0 0,0 0 1 0 0,1 0-1 0 0,-1 0-27 0 0,1 1 63 0 0,-1-2-59 0 0,0 0 0 0 0,0 1 0 0 0,0-1 0 0 0,0 0-1 0 0,0 0 1 0 0,0 0 0 0 0,0 0 0 0 0,0 1 0 0 0,0-1 0 0 0,0 0-1 0 0,0 0 1 0 0,0 0 0 0 0,0 0 0 0 0,0 1 0 0 0,0-1 0 0 0,0 0-1 0 0,0 0 1 0 0,0 0 0 0 0,0 0 0 0 0,0 0 0 0 0,0 1 0 0 0,0-1 0 0 0,0 0-1 0 0,0 0 1 0 0,-1 0 0 0 0,1 0 0 0 0,0 0 0 0 0,0 0 0 0 0,0 1-1 0 0,0-1 1 0 0,0 0 0 0 0,0 0 0 0 0,-1 0 0 0 0,1 0 0 0 0,0 0-1 0 0,0 0 1 0 0,0 0 0 0 0,0 0 0 0 0,0 0 0 0 0,-1 0 0 0 0,1 0-1 0 0,0 0-3 0 0,0 0-14 0 0,0 0 0 0 0,-1 0 0 0 0,1 0 0 0 0,0 0-1 0 0,0 1 1 0 0,0-1 0 0 0,0 0 0 0 0,-1 0-1 0 0,1 0 1 0 0,0 0 0 0 0,0 0 0 0 0,0 0-1 0 0,0 0 1 0 0,-1 0 0 0 0,1 1 0 0 0,0-1 0 0 0,0 0-1 0 0,0 0 1 0 0,0 0 0 0 0,0 0 0 0 0,0 0-1 0 0,0 1 1 0 0,0-1 0 0 0,-1 0 0 0 0,1 0-1 0 0,0 0 1 0 0,0 1 0 0 0,0-1 0 0 0,0 0 0 0 0,0 0-1 0 0,0 0 15 0 0,-1 6-108 0 0,-1-1 51 0 0,1 17 38 0 0,0-21 27 0 0,1 1 0 0 0,0 0-1 0 0,0 0 1 0 0,0 0-1 0 0,0-1 1 0 0,0 1 0 0 0,0 0-1 0 0,1 0 1 0 0,-1-1 0 0 0,0 1-1 0 0,1 0 1 0 0,0 0-8 0 0,0 1 62 0 0,0-3-45 0 0,-1 1 1 0 0,0-1 0 0 0,0 1 0 0 0,0-1 0 0 0,0 1-1 0 0,0-1 1 0 0,0 1 0 0 0,0-1 0 0 0,0 1-1 0 0,0-1 1 0 0,0 0 0 0 0,-1 1 0 0 0,1-1 0 0 0,0 1-1 0 0,0-1 1 0 0,0 1 0 0 0,0-1 0 0 0,-1 0 0 0 0,1 1-18 0 0,-2 7 128 0 0,5-1-100 0 0,-9 46-572 0 0,0-27 1054 0 0,5-19-655 0 0,3 12-209 0 0,-2-9 323 0 0,1 6 35 0 0,1-6-4 0 0,-5 14 16 0 0,3-19 20 0 0,0 1 0 0 0,0-1 0 0 0,-1 0 0 0 0,0 0 0 0 0,0 0 0 0 0,0 0 0 0 0,-1 0 0 0 0,0 1-36 0 0,1-3 130 0 0,1 21-8 0 0,0 23-558 0 0,0-43 436 0 0,0 5 0 0 0,-8 27 0 0 0,6-28 0 0 0,1 0 0 0 0,0 0 0 0 0,1 0 0 0 0,0 0 0 0 0,0 3 0 0 0,0-5 0 0 0,0 3 0 0 0,0-7 0 0 0,0-1 0 0 0,0 1 0 0 0,0-1 0 0 0,0 1 0 0 0,0 0 0 0 0,0-1 0 0 0,0 1 0 0 0,1-1 0 0 0,-1 1 0 0 0,1 0 0 0 0,0 0 0 0 0,4 15 0 0 0,-4-9 23 0 0,-1-6 86 0 0,0 2 40 0 0,0-1-118 0 0,-4 8 96 0 0,4-9-144 0 0,-1 0 1 0 0,1 0-1 0 0,-1 0 0 0 0,1 0 1 0 0,0 0-1 0 0,0 0 0 0 0,0 0 1 0 0,0 0-1 0 0,0 0 0 0 0,0 0 1 0 0,0 0-1 0 0,1 0 17 0 0,0 4-95 0 0,-1 2 79 0 0,0 24 16 0 0,0-24 0 0 0,1-4 5 0 0,0 0 0 0 0,0-1-1 0 0,0 1 1 0 0,-1 0 0 0 0,0 0-1 0 0,0 0 1 0 0,0 0-1 0 0,0-1 1 0 0,-1 1 0 0 0,1 0-1 0 0,-1 0-4 0 0,-1 14 196 0 0,0-1-217 0 0,2-14 3 0 0,-1 0 1 0 0,1-1 0 0 0,0 1 0 0 0,0 0 0 0 0,0 0 0 0 0,0 0-1 0 0,1 0 1 0 0,0 2 17 0 0,0 8 0 0 0,-1-11 0 0 0,0 0 0 0 0,0 0 0 0 0,1 0 0 0 0,-1 0 0 0 0,0 0 0 0 0,1 0 0 0 0,0 0 0 0 0,0 1 0 0 0,1-1 0 0 0,-4 21 0 0 0,1-9 0 0 0,0-13 0 0 0,1 1 0 0 0,0-1 0 0 0,0 1 0 0 0,0-1 0 0 0,0 1 0 0 0,0-1 0 0 0,0 1 0 0 0,0-1 0 0 0,1 1 0 0 0,-1-1 0 0 0,0 1 0 0 0,1 6 0 0 0,-1-1 0 0 0,1 0 0 0 0,-2 1 0 0 0,0 3 0 0 0,1-7 0 0 0,-1 0 0 0 0,1-1 0 0 0,0 1 0 0 0,0 0 0 0 0,0 0 0 0 0,0 0 0 0 0,1 0 0 0 0,0 2 0 0 0,2 32 0 0 0,-3-5 54 0 0,0-18-50 0 0,-1-10 13 0 0,1 0 0 0 0,0 0 0 0 0,0 0 0 0 0,1 0 1 0 0,-1 0-1 0 0,1 0 0 0 0,0 0 0 0 0,1 1-17 0 0,-2-5 2 0 0,1 0 5 0 0,-3-1-3 0 0,1 11-4 0 0,4 13-69 0 0,-3 20 186 0 0,-2-32-117 0 0,-1 15 0 0 0,3-18 0 0 0,0 0 0 0 0,-3 34 0 0 0,2-40 17 0 0,0 0 14 0 0,4 17-15 0 0,-1-15-16 0 0,-1-3 0 0 0,-1-1 0 0 0,1 0 0 0 0,0 0 0 0 0,-1 0 0 0 0,1 1 0 0 0,-1-1 0 0 0,0 0 0 0 0,1 1 0 0 0,-1-1 0 0 0,0 0 0 0 0,0 1 0 0 0,0-1 0 0 0,0 0 0 0 0,0 1 0 0 0,0-1 0 0 0,0 1 0 0 0,-5 35 64 0 0,-1-16-64 0 0,6-20 0 0 0,0-1 0 0 0,0 1 0 0 0,0-1 0 0 0,0 1 0 0 0,0-1 0 0 0,-1 1 0 0 0,1 0 0 0 0,0-1 0 0 0,0 1 0 0 0,0-1 0 0 0,1 1 0 0 0,-1 0 0 0 0,0-1 0 0 0,0 1 0 0 0,0-1 0 0 0,0 1 0 0 0,0-1 0 0 0,1 1 0 0 0,-1-1 0 0 0,0 1 0 0 0,1-1 0 0 0,-1 1 0 0 0,0 0 0 0 0,1 0 0 0 0,1 2 0 0 0,-4 23 0 0 0,-2 6 0 0 0,4-22 0 0 0,2-7 0 0 0,-1-3-1 0 0,-1 1 1 0 0,1 0-1 0 0,-1-1 0 0 0,0 1 0 0 0,1 0 0 0 0,-1-1 0 0 0,0 1 0 0 0,1 0 0 0 0,-1 0 0 0 0,0 0 1 0 0,0-1-1 0 0,1 1 0 0 0,-1 0 0 0 0,0 0 0 0 0,0 0 0 0 0,0-1 0 0 0,0 1 0 0 0,0 1 1 0 0,0 1-12 0 0,1 1 1 0 0,-1-1-1 0 0,1 1 0 0 0,-1-1 0 0 0,0 0 0 0 0,0 1 1 0 0,-1 1 11 0 0,0 17 2 0 0,1-14-2 0 0,-2 12 93 0 0,0-4-114 0 0,2-14 30 0 0,0-1 0 0 0,-1 0 0 0 0,1 0 0 0 0,0 0 0 0 0,0 1 0 0 0,0-1 0 0 0,0 0-1 0 0,0 0 1 0 0,0 0 0 0 0,0 1 0 0 0,0-1 0 0 0,0 0 0 0 0,1 0 0 0 0,-1 0 0 0 0,1 2-9 0 0,1 5 10 0 0,-1 32-79 0 0,-8-18-14 0 0,7-19 66 0 0,-2 3-11 0 0,0 2 24 0 0,2-6 24 0 0,-1 0-1 0 0,1 1 1 0 0,0-1 0 0 0,0 0 0 0 0,1 0-1 0 0,-1 0 1 0 0,0 0 0 0 0,1 0-1 0 0,-1 0-19 0 0,3 13-128 0 0,-1-7 75 0 0,-2-7 57 0 0,1-1-1 0 0,-1 0 1 0 0,0 1-1 0 0,0-1 1 0 0,0 0-1 0 0,0 0 1 0 0,1 1-1 0 0,-1-1 1 0 0,0 0-1 0 0,0 1 1 0 0,0-1-1 0 0,0 0 1 0 0,0 1 0 0 0,0-1-1 0 0,0 0 1 0 0,0 1-1 0 0,0-1 1 0 0,0 0-1 0 0,0 1 1 0 0,0-1-1 0 0,0 1 1 0 0,0-1-1 0 0,0 0 1 0 0,0 1-1 0 0,0-1 1 0 0,0 0-1 0 0,-1 0 1 0 0,1 1-1 0 0,0-1 1 0 0,0 0 0 0 0,0 1-1 0 0,-1-1 1 0 0,1 0-1 0 0,0 0 1 0 0,0 1-1 0 0,0-1 1 0 0,-1 0-1 0 0,1 0 1 0 0,0 1-1 0 0,-1-1-3 0 0,1 0 39 0 0,0 9-219 0 0,-5 25 385 0 0,4-32-210 0 0,1-1 0 0 0,0 1 0 0 0,-1-1 0 0 0,1 1 0 0 0,0-1 1 0 0,-1 1-1 0 0,0-1 0 0 0,1 1 0 0 0,-1-1 0 0 0,0 0 0 0 0,0 1 5 0 0,1-2-5 0 0,0 0 0 0 0,0 1 0 0 0,-1-1 0 0 0,1 0 1 0 0,0 1-1 0 0,0-1 0 0 0,0 0 0 0 0,0 1 0 0 0,0-1 1 0 0,-1 0-1 0 0,1 1 0 0 0,0-1 0 0 0,0 0 0 0 0,0 1 0 0 0,0-1 1 0 0,0 0-1 0 0,0 1 0 0 0,0-1 0 0 0,0 0 0 0 0,1 1 0 0 0,-1-1 1 0 0,0 0-1 0 0,0 1 0 0 0,0-1 0 0 0,0 0 0 0 0,0 1 1 0 0,0-1-1 0 0,1 0 0 0 0,-1 0 0 0 0,0 1 0 0 0,0-1 5 0 0,2 3-1 0 0,-1-2 14 0 0,0 0-1 0 0,-1 0 1 0 0,1 0-1 0 0,-1 1 1 0 0,1-1-1 0 0,-1 0 1 0 0,1 0-1 0 0,-1 1 1 0 0,0-1-1 0 0,1 0 1 0 0,-1 0-1 0 0,0 1 1 0 0,0-1-1 0 0,0 0 1 0 0,0 1-1 0 0,0-1 1 0 0,-1 0-1 0 0,1 1-12 0 0,1 12 13 0 0,1-11-14 0 0,0-1 1 0 0,1 8 0 0 0,-4-7 1 0 0,-1 7-18 0 0,2-8-60 0 0,-1 0-4 0 0,0 0 94 0 0,0 1 1 0 0,0 0 0 0 0,1 0-1 0 0,-1 0 1 0 0,1 0 0 0 0,0 0 0 0 0,-1 0-1 0 0,1-1 1 0 0,1 1 0 0 0,-1 1-14 0 0,0 17 37 0 0,0 0-37 0 0,0-11-5 0 0,1 0 0 0 0,0 0 1 0 0,1 5 4 0 0,-1-13-72 0 0,-1 0-10 0 0,-1 3 41 0 0,1-3 47 0 0,0 0 0 0 0,0 0 1 0 0,0 0-1 0 0,0 0 0 0 0,1 0 1 0 0,-1 0-1 0 0,0 0 0 0 0,1 0 1 0 0,-1 0-1 0 0,1-1 0 0 0,0 3-6 0 0,0-4 11 0 0,-1 1-1 0 0,0 0 0 0 0,1-1 0 0 0,-1 1 1 0 0,0 0-1 0 0,0 0 0 0 0,0-1 1 0 0,0 1-1 0 0,0 0 0 0 0,0 0 0 0 0,0-1 1 0 0,0 1-1 0 0,0 0 0 0 0,0-1 1 0 0,0 1-1 0 0,0 0 0 0 0,0 0 0 0 0,-1 0-10 0 0,1 0-13 0 0,0-1 0 0 0,0 1 0 0 0,-1 0-1 0 0,1 0 1 0 0,0 0 0 0 0,0-1 0 0 0,0 1 0 0 0,0 0-1 0 0,0 0 1 0 0,0-1 0 0 0,0 1 0 0 0,1 0-1 0 0,-1 0 1 0 0,0 0 0 0 0,0-1 0 0 0,1 1 13 0 0,0 5-68 0 0,-2 1 54 0 0,0 6 14 0 0,1-13 0 0 0,1 1 0 0 0,-1 0 0 0 0,0-1 0 0 0,0 1 0 0 0,1 0 0 0 0,-1-1 0 0 0,0 1 0 0 0,0 0 0 0 0,0-1 0 0 0,1 1 0 0 0,-1 0 0 0 0,0 0 0 0 0,0-1 0 0 0,0 1 0 0 0,0 0 0 0 0,-1-1 0 0 0,1 1 0 0 0,0 0 0 0 0,-6 36 288 0 0,6-35-205 0 0,0-2-124 0 0,0 0-58 0 0,0 0-12 0 0,-5 14 33 0 0,4-13-120 0 0,4-9-230 0 0,3-3-1097 0 0,-2-4-470 0 0</inkml:trace>
  <inkml:trace contextRef="#ctx0" brushRef="#br0" timeOffset="11454.035">3062 1977 2760 0 0,'3'-6'348'0'0,"-2"5"420"0"0,-1 1 184 0 0,0 0 37 0 0,0 0-50 0 0,0 0-250 0 0,0 0-106 0 0,0 0-27 0 0,0 0-24 0 0,0 0-84 0 0,0 0-38 0 0,0 0-8 0 0,0 0-8 0 0,0 0-22 0 0,0 0-10 0 0,0 0-2 0 0,0 0-3 0 0,0 0-12 0 0,0 0-7 0 0,0 0-2 0 0,0 0-4 0 0,0 0-18 0 0,0 0-8 0 0,0 0-2 0 0,9 5 1082 0 0,-7-4-1325 0 0,-1 0 0 0 0,0 0 0 0 0,0 0 0 0 0,0 1 0 0 0,0-1 0 0 0,0 1 0 0 0,0-1 1 0 0,0 0-1 0 0,0 1 0 0 0,0 0 0 0 0,0-1 0 0 0,-1 1 0 0 0,1-1 0 0 0,-1 1 0 0 0,1 0 0 0 0,-1-1 0 0 0,0 1 0 0 0,0 0 0 0 0,1 0 0 0 0,-1 1-61 0 0,0 2 52 0 0,1 0 0 0 0,-1 0 0 0 0,0 0 0 0 0,0 0-1 0 0,-1 0 1 0 0,0 0 0 0 0,0 0-52 0 0,0 3 219 0 0,-1 0-1 0 0,1-1 0 0 0,1 1 1 0 0,-1 0-1 0 0,1 0 0 0 0,1 0-218 0 0,-1 5 134 0 0,-3-2-29 0 0,2-10-96 0 0,1 0 1 0 0,-1 0 0 0 0,1 0 0 0 0,0 0 0 0 0,-1 0-1 0 0,1 0 1 0 0,0 0 0 0 0,0 0 0 0 0,0 0 0 0 0,0 0-1 0 0,0 0 1 0 0,0 0 0 0 0,0 0 0 0 0,0 0 0 0 0,0 0-1 0 0,0 0-9 0 0,1 2 25 0 0,0 0-1 0 0,0 1 0 0 0,-1-1 0 0 0,1 0 0 0 0,-1 0 0 0 0,0 1 0 0 0,0-1 0 0 0,0 3-24 0 0,0 6 57 0 0,-5 60 345 0 0,-2-29-58 0 0,3-26-251 0 0,4-16-86 0 0,-1 0 0 0 0,1 0 0 0 0,-1 0 0 0 0,1 0 0 0 0,0 1 0 0 0,-1-1 0 0 0,1 0 0 0 0,0 0 0 0 0,0 0 0 0 0,0 1 0 0 0,0-1 0 0 0,0 0 0 0 0,0 0 0 0 0,1 1 0 0 0,-1-1 0 0 0,0 0 0 0 0,0 0 0 0 0,1 1-7 0 0,0 1 28 0 0,0 1 0 0 0,0-1 0 0 0,0 1 0 0 0,-1-1 0 0 0,1 1-1 0 0,-1-1 1 0 0,0 1 0 0 0,0-1 0 0 0,0 1 0 0 0,-1-1 0 0 0,1 1-28 0 0,-1-1 18 0 0,1 0 0 0 0,0 0 0 0 0,0 1 0 0 0,0-1 0 0 0,0 0-1 0 0,0 1 1 0 0,1-1 0 0 0,-1 0 0 0 0,1 0 0 0 0,0 0 0 0 0,1 3-18 0 0,6 16 73 0 0,-3-7-17 0 0,-8-9-39 0 0,2-6-17 0 0,1 1 1 0 0,-1-1 0 0 0,1 1-1 0 0,-1-1 1 0 0,1 1 0 0 0,-1 0 0 0 0,1-1-1 0 0,0 1 1 0 0,-1 0 0 0 0,1-1-1 0 0,0 1 1 0 0,0 0 0 0 0,-1-1 0 0 0,1 1-1 0 0,0 0 1 0 0,0-1 0 0 0,0 1-1 0 0,0 0 1 0 0,0 0 0 0 0,0-1 0 0 0,0 1-1 0 0,0 0 0 0 0,-4 54 144 0 0,4-54-141 0 0,0-1 0 0 0,0 0 0 0 0,-1 1 0 0 0,1-1 0 0 0,0 1 0 0 0,0-1 0 0 0,0 0 0 0 0,0 1 0 0 0,0-1 0 0 0,-1 0 0 0 0,1 1 0 0 0,0-1 0 0 0,0 1 0 0 0,-1-1 0 0 0,1 0 0 0 0,0 0 0 0 0,0 1 0 0 0,-1-1 0 0 0,1 0 0 0 0,-1 1-3 0 0,-1 1 0 0 0,1 2 16 0 0,0 1 1 0 0,1 0-1 0 0,-1-1 0 0 0,1 1 0 0 0,0 0 0 0 0,0 0 0 0 0,0-1 0 0 0,1 3-16 0 0,0 11 74 0 0,0-3-35 0 0,0-12-23 0 0,-1 1 1 0 0,0 0 0 0 0,0 0-1 0 0,0-1 1 0 0,0 1 0 0 0,-1 2-17 0 0,1-4 1 0 0,0 0 0 0 0,-1 1 1 0 0,2-1-1 0 0,-1 0 0 0 0,0 1 1 0 0,0-1-1 0 0,1 0 0 0 0,0 1-1 0 0,1 11 11 0 0,1 70 106 0 0,-4-44-63 0 0,-1-27-24 0 0,1-8-60 0 0,0-1-1 0 0,0 1 1 0 0,1 0-1 0 0,0 0 1 0 0,0 0-1 0 0,0 0 1 0 0,0-1-1 0 0,1 1 1 0 0,0 0 30 0 0,-1-3 15 0 0,0-1 0 0 0,0 1-1 0 0,1 0 1 0 0,-1 0 0 0 0,-1-1 0 0 0,1 1 0 0 0,0 0 0 0 0,0 0 0 0 0,-1-1 0 0 0,0 2-15 0 0,1-2 20 0 0,-1 1-1 0 0,1 0 1 0 0,0 0-1 0 0,0 0 1 0 0,-1 0-1 0 0,1 0 1 0 0,0-1-1 0 0,1 1 1 0 0,-1 2-20 0 0,1-2 7 0 0,-1 1 0 0 0,1 0 0 0 0,-1 0 0 0 0,0 0 0 0 0,0 0 0 0 0,0-1 0 0 0,0 1 1 0 0,-1 0-1 0 0,1 0 0 0 0,-1 2-7 0 0,1-4 1 0 0,-1 1 0 0 0,1 0 0 0 0,0-1 0 0 0,0 1 0 0 0,1 0 0 0 0,-1-1 0 0 0,0 1 0 0 0,0-1 0 0 0,1 1 0 0 0,-1 0 0 0 0,1-1-1 0 0,-1 1 0 0 0,1 0 0 0 0,-1 0 0 0 0,1 0 0 0 0,-1-1 0 0 0,0 1 0 0 0,0 0 0 0 0,1 0-1 0 0,-2 0 1 0 0,1 2 0 0 0,3 35 0 0 0,-3-11 0 0 0,0-7 54 0 0,0-19-47 0 0,-1 14 7 0 0,-5 2 40 0 0,5-15-54 0 0,0-1 0 0 0,0 1 0 0 0,0 0 0 0 0,0-1 0 0 0,1 1 0 0 0,-1 0 0 0 0,1 0 0 0 0,0-1 0 0 0,0 1 0 0 0,0 0 0 0 0,0 0-1 0 0,0-1 1 0 0,0 1 0 0 0,1 0 0 0 0,-1 0 0 0 0,1-1 0 0 0,0 1 0 0 0,0 0 0 0 0,1 6 0 0 0,0-1 0 0 0,-1 1 0 0 0,-1-1 0 0 0,1 6 0 0 0,-2-2 0 0 0,-1-10 0 0 0,1 0 0 0 0,0 10 0 0 0,1 15 0 0 0,0 0 0 0 0,0-17 22 0 0,0 3-8 0 0,0 1 0 0 0,-1-1 0 0 0,-2 10-14 0 0,1 4 0 0 0,2-22 0 0 0,-1-1 0 0 0,1 1 0 0 0,-1 0 0 0 0,1 0 0 0 0,-2-1 0 0 0,0 5 0 0 0,0-4 0 0 0,1 1 0 0 0,0 0 0 0 0,0-1 0 0 0,1 1 0 0 0,-1 0 0 0 0,1-1 0 0 0,0 1 0 0 0,1 2 0 0 0,0 9 0 0 0,2 2 0 0 0,-3-17 0 0 0,1 1 0 0 0,-1-1 0 0 0,1 1 0 0 0,-1-1 0 0 0,0 1 0 0 0,0-1 0 0 0,0 1 0 0 0,0 1 0 0 0,-1 1-5 0 0,1 1 0 0 0,-1-1 0 0 0,2 1 0 0 0,-1 0-1 0 0,1 0 6 0 0,-1 0-106 0 0,1 0 0 0 0,-1-1 0 0 0,0 1 0 0 0,-1-1 0 0 0,1 2 106 0 0,-1 3 70 0 0,1-8-26 0 0,0 0 1 0 0,0 0-1 0 0,0 0 0 0 0,-1 0 0 0 0,1-1 1 0 0,0 1-1 0 0,-1 0 0 0 0,1 0 0 0 0,-1 0 0 0 0,0 1-44 0 0,0-1 2 0 0,0 0 0 0 0,0 0-1 0 0,0 0 1 0 0,0 0 0 0 0,1 0-1 0 0,-1 0 1 0 0,1 0 0 0 0,-1 1 0 0 0,1-1-1 0 0,0 0 1 0 0,0 0 0 0 0,0 1-1 0 0,0-1 1 0 0,0 0 0 0 0,1 0-1 0 0,-1 1-1 0 0,1 5 12 0 0,-1 30 41 0 0,1-29-53 0 0,-1-6 0 0 0,1 1 0 0 0,-1-1 0 0 0,0 1 0 0 0,0 0 0 0 0,-1-1 0 0 0,1 1 0 0 0,-1 2 0 0 0,-2 2 0 0 0,0 2 0 0 0,5 11 0 0 0,-2-19 0 0 0,1 0 0 0 0,-1 0 0 0 0,0 0 0 0 0,0 0 0 0 0,0 0 0 0 0,0 0 0 0 0,-1 0 0 0 0,1 0 0 0 0,0 0 0 0 0,-1 0 0 0 0,0 0 0 0 0,0 0 0 0 0,1-1 0 0 0,-1 7 0 0 0,2 11 0 0 0,-2-6 0 0 0,1 3 0 0 0,1-7 6 0 0,0-1 0 0 0,0 0 1 0 0,-1 1-1 0 0,0-1 0 0 0,-1 7-6 0 0,0 9 33 0 0,-1-6-33 0 0,2-15 0 0 0,-1 0 0 0 0,1 1 0 0 0,0-1 0 0 0,0 0 0 0 0,0 1 0 0 0,1-1 0 0 0,0 3 0 0 0,0 0 0 0 0,-1 0 0 0 0,0 0 0 0 0,0-1 0 0 0,0 1-1 0 0,0 0 1 0 0,-1 0 0 0 0,0 0 0 0 0,-1 1 0 0 0,-2 29 65 0 0,0 79-54 0 0,1-106 35 0 0,3-8-45 0 0,0 0-1 0 0,-1 0 1 0 0,1-1-1 0 0,0 1 1 0 0,0 0-1 0 0,0 0 1 0 0,-1 0-1 0 0,1 0 1 0 0,0-1-1 0 0,0 1 1 0 0,0 0-1 0 0,0 0 1 0 0,1 0-1 0 0,-1 0 0 0 0,2 2 1 0 0,-1 1-5 0 0,0 15 61 0 0,-6 41-47 0 0,1-26-10 0 0,1-16 0 0 0,3-17 2 0 0,-1 0 0 0 0,1-1 0 0 0,0 1 0 0 0,0 0 0 0 0,-1 0 0 0 0,1-1 0 0 0,0 1-1 0 0,0 0 1 0 0,0 0 0 0 0,0 0 0 0 0,0-1 0 0 0,0 1 0 0 0,0 0 0 0 0,0 0 0 0 0,0 0 0 0 0,1-1-1 0 0,-1 1 1 0 0,0 0 0 0 0,0 0 0 0 0,1-1 0 0 0,-1 1-2 0 0,2 3 14 0 0,-4-1-2 0 0,2-2-12 0 0,0 0 0 0 0,0-1 0 0 0,-1 1 0 0 0,1 0 0 0 0,0-1 0 0 0,0 1-1 0 0,0 0 1 0 0,0 0 0 0 0,-1-1 0 0 0,1 1 0 0 0,0 0 0 0 0,1-1 0 0 0,-1 1 0 0 0,0 0 0 0 0,0 0 0 0 0,0-1 0 0 0,0 1-1 0 0,0 0 1 0 0,1-1 0 0 0,-1 1 0 0 0,6 64 0 0 0,-9-36 0 0 0,5-14 0 0 0,0-1 0 0 0,-1 1 0 0 0,-2 13 0 0 0,1-9 0 0 0,-4 27 0 0 0,1 52 64 0 0,1-81-44 0 0,2-15-14 0 0,-1 1-1 0 0,1 0 1 0 0,0 0-1 0 0,0 0 1 0 0,0 0-1 0 0,1 0 1 0 0,-1 0-1 0 0,1 0-5 0 0,-1-1 0 0 0,0 0 0 0 0,0-1 0 0 0,0 1 0 0 0,0 0 0 0 0,0 0 0 0 0,0 0 0 0 0,0-1 0 0 0,-1 1 0 0 0,1 0 0 0 0,-1 0 0 0 0,-1 11 0 0 0,1 3 13 0 0,0-14-8 0 0,1 0-1 0 0,0 0 1 0 0,-1 0 0 0 0,1 0 0 0 0,0 0-1 0 0,1 0 1 0 0,-1 0 0 0 0,0 0 0 0 0,0 0-1 0 0,1 2-4 0 0,-1 3 12 0 0,-10 24 42 0 0,5 6-44 0 0,4-23-10 0 0,2 5 0 0 0,-2 10 54 0 0,-1-20-16 0 0,1 1 1 0 0,0 0 0 0 0,1 0-1 0 0,0 9-38 0 0,-1-10 31 0 0,0-1 0 0 0,0 0 0 0 0,-1 0 0 0 0,0 1-31 0 0,1-5 12 0 0,-2 5 37 0 0,2-3-32 0 0,0-1-1 0 0,0 1 1 0 0,0 0-1 0 0,1 0 1 0 0,0 0-1 0 0,0 5-16 0 0,-5 94 207 0 0,-2-23-154 0 0,7-80-53 0 0,0 1 0 0 0,-1 0 0 0 0,1-1 0 0 0,-1 1 0 0 0,0-1 0 0 0,1 1 0 0 0,-1 0 0 0 0,0-1 0 0 0,-1 2 0 0 0,1-2 0 0 0,0 0 0 0 0,0 0 0 0 0,0 1 0 0 0,0-1 0 0 0,1 1 0 0 0,-1-1 0 0 0,1 1 0 0 0,0-1 0 0 0,-1 2 0 0 0,-2 13 95 0 0,2-13-70 0 0,0-1 0 0 0,0 1 0 0 0,1 0 0 0 0,-1-1 0 0 0,1 1 1 0 0,0 3-26 0 0,0 19 96 0 0,0-25-85 0 0,0 0 0 0 0,0 1 0 0 0,0-1 0 0 0,0 0 1 0 0,0 1-1 0 0,0-1 0 0 0,1 0 0 0 0,-1 0 0 0 0,1 1 1 0 0,-1-1-1 0 0,0 0 0 0 0,1 1-11 0 0,0-2 0 0 0,-1 0 1 0 0,0 1-1 0 0,0-1 1 0 0,0 0 0 0 0,0 0-1 0 0,0 1 1 0 0,0-1-1 0 0,0 0 1 0 0,0 0-1 0 0,0 1 1 0 0,1-1-1 0 0,-1 0 1 0 0,0 1-1 0 0,0-1 1 0 0,-1 0-1 0 0,1 0 1 0 0,0 1-1 0 0,0-1 1 0 0,0 0-1 0 0,0 1 1 0 0,0-1-1 0 0,0 0 1 0 0,0 0-1 0 0,0 1 1 0 0,0-1-1 0 0,-1 0 1 0 0,1 0-1 0 0,0 1 1 0 0,0-1-1 0 0,-2 3 11 0 0,1 1-1 0 0,0-1 1 0 0,0 1 0 0 0,0 0-1 0 0,0-1 1 0 0,1 1 0 0 0,-1 0-1 0 0,1-1 1 0 0,0 1 0 0 0,0 0-1 0 0,0 0-10 0 0,0 24 60 0 0,0-27-59 0 0,0-1 0 0 0,0 1-1 0 0,0-1 1 0 0,0 1 0 0 0,0 0 0 0 0,0-1-1 0 0,0 1 1 0 0,0-1 0 0 0,0 1-1 0 0,0 0 1 0 0,0-1 0 0 0,0 1 0 0 0,0-1-1 0 0,-1 1 1 0 0,1 0 0 0 0,0-1-1 0 0,-1 1 1 0 0,1 0-1 0 0,-1 0 5 0 0,1 0-1 0 0,-1 0 0 0 0,1 0 0 0 0,0 0 1 0 0,-1 1-1 0 0,1-1 0 0 0,0 0 1 0 0,0 0-1 0 0,-1 1 0 0 0,1-1 1 0 0,0 0-1 0 0,0 0 0 0 0,1 1 0 0 0,-1-1 1 0 0,0 0-1 0 0,0 0 0 0 0,1 1 1 0 0,-1-1-1 0 0,1 0-4 0 0,-1 3 13 0 0,0 0-1 0 0,-1 0 1 0 0,1-1 0 0 0,-1 1-1 0 0,0 3-12 0 0,1-6 4 0 0,-6 35 244 0 0,2-24-236 0 0,6-8-10 0 0,-1-2 5 0 0,-7 18 46 0 0,6-5-32 0 0,0-13-17 0 0,0-1 0 0 0,0 1 0 0 0,0 0 0 0 0,-1 0 0 0 0,1 0 0 0 0,0 0 0 0 0,-1-1 0 0 0,1 1-1 0 0,-1 0 1 0 0,1-1 0 0 0,-2 2-4 0 0,1 2 0 0 0,-1 0 0 0 0,1 0 0 0 0,0 0 0 0 0,0 0 0 0 0,0 1 0 0 0,1-1 0 0 0,0 3 0 0 0,-4 21 0 0 0,3 3 54 0 0,-3 3-16 0 0,4-28-32 0 0,-1-1 0 0 0,1 1 0 0 0,-1 0 0 0 0,-1-1 0 0 0,1 1 0 0 0,-2 1-6 0 0,3-6 0 0 0,-1 0 0 0 0,1 0 0 0 0,-1 0 0 0 0,1 0 0 0 0,0 0 0 0 0,0 0 0 0 0,0 0 0 0 0,0 2 0 0 0,-1 13 0 0 0,-2-4 3 0 0,1-1 0 0 0,1 1-1 0 0,0 0 1 0 0,0 1-3 0 0,4 18 53 0 0,1-25-53 0 0,-4-7 0 0 0,0 0 0 0 0,1 0 0 0 0,-1 1 0 0 0,0-1 0 0 0,1 0 0 0 0,-1 0 0 0 0,0 1 0 0 0,0-1 0 0 0,1 0 0 0 0,-1 1 0 0 0,0-1 0 0 0,0 1 0 0 0,1-1 0 0 0,-1 0 0 0 0,0 1 0 0 0,0-1 0 0 0,0 0 0 0 0,0 1 0 0 0,0-1 0 0 0,0 1 0 0 0,0-1 0 0 0,0 0 0 0 0,0 1 0 0 0,0-1 0 0 0,0 1 0 0 0,0-1 0 0 0,0 1 0 0 0,0-1 0 0 0,0 0 0 0 0,0 1 0 0 0,0-1 0 0 0,-1 0 0 0 0,1 1 1 0 0,0-1-1 0 0,0 1 0 0 0,0-1 0 0 0,-1 0 0 0 0,1 1 0 0 0,-2 4 53 0 0,-5 26-43 0 0,3-12-10 0 0,3 2 22 0 0,1-15-15 0 0,0 1 0 0 0,0 0 0 0 0,-1 0 0 0 0,1 0 0 0 0,-1 0 0 0 0,-1 0-7 0 0,1-2 0 0 0,1-3 0 0 0,0 27 0 0 0,0-19 0 0 0,0 18 0 0 0,1-25 0 0 0,-2-2 0 0 0,-5 13 0 0 0,1 13 0 0 0,5-13 27 0 0,1-12-24 0 0,-1-1-1 0 0,0 0 1 0 0,0 0-1 0 0,0 0 1 0 0,0 0-1 0 0,0 0 1 0 0,0 0-1 0 0,0 0 0 0 0,0 0 1 0 0,0 0-1 0 0,0 1 1 0 0,-1-1-1 0 0,1 0 1 0 0,0 0-1 0 0,-1 0-2 0 0,-1 5 0 0 0,0-1 0 0 0,0 1 0 0 0,0 0 0 0 0,1 0 0 0 0,0 0 0 0 0,0 1 0 0 0,1-1 0 0 0,-1 3 0 0 0,3 8 0 0 0,-2-14 0 0 0,0 0 0 0 0,1 0 0 0 0,-1-1 0 0 0,0 1 0 0 0,0 0 0 0 0,-1 0 0 0 0,1-1 0 0 0,-1 4 0 0 0,1-6 0 0 0,0 1 0 0 0,0 0 0 0 0,0 0 0 0 0,0 0 0 0 0,0 0 0 0 0,0 0 0 0 0,0-1 0 0 0,0 1 0 0 0,0 0 0 0 0,1 0 0 0 0,-1 0 0 0 0,0-1 0 0 0,1 1 0 0 0,-1 0 0 0 0,0 0 0 0 0,1 0 0 0 0,-1-1 0 0 0,1 1 0 0 0,-1 0 0 0 0,1 0 0 0 0,-1 0 0 0 0,0 0 0 0 0,1 0 0 0 0,-1-1 0 0 0,0 1 0 0 0,0 0 0 0 0,0 0 0 0 0,0 0 0 0 0,0 0 0 0 0,0 0 0 0 0,0 0 0 0 0,-1 5 0 0 0,1-4 0 0 0,-1-1 0 0 0,1 1 0 0 0,0 0 0 0 0,0-1 0 0 0,0 1 0 0 0,0 0 0 0 0,0-1 0 0 0,1 1 0 0 0,-1 0 0 0 0,1-1 0 0 0,-1 2 0 0 0,1 3 8 0 0,-1 0 0 0 0,0-1 0 0 0,0 1 0 0 0,-1 0-1 0 0,0 0 1 0 0,0 0 0 0 0,0 0 0 0 0,-3 4-8 0 0,-1 12 55 0 0,-1-11-44 0 0,6-11-11 0 0,-1 1 0 0 0,1-1 0 0 0,-1 1 0 0 0,1-1 0 0 0,0 0 0 0 0,-1 1 0 0 0,1 0 0 0 0,0-1 0 0 0,-1 1 0 0 0,1-1 0 0 0,0 1 0 0 0,0-1 0 0 0,0 1 0 0 0,-1 0 0 0 0,1-1 0 0 0,0 1 0 0 0,0-1 0 0 0,0 1-1 0 0,0 0 1 0 0,0-1 0 0 0,0 1 0 0 0,0-1 0 0 0,0 1 0 0 0,0 0 0 0 0,3 39 0 0 0,-1-28 0 0 0,-3 16 0 0 0,3-10 0 0 0,-2-18 0 0 0,0 0 0 0 0,0 1 0 0 0,0-1 0 0 0,0 0 0 0 0,0 1 0 0 0,0-1 0 0 0,0 0 0 0 0,0 1 0 0 0,0-1 0 0 0,0 0 0 0 0,0 1 0 0 0,0-1 0 0 0,0 0 0 0 0,0 1 0 0 0,-1-1 0 0 0,1 0 0 0 0,0 1 0 0 0,0-1 0 0 0,0 0 0 0 0,0 0 0 0 0,-1 1 0 0 0,1-1 0 0 0,0 0 0 0 0,0 0 0 0 0,-1 1 0 0 0,1-1 0 0 0,0 0 0 0 0,0 0 0 0 0,-1 0 0 0 0,0 3 0 0 0,-2 0 17 0 0,1 1-1 0 0,-1 0 1 0 0,1 0-1 0 0,0 0 1 0 0,1 0-1 0 0,-1 0 1 0 0,1 0-1 0 0,-1 1 1 0 0,1-1-1 0 0,1 0 1 0 0,-1 1-1 0 0,0-1 1 0 0,1 4-17 0 0,-3 6 14 0 0,2-10-6 0 0,0-1-1 0 0,0 0 1 0 0,1 1 0 0 0,-1 0-1 0 0,1-1 1 0 0,0 1 0 0 0,0-1-1 0 0,0 1 1 0 0,0-1-1 0 0,1 1 1 0 0,-1 0 0 0 0,1-1-1 0 0,0 3-7 0 0,2 5 0 0 0,-3-1 0 0 0,-4 11 0 0 0,3-7 0 0 0,0-7 0 0 0,1 0 0 0 0,-1 0 0 0 0,-1 0 0 0 0,1 0 0 0 0,-1 0 0 0 0,0 0 0 0 0,-1-1 0 0 0,0 2 0 0 0,1-5 9 0 0,1-2-6 0 0,1 0 0 0 0,-1 0 0 0 0,1-1 0 0 0,-1 1 0 0 0,1 0 0 0 0,0 0 0 0 0,-1 0 0 0 0,1 0 0 0 0,0 0 0 0 0,-1 0 0 0 0,1 0 0 0 0,0 0 0 0 0,0 0 0 0 0,0 0 0 0 0,0 1-3 0 0,-1 8 10 0 0,-1 3-10 0 0,4-10 0 0 0,0-1 0 0 0,-1 0 0 0 0,0 0 0 0 0,-1-1 0 0 0,1 1 0 0 0,-1-1 0 0 0,0 1 0 0 0,0-1 0 0 0,1 1 0 0 0,-1-1 0 0 0,0 1 0 0 0,-1 0 0 0 0,1-1 0 0 0,0 1 0 0 0,0-1 0 0 0,-1 1 0 0 0,1-1 0 0 0,-1 2 0 0 0,-6 17 0 0 0,6-17 0 0 0,0-1 0 0 0,0 0 0 0 0,0 0 0 0 0,0 0 0 0 0,1 0 0 0 0,-1 1 0 0 0,1-1 0 0 0,-1 0 0 0 0,1 1 0 0 0,0-1 0 0 0,0 0 0 0 0,0 2 0 0 0,0-2 0 0 0,1 0 0 0 0,-1 0 0 0 0,0-1 0 0 0,0 1 0 0 0,0 0 0 0 0,0 0 0 0 0,0 0 0 0 0,0 0 0 0 0,-1-1 0 0 0,1 1 0 0 0,-1 0 0 0 0,1 0 0 0 0,-1-1 0 0 0,0 1 0 0 0,0 0 0 0 0,1-1 1 0 0,0 0-1 0 0,0 0 0 0 0,0 0 1 0 0,0 0-1 0 0,0 0 0 0 0,0 0 1 0 0,0 0-1 0 0,0 0 1 0 0,0 0-1 0 0,0 0 0 0 0,0-1 1 0 0,0 1-1 0 0,1 0 0 0 0,-1 1 0 0 0,2 11 49 0 0,-2-13-49 0 0,-1 1 1 0 0,1-1-1 0 0,0 1 1 0 0,0 0 0 0 0,0-1-1 0 0,-1 1 1 0 0,1-1-1 0 0,0 1 1 0 0,0-1 0 0 0,0 1-1 0 0,0 0 1 0 0,0-1-1 0 0,0 1 1 0 0,0-1 0 0 0,0 1-1 0 0,0-1 1 0 0,1 1-1 0 0,-1 0 1 0 0,0-1 0 0 0,0 1-1 0 0,0-1 1 0 0,1 1-1 0 0,6 20-3 0 0,-8-9 3 0 0,0-11 0 0 0,1 0 0 0 0,0-1 0 0 0,0 1 0 0 0,-1 0 0 0 0,1 0 0 0 0,0 0 0 0 0,0 0 0 0 0,0 0 0 0 0,0 0 0 0 0,0 0 0 0 0,0 0 0 0 0,0-1 0 0 0,0 2 0 0 0,1-1 0 0 0,-1 0 0 0 0,1-1 0 0 0,-1 1 0 0 0,0 0 0 0 0,0 0 0 0 0,1 0 0 0 0,-1 0 0 0 0,0 0 0 0 0,0 0 0 0 0,0 0 0 0 0,0 0 0 0 0,0 0 0 0 0,0 0 0 0 0,0 0 0 0 0,0-1 0 0 0,0 1 0 0 0,-1 0 0 0 0,1 0 0 0 0,0 0 0 0 0,-1 0 0 0 0,1 0 0 0 0,-1 0 0 0 0,-3 10 0 0 0,2-9 10 0 0,2-2-8 0 0,-1 1 0 0 0,1-1 0 0 0,-1 1 0 0 0,1-1 0 0 0,-1 1 0 0 0,1-1 0 0 0,0 1 0 0 0,-1-1 0 0 0,1 1 0 0 0,0-1 0 0 0,-1 1 0 0 0,1-1 0 0 0,0 1 0 0 0,0 0 0 0 0,0-1 0 0 0,0 1 0 0 0,-1-1 0 0 0,1 1 0 0 0,0 0 0 0 0,0-1 0 0 0,0 1 0 0 0,0 0-2 0 0,0 1 1 0 0,0 0 0 0 0,-1 0 0 0 0,1 0 0 0 0,0 1 0 0 0,0-1 1 0 0,1 0-1 0 0,-1 0 0 0 0,0 0 0 0 0,1 0 0 0 0,-1 1-1 0 0,1-1 0 0 0,-1 0 0 0 0,1-1 0 0 0,-1 1 0 0 0,0 0 0 0 0,0-1 0 0 0,1 1 0 0 0,-1 0 0 0 0,-1-1 0 0 0,1 1 0 0 0,0 0 0 0 0,0-1-1 0 0,-1 1 1 0 0,1 0 0 0 0,0-1 0 0 0,-1 1 0 0 0,0 1 0 0 0,-7 18 0 0 0,7-19-2 0 0,0-1 1 0 0,1 0-1 0 0,-1 0 0 0 0,0 0 0 0 0,1 1 1 0 0,-1-1-1 0 0,1 0 0 0 0,-1 1 0 0 0,1-1 1 0 0,0 0-1 0 0,-1 1 0 0 0,1-1 0 0 0,0 0 1 0 0,0 1-1 0 0,0-1 0 0 0,0 1 1 0 0,0 0 0 0 0,-1 9-49 0 0,5 1 64 0 0,-5-11 11 0 0,2 6 92 0 0,2-1-105 0 0,-6 2-12 0 0,1-4 0 0 0,-8 14 0 0 0,-6 7 0 0 0,11-18 0 0 0,-4 11-53 0 0,6-13 20 0 0,3-2-49 0 0,4 6 16 0 0,7 22 120 0 0,-11-31-52 0 0,0 0 1 0 0,1 0-1 0 0,-1 1 0 0 0,0-1 0 0 0,0 0 0 0 0,0 0 0 0 0,0 0 1 0 0,0 0-1 0 0,0 0 0 0 0,0 0 0 0 0,0 0 0 0 0,1 0 1 0 0,-1 1-1 0 0,0-1 0 0 0,0 0 0 0 0,0 0 0 0 0,0 0 0 0 0,0 0 1 0 0,0 0-1 0 0,0 0 0 0 0,0 1 0 0 0,0-1 0 0 0,0 0 0 0 0,0 0 1 0 0,0 0-1 0 0,0 0 0 0 0,0 0 0 0 0,0 0 0 0 0,0 1 1 0 0,0-1-1 0 0,0 0 0 0 0,0 0 0 0 0,0 0 0 0 0,0 0 0 0 0,0 0 1 0 0,0 1-1 0 0,0-1 0 0 0,-1 0 0 0 0,1 0 0 0 0,0 0 1 0 0,0 0-1 0 0,0 0 0 0 0,0 0 0 0 0,0 0 0 0 0,0 0 0 0 0,0 1 1 0 0,0-1-1 0 0,0 0 0 0 0,-1 0 0 0 0,1 0 0 0 0,0 0 0 0 0,0 0 1 0 0,0 0-1 0 0,0 0 0 0 0,0 0-2 0 0,-3 3 106 0 0,7 12-56 0 0,-2-12-52 0 0,-2-2 3 0 0,1 0 0 0 0,-1 0 0 0 0,1-1-1 0 0,-1 1 1 0 0,0 0 0 0 0,0 0 0 0 0,1 0 0 0 0,-1-1-1 0 0,0 1 1 0 0,0 0 0 0 0,0 0 0 0 0,0 0-1 0 0,0 0 1 0 0,0 0 0 0 0,0 0 0 0 0,0-1-1 0 0,0 1 1 0 0,0 0-1 0 0,0 20 60 0 0,0-11-60 0 0,0-10 0 0 0,0 1 0 0 0,0 0 0 0 0,0 0 0 0 0,0-1 0 0 0,0 1 0 0 0,0 0 0 0 0,0 0 0 0 0,0-1 0 0 0,0 1 0 0 0,0 0 0 0 0,-1 0 0 0 0,1-1 0 0 0,0 1 0 0 0,-1 0 0 0 0,1-1 0 0 0,0 1 0 0 0,-1-1 0 0 0,1 1 0 0 0,-1 0 0 0 0,1-1 0 0 0,-1 1 0 0 0,0-1 0 0 0,-3 7 0 0 0,3-1 9 0 0,1-1 0 0 0,-1 1 0 0 0,1 0 0 0 0,1 5-9 0 0,-2 16 28 0 0,0-24-28 0 0,1-2 0 0 0,3 13 0 0 0,-2 4 0 0 0,0-17 2 0 0,-1 0-1 0 0,0 0 1 0 0,0 0-1 0 0,1 0 0 0 0,-1 0 1 0 0,0 0-1 0 0,0 0 1 0 0,0 0-1 0 0,0 0 1 0 0,0 0-1 0 0,-1 0 1 0 0,1 0-1 0 0,0 0 0 0 0,0 0 1 0 0,-1 0-1 0 0,1 0 1 0 0,0 0-1 0 0,-1 0 1 0 0,1 0-1 0 0,-1 0 1 0 0,1 0-1 0 0,-1-1 0 0 0,1 1 1 0 0,-1 0-1 0 0,0 0 1 0 0,1-1-1 0 0,-1 1 1 0 0,0 0-2 0 0,0-1 1 0 0,1 1 0 0 0,-1-1 0 0 0,0 1 1 0 0,1-1-1 0 0,-1 1 0 0 0,1 0 0 0 0,-1-1 1 0 0,1 1-1 0 0,0 0 0 0 0,-1-1 0 0 0,1 1 1 0 0,0 0-1 0 0,-1 0 0 0 0,1-1 0 0 0,0 1 0 0 0,0 0 1 0 0,0 0-1 0 0,0 0 0 0 0,-1-1-1 0 0,2 7 0 0 0,0-5 0 0 0,-1-1 0 0 0,0 1 0 0 0,0-1 0 0 0,0 1 0 0 0,0-1 0 0 0,0 1 0 0 0,0-1 0 0 0,-1 1 0 0 0,1-1 0 0 0,0 1 0 0 0,-1-1 0 0 0,1 0 0 0 0,-1 2 0 0 0,-1-1 0 0 0,1 1 0 0 0,0 10 0 0 0,-1-3 13 0 0,2-8-8 0 0,-1 1-1 0 0,0 0 1 0 0,1-1-1 0 0,-1 1 1 0 0,1 0-1 0 0,0-1 1 0 0,0 1-1 0 0,0 0 1 0 0,0-1-5 0 0,1 6 10 0 0,2-1-10 0 0,-2-6 0 0 0,-1 0 0 0 0,1 0-1 0 0,-1 1 1 0 0,0-1 0 0 0,1 0-1 0 0,-1 0 1 0 0,0 0 0 0 0,0 0-1 0 0,0 0 1 0 0,0 1 0 0 0,0-1-1 0 0,0 0 1 0 0,0 0 0 0 0,0 1 0 0 0,-2 13 58 0 0,2-14-58 0 0,0 0 1 0 0,0 1 0 0 0,0-1 0 0 0,0 0 0 0 0,0 0 0 0 0,-1 1 0 0 0,1-1 0 0 0,0 0-1 0 0,-1 0 1 0 0,1 0 0 0 0,-1 1 0 0 0,1-1 0 0 0,-1 0-1 0 0,-8 22-1 0 0,7-20 1 0 0,3 0 0 0 0,5 16 0 0 0,-5-17 0 0 0,-1-2 0 0 0,-1 19 0 0 0,-2-6 39 0 0,-3 4-14 0 0,-5 6-354 0 0,11-23 317 0 0,1 1 1 0 0,-1-1-1 0 0,0 0 0 0 0,0 1 1 0 0,0-1-1 0 0,0 1 0 0 0,1-1 1 0 0,-1 1-1 0 0,0-1 0 0 0,0 1 1 0 0,0-1-1 0 0,0 1 0 0 0,0-1 1 0 0,0 1-1 0 0,0-1 0 0 0,0 0 1 0 0,-1 1-1 0 0,1-1 0 0 0,0 1 1 0 0,0-1-1 0 0,0 1 0 0 0,0-1 1 0 0,-1 1-1 0 0,1-1 1 0 0,0 0-1 0 0,0 1 0 0 0,-1-1 1 0 0,1 0-1 0 0,0 1 0 0 0,-1-1 1 0 0,1 1-1 0 0,0-1 12 0 0,-2 2-10 0 0,-2 5 10 0 0,4 0 20 0 0,0-6 90 0 0,0-1 59 0 0,0 0 20 0 0,0 0-49 0 0,0 0-217 0 0,0 0-92 0 0,0 0-21 0 0,-9-16-1838 0 0,6 3 159 0 0,1 3-2746 0 0,2 8 3705 0 0,-3-8-6179 0 0</inkml:trace>
  <inkml:trace contextRef="#ctx0" brushRef="#br0" timeOffset="12171.214">2025 8357 5352 0 0,'0'0'241'0'0,"0"0"0"0"0,0 0-39 0 0,0 0 382 0 0,0 0 184 0 0,0 0 37 0 0,0 0 11 0 0,0 0 7 0 0,0 0 1 0 0,0 0 0 0 0,2 0-46 0 0,12 0 2524 0 0,-14 0-2916 0 0,0 0-54 0 0,2-1-20 0 0,7-1 39 0 0,19-6 446 0 0,-27 8-773 0 0,1-1-1 0 0,-1 1 1 0 0,0-1 0 0 0,0 0 0 0 0,0 1 0 0 0,1-1-1 0 0,-1 0 1 0 0,0 0 0 0 0,0 0 0 0 0,0 0 0 0 0,-1 0-1 0 0,1 0 1 0 0,0 0 0 0 0,0 0 0 0 0,0 0 0 0 0,-1 0 0 0 0,1 0-1 0 0,-1 0 1 0 0,1-1-24 0 0,1-3 56 0 0,0 0-1 0 0,0 1 1 0 0,0-1 0 0 0,0 1-1 0 0,1-1 1 0 0,0 1 0 0 0,0 0-1 0 0,0 0 1 0 0,0 0 0 0 0,3-2-57 0 0,6-4 106 0 0,0 0-1 0 0,11-7-104 0 0,19-15 154 0 0,-35 25-124 0 0,-1 1 1 0 0,-1-1-1 0 0,4-5-30 0 0,-4 5 16 0 0,0 0 0 0 0,1 0 0 0 0,-1 1-1 0 0,6-4-15 0 0,11-12 1 0 0,-14 14 20 0 0,1 0 0 0 0,-1 1 0 0 0,8-5-21 0 0,-4 4 25 0 0,0 1 0 0 0,1 0-1 0 0,0 1 1 0 0,0 1 0 0 0,0 0-1 0 0,1 0 1 0 0,-1 2 0 0 0,12-3-25 0 0,1 0 227 0 0,-20 4-77 0 0,0 0 0 0 0,0 1 0 0 0,0-1 0 0 0,0 2 0 0 0,0-1-150 0 0,-4 1 73 0 0,-1 0 3 0 0,6 1 16 0 0,11 4 75 0 0,-8-4-126 0 0,-9-1 35 0 0,-1 0 6 0 0,0 0 15 0 0,0 0-1 0 0,0 0-7 0 0,0 0-27 0 0,0 0-113 0 0,0 0-49 0 0,0 0-11 0 0,0 0-59 0 0,0 0-248 0 0,0 0-107 0 0,-13 11-2262 0 0,5-4 944 0 0,1-2-69 0 0</inkml:trace>
  <inkml:trace contextRef="#ctx0" brushRef="#br0" timeOffset="12720.662">1927 8083 4608 0 0,'0'0'208'0'0,"0"0"67"0"0,0 0 154 0 0,0 0 68 0 0,0 0 14 0 0,0 0 50 0 0,0 0 208 0 0,0 0 95 0 0,0 0 22 0 0,0 0-36 0 0,0 0-156 0 0,0 0-72 0 0,0 0-12 0 0,0 0-10 0 0,6 14 1056 0 0,-5-12-1504 0 0,1 1 0 0 0,0-1 0 0 0,-1 0 0 0 0,1 1 0 0 0,0-1 0 0 0,0 0 0 0 0,0 0 0 0 0,1 0 0 0 0,-1-1 0 0 0,0 1 0 0 0,1 0 0 0 0,-1-1-1 0 0,1 0 1 0 0,0 1 0 0 0,-1-1 0 0 0,1 0 0 0 0,0 0 0 0 0,0 0-152 0 0,0-1 0 0 0,0 0 0 0 0,0-1 0 0 0,1 1 0 0 0,-1-1 0 0 0,-1 1 0 0 0,1-1 0 0 0,0 0 0 0 0,0 0 0 0 0,0 0 0 0 0,0 0 0 0 0,0-1 0 0 0,-1 1 0 0 0,1-1 0 0 0,-1 1 0 0 0,3-3 0 0 0,8-5 0 0 0,0 3-14 0 0,-9 5 119 0 0,0-1 0 0 0,-1 0 0 0 0,1 0 0 0 0,0 0 0 0 0,-1 0 0 0 0,0-1 0 0 0,0 1 0 0 0,0-1 0 0 0,1 0-105 0 0,-1 0 107 0 0,-1 0 1 0 0,1 1-1 0 0,0 0 0 0 0,0 0 1 0 0,0 0-1 0 0,0 0 0 0 0,0 0 1 0 0,0 0-1 0 0,0 1 0 0 0,2-1-107 0 0,37-11-240 0 0,-39 12 236 0 0,18-4 78 0 0,1-2 0 0 0,-1 0 0 0 0,0-1 0 0 0,8-5-74 0 0,-12 4 0 0 0,2-1 0 0 0,0-1 0 0 0,-1 0 0 0 0,5-6 0 0 0,-18 12 44 0 0,-5 3 183 0 0,0 2 72 0 0,0 0 11 0 0,12 0 368 0 0,-9 0-4753 0 0,-3 0-2063 0 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30.865"/>
    </inkml:context>
    <inkml:brush xml:id="br0">
      <inkml:brushProperty name="width" value="0.05" units="cm"/>
      <inkml:brushProperty name="height" value="0.05" units="cm"/>
    </inkml:brush>
  </inkml:definitions>
  <inkml:trace contextRef="#ctx0" brushRef="#br0">177 311 3224 0 0,'0'0'368'0'0,"0"0"337"0"0,0 0 154 0 0,0 0 33 0 0,0 0-48 0 0,0 0-218 0 0,0 0-91 0 0,0 0-20 0 0,0 0-5 0 0,0 0-6 0 0,0 0-6 0 0,0 0-2 0 0,0 0-64 0 0,0 0-264 0 0,0 0-46 0 0,0 0 206 0 0,0 0 96 0 0,0 0 22 0 0,-8 2 143 0 0,8-1 2170 0 0,4-4-2208 0 0,0 1 0 0 0,0 0 0 0 0,0-1 1 0 0,0 0-1 0 0,-1 0 0 0 0,2-1-551 0 0,2-1 90 0 0,-2 1 21 0 0,-2 2-86 0 0,10 2 41 0 0,-6-1 0 0 0,-2 1-54 0 0,0 0 1 0 0,1 0-1 0 0,-1 1 0 0 0,0-1 0 0 0,0 1 0 0 0,1 0-12 0 0,-5 0 139 0 0,-1-1 11 0 0,5 4 52 0 0,-4-4-196 0 0,-1 1 1 0 0,0-1-1 0 0,0 1 0 0 0,1-1 1 0 0,-1 0-1 0 0,0 1 1 0 0,1-1-1 0 0,-1 0 0 0 0,0 1 1 0 0,1-1-1 0 0,-1 0 0 0 0,0 0 1 0 0,1 1-1 0 0,-1-1 0 0 0,1 0 1 0 0,-1 0-1 0 0,0 0 0 0 0,1 0 1 0 0,-1 1-1 0 0,1-1 0 0 0,-1 0 1 0 0,1 0-1 0 0,-1 0 0 0 0,1 0 1 0 0,-1 0-1 0 0,1 0 0 0 0,-1 0 1 0 0,0 0-1 0 0,1 0 0 0 0,0 0-6 0 0,0-1 14 0 0,11-1 82 0 0,-9 3-16 0 0,3 1-14 0 0,-4-2-55 0 0,0 1-1 0 0,0-1 0 0 0,0 0 0 0 0,0 1 0 0 0,0-1 0 0 0,-1 0 0 0 0,1 0 1 0 0,0 0-1 0 0,0 0 0 0 0,0-1 0 0 0,0 1 0 0 0,1-1-10 0 0,-1 1 6 0 0,3-2 5 0 0,-3 1 32 0 0,-2 1-43 0 0,0 0 0 0 0,1 0 0 0 0,-1 1 1 0 0,0-1-1 0 0,1 0 0 0 0,-1 0 0 0 0,0 0 1 0 0,1 0-1 0 0,-1 0 0 0 0,0 0 0 0 0,1 0 0 0 0,-1 0 1 0 0,1 0-1 0 0,-1 0 0 0 0,0 0 0 0 0,1 0 1 0 0,-1 0-1 0 0,0-1 0 0 0,1 1 0 0 0,-1 0 1 0 0,0 0-1 0 0,1 0 0 0 0,-1 0 0 0 0,0-1 0 0 0,1 1 1 0 0,-1 0-1 0 0,0 0 0 0 0,0-1 0 0 0,1 1 0 0 0,-1 0 3 0 0,0-1 0 0 0,0 1 0 0 0,1-1-1 0 0,-1 1 1 0 0,1 0 0 0 0,-1-1-1 0 0,0 1 1 0 0,1 0 0 0 0,-1-1 0 0 0,1 1-1 0 0,-1 0 1 0 0,0-1 0 0 0,1 1 0 0 0,-1 0-1 0 0,1 0 1 0 0,-1 0 0 0 0,1-1-1 0 0,-1 1 1 0 0,1 0 0 0 0,-1 0 0 0 0,1 0-3 0 0,7-2 21 0 0,5 2 28 0 0,-11 1-39 0 0,15 1 110 0 0,-9-2-110 0 0,0 2 1 0 0,-1-1 32 0 0,3 0-32 0 0,-10-1-8 0 0,1 0 0 0 0,0 0 0 0 0,0 0 1 0 0,-1 1-1 0 0,1-2 0 0 0,0 1 0 0 0,-1 0 1 0 0,1 0-1 0 0,0 0 0 0 0,0 0 1 0 0,-1 0-1 0 0,1-1 0 0 0,0 1 0 0 0,-1 0 1 0 0,1 0-1 0 0,0-1 0 0 0,-1 1 0 0 0,1-1 1 0 0,-1 1-1 0 0,1 0 0 0 0,0-1 0 0 0,-1 1-3 0 0,1-2 0 0 0,0 2 0 0 0,18-5 11 0 0,-9 3 39 0 0,-8 3-48 0 0,-2-1 0 0 0,1 0 0 0 0,-1 1 1 0 0,0-1-1 0 0,0 0 0 0 0,1 1 0 0 0,-1-1 0 0 0,0 0 0 0 0,1 0 0 0 0,-1 1 0 0 0,0-1 0 0 0,1 0 0 0 0,-1 0 1 0 0,1 0-1 0 0,-1 0 0 0 0,0 1 0 0 0,1-1 0 0 0,-1 0 0 0 0,0 0 0 0 0,1 0 0 0 0,-1 0 0 0 0,1 0 0 0 0,-1 0 1 0 0,1 0-1 0 0,-1 0 0 0 0,0 0 0 0 0,1 0 0 0 0,-1 0 0 0 0,1 0 0 0 0,-1-1 0 0 0,0 1 0 0 0,1 0-2 0 0,6-2 11 0 0,-4 2 32 0 0,4 3-33 0 0,6 0-19 0 0,-4-2 63 0 0,6-1-35 0 0,-13 1-18 0 0,20-10 62 0 0,-20 8-63 0 0,12-1 0 0 0,6 2 64 0 0,-1 2-60 0 0,-17-1 3 0 0,6 2 36 0 0,3-6-33 0 0,18-4-10 0 0,-27 6 0 0 0,0 2 0 0 0,11 2 0 0 0,-9-3 0 0 0,-3 0 0 0 0,-1 0 0 0 0,1 0 0 0 0,0 0 0 0 0,0 0 0 0 0,0 0 0 0 0,0 0 0 0 0,0 0 0 0 0,-1 0 0 0 0,1 0 0 0 0,0 0 0 0 0,0 1 0 0 0,0-1 0 0 0,-1 0 0 0 0,1 1 0 0 0,0-1 0 0 0,0 0 0 0 0,-1 1 0 0 0,1-1 0 0 0,0 1 0 0 0,3 1 4 0 0,-2-1 1 0 0,-1-1 0 0 0,0 1 1 0 0,1-1-1 0 0,-1 0 0 0 0,0 1 0 0 0,1-1 1 0 0,-1 0-1 0 0,1 0 0 0 0,-1 0 1 0 0,0 0-1 0 0,1 0 0 0 0,-1 0 1 0 0,1 0-6 0 0,4 0-9 0 0,4 0 9 0 0,2 0 0 0 0,-11 0 0 0 0,14-4 0 0 0,-12 3 0 0 0,0 1 0 0 0,0 0 0 0 0,0 0 0 0 0,0 0 0 0 0,0 1 0 0 0,0-1 0 0 0,0 1 0 0 0,3 0 0 0 0,2 1 0 0 0,1-3 0 0 0,-4 2 0 0 0,9 2 0 0 0,-7-1 11 0 0,-7-2-7 0 0,10 2 49 0 0,18-3-57 0 0,-19 1 4 0 0,8-2 0 0 0,-12 1 0 0 0,29 1 0 0 0,-26 0 0 0 0,17 6 0 0 0,-17-5 0 0 0,-1 0 0 0 0,2 1 0 0 0,-6-1 0 0 0,10-2 0 0 0,24 6-16 0 0,-13-2 80 0 0,-1-6-64 0 0,-1 3 64 0 0,-21 0-64 0 0,-1 0 0 0 0,1 0 0 0 0,-1 0 0 0 0,1 0 0 0 0,0 0 0 0 0,-1 0 0 0 0,1 0 0 0 0,-1 0-1 0 0,1 0 1 0 0,-1 0 0 0 0,1 0 0 0 0,-1 0 0 0 0,1-1 0 0 0,-1 1 0 0 0,1 0 0 0 0,-1 0 0 0 0,1 0 0 0 0,-1-1-1 0 0,1 1 1 0 0,-1 0 0 0 0,1-1 0 0 0,1 0 8 0 0,8 4 40 0 0,-8-3-43 0 0,0 1-5 0 0,0-1 1 0 0,0 0-1 0 0,0 0 0 0 0,0 0 1 0 0,0 0-1 0 0,-1-1 1 0 0,1 1-1 0 0,0 0 1 0 0,0-1-1 0 0,0 1 1 0 0,1-2-1 0 0,16-1 0 0 0,-13 2-21 0 0,-4 1-82 0 0,-1-1-5 0 0,6-2 56 0 0,-4 1-4 0 0,0 4 63 0 0,23-9-10 0 0,15 0 3 0 0,-40 7 0 0 0,0 0-1 0 0,-1 1 1 0 0,1-1 0 0 0,0 0-1 0 0,-1 0 1 0 0,1 0-1 0 0,0 0 1 0 0,-1 0-1 0 0,1 0 1 0 0,0 0 0 0 0,0-1-1 0 0,-1 1 1 0 0,1 0-1 0 0,0 0 1 0 0,-1 0-1 0 0,1-1 1 0 0,0 1-1 0 0,-1 0 1 0 0,1-1 0 0 0,0 1 0 0 0,-1-1 5 0 0,1 1 1 0 0,0 0-1 0 0,-1-1 1 0 0,1 1-1 0 0,0 0 1 0 0,-1-1-1 0 0,1 1 1 0 0,0 0-1 0 0,0 0 1 0 0,-1 0-1 0 0,1 0 1 0 0,0 0-1 0 0,0 0 1 0 0,-1 0-1 0 0,1 0 1 0 0,0 0-1 0 0,0 0 1 0 0,-1 0-1 0 0,1 0 1 0 0,0 1-6 0 0,3-1 83 0 0,-2 0-60 0 0,-1 1 1 0 0,1-1-1 0 0,-1 0 1 0 0,1 0-1 0 0,-1 0 0 0 0,1-1 1 0 0,-1 1-1 0 0,1 0 0 0 0,-1 0 1 0 0,1-1-1 0 0,-1 1 1 0 0,0-1-1 0 0,1 1 0 0 0,0-1-23 0 0,39-6 0 0 0,-37 5 0 0 0,-2 2 0 0 0,25 1 0 0 0,8-1 0 0 0,-17 4 0 0 0,-10-4 7 0 0,-3 0-1 0 0,-1 0 0 0 0,0 0 1 0 0,0 0-1 0 0,0 1 1 0 0,0-1-1 0 0,0 1 0 0 0,1 0 1 0 0,-1 0-1 0 0,2 2-6 0 0,5 1 3 0 0,-7-5-11 0 0,-4 0 12 0 0,1 1-1 0 0,0 0 1 0 0,0-1 0 0 0,0 1-1 0 0,-1 0 1 0 0,1-1 0 0 0,0 1-1 0 0,0 0 1 0 0,0 0 0 0 0,0-1-1 0 0,0 1 1 0 0,-1 0 0 0 0,1 0-1 0 0,0 0 1 0 0,0 0 0 0 0,1 1-4 0 0,-2-2 0 0 0,0 1 1 0 0,1 0-1 0 0,-1 0 0 0 0,1 0 1 0 0,-1 0-1 0 0,0 0 1 0 0,1 0-1 0 0,-1 0 1 0 0,1 0-1 0 0,-1 0 0 0 0,1 0 1 0 0,-1 0-1 0 0,0 0 1 0 0,1 0-1 0 0,-1 0 1 0 0,1 0-1 0 0,-1 0 0 0 0,0 0 1 0 0,1 0-1 0 0,-1 1 1 0 0,0-1-1 0 0,1 0 1 0 0,-1 0-1 0 0,1 1 0 0 0,-1-1 1 0 0,0 0-1 0 0,1 1 0 0 0,1 0-1 0 0,11 0 1 0 0,13-1 0 0 0,59 0 128 0 0,-59 0-82 0 0,-24 0 184 0 0,-2 0 64 0 0,14-5-670 0 0,-5 3 362 0 0,-5 1 290 0 0,0 0-320 0 0,0 0 0 0 0,0 1 1 0 0,0-1-1 0 0,0 1 0 0 0,0 0 0 0 0,3 0 44 0 0,17 1 39 0 0,-10-1-38 0 0,-12 0-3 0 0,21-8 14 0 0,-9 4 68 0 0,15-2 789 0 0,-9 2-868 0 0,-5 3-14 0 0,-14 1-57 0 0,-1 0-58 0 0,0 0-22 0 0,0 0 40 0 0,0 0 171 0 0,12 0 220 0 0,4 1-156 0 0,-14 0-160 0 0,-1 1 17 0 0,1-2-95 0 0,6 0-120 0 0,8 2 209 0 0,-12-2 27 0 0,19-9 7 0 0,-20 9 33 0 0,6 0-22 0 0,25-8 96 0 0,-15 6-117 0 0,-15 3 8 0 0,20-10 48 0 0,-6 1 8 0 0,-16 7-65 0 0,11-1 13 0 0,-10 2 31 0 0,2-3-22 0 0,-5 2-16 0 0,2 1-2 0 0,-1-1 0 0 0,0 1-1 0 0,1-1 1 0 0,-1 1 0 0 0,0-1 0 0 0,1 1 0 0 0,-1 0-1 0 0,1-1 1 0 0,-1 1 0 0 0,0 0 0 0 0,1 0 0 0 0,-1 0-1 0 0,1 0 1 0 0,-1 0 0 0 0,1 1 0 0 0,-1-1-3 0 0,4 0 3 0 0,-2 1-3 0 0,15-6 0 0 0,5-1 12 0 0,-21 5-3 0 0,0 1 0 0 0,0 0 1 0 0,0 0-1 0 0,0 0 0 0 0,0 0 0 0 0,-1 0 0 0 0,1 0 0 0 0,0 0 0 0 0,0 1 0 0 0,0-1 0 0 0,0 1-9 0 0,8 0 32 0 0,31 2 32 0 0,-25-2-64 0 0,-5-2 20 0 0,-1-1 24 0 0,-3 1-76 0 0,0 0-1 0 0,1 1 0 0 0,-1 0 0 0 0,0 0 1 0 0,0 1 32 0 0,-2-1 15 0 0,13-2 261 0 0,1 1-265 0 0,-18 1 20 0 0,-1 0-86 0 0,0 0 39 0 0,0 0-79 0 0,1 0 82 0 0,0 0-1 0 0,1 1 1 0 0,-1-1 0 0 0,0 0 0 0 0,0-1 0 0 0,0 1-1 0 0,0 0 1 0 0,0 0 0 0 0,0 0 0 0 0,0-1-1 0 0,0 1 1 0 0,0 0 0 0 0,0-1 0 0 0,0 1 0 0 0,1-1 13 0 0,0 0 73 0 0,1 1 92 0 0,28-4-401 0 0,-7 0 718 0 0,-3 1-686 0 0,-19 3 62 0 0,-1 0 22 0 0,15-7 93 0 0,-15 6 29 0 0,0 1-1 0 0,0-1 1 0 0,1 1-1 0 0,-1-1 1 0 0,0 1 0 0 0,1 0-1 0 0,-1-1 1 0 0,0 1-1 0 0,1 0 1 0 0,-1 0-1 0 0,0 0 1 0 0,1 0-1 0 0,-1 0 1 0 0,0 0-1 0 0,1 1-1 0 0,0-1 108 0 0,-2 0 55 0 0,12 0 81 0 0,-10-1-297 0 0,15 2-421 0 0,-14 1 474 0 0,2 0 0 0 0,14-4 0 0 0,-9 0 16 0 0,-8 2 75 0 0,-2 0 58 0 0,0 0 13 0 0,1 0-24 0 0,0 1-141 0 0,0-1 0 0 0,0 1 1 0 0,-1-1-1 0 0,1 0 0 0 0,0 1 0 0 0,0-1 0 0 0,0 0 0 0 0,0 0 0 0 0,0 1 0 0 0,0-1 0 0 0,0 0 0 0 0,-1 0 0 0 0,1 0 1 0 0,0 0-1 0 0,0 0 0 0 0,1-1 3 0 0,0 1-32 0 0,0 0-118 0 0,-2 0-11 0 0,9-3 550 0 0,1 5-361 0 0,-9-1-26 0 0,1-1 0 0 0,0 0 0 0 0,0 1-1 0 0,0-1 1 0 0,0 0 0 0 0,-1 0 0 0 0,1 0 0 0 0,0-1-1 0 0,0 1 1 0 0,1-1-2 0 0,-1 1 3 0 0,-1 0 0 0 0,1 0 0 0 0,-1-1 0 0 0,1 1 0 0 0,-1 0 0 0 0,1 0 0 0 0,-1 1 0 0 0,1-1 0 0 0,-1 0 0 0 0,1 0 0 0 0,-1 1 0 0 0,2 0-3 0 0,18 2-144 0 0,0-1 1 0 0,21-1 143 0 0,-31 1-152 0 0,-8-1 190 0 0,-1-1 0 0 0,0 1 0 0 0,1-1 0 0 0,-1 1 0 0 0,0-1 0 0 0,1 0 0 0 0,-1 0-1 0 0,0-1 1 0 0,1 1 0 0 0,-1 0 0 0 0,2-1-38 0 0,-1 0-2 0 0,0 1-1 0 0,0 0 1 0 0,0 0-1 0 0,0 0 1 0 0,0 0 0 0 0,0 0-1 0 0,0 1 1 0 0,0-1-1 0 0,0 1 1 0 0,0 0-1 0 0,0-1 1 0 0,1 2 2 0 0,-3-2 2 0 0,-1 1-1 0 0,1-1 1 0 0,-1 0 0 0 0,1 1-1 0 0,-1-1 1 0 0,1 0 0 0 0,0 0 0 0 0,-1 0-1 0 0,1 0 1 0 0,-1 1 0 0 0,1-1-1 0 0,0 0 1 0 0,-1 0 0 0 0,1 0 0 0 0,0 0-1 0 0,-1 0 1 0 0,1-1 0 0 0,0 1-2 0 0,10-1-2 0 0,-1 1 2 0 0,-1-1 0 0 0,-2-3 0 0 0,-7 4 0 0 0,1 0 0 0 0,-1-1 0 0 0,1 1 0 0 0,-1 0 0 0 0,1 0 0 0 0,-1 0 0 0 0,0 0 0 0 0,1-1 0 0 0,-1 1 0 0 0,1 0 0 0 0,-1 0 0 0 0,1 0 0 0 0,-1 0 0 0 0,1 0 0 0 0,-1 0 0 0 0,1 1 0 0 0,-1-1 0 0 0,1 0 0 0 0,-1 0 0 0 0,1 0 0 0 0,-1 0 0 0 0,1 1 0 0 0,-1-1 0 0 0,1 0 0 0 0,-1 0 0 0 0,1 1 0 0 0,-1-1 0 0 0,3 1 9 0 0,-3-1 27 0 0,13 0-667 0 0,-3 0 604 0 0,-9 2 18 0 0,2-1 137 0 0,51-1 320 0 0,-52 0-515 0 0,-2 0-86 0 0,8 0-167 0 0,0 0 290 0 0,0 0 30 0 0,1 0 0 0 0,-3 2 19 0 0,-3-1 5 0 0,-1 0-1 0 0,0 0 1 0 0,1 0-1 0 0,-1-1 1 0 0,1 1 0 0 0,0-1-1 0 0,1 0-23 0 0,49 0-8 0 0,-52 0-138 0 0,6-3 116 0 0,8 5 30 0 0,-12-1 0 0 0,28-1 0 0 0,-18 1 0 0 0,-11-1 0 0 0,14-4 0 0 0,-6 3 0 0 0,31 1 19 0 0,-1-3 610 0 0,-15 2-629 0 0,-15-2 0 0 0,-1 0 0 0 0,3 1 0 0 0,-10 2 1 0 0,17-5 9 0 0,5 1 43 0 0,-22 4-94 0 0,0-1-1 0 0,0 1 0 0 0,0-1 1 0 0,0 1-1 0 0,-1 0 0 0 0,1 0 1 0 0,0 0-1 0 0,0 0 0 0 0,0 0 1 0 0,0 0-1 0 0,1 1 42 0 0,5 0-90 0 0,-7-1 296 0 0,1 0 18 0 0,1 0-174 0 0,16-4-639 0 0,-3 1 550 0 0,-8 2 39 0 0,0 1 0 0 0,0 0 0 0 0,-3-3 0 0 0,3 1 0 0 0,0 0 0 0 0,0 2 0 0 0,1 0 0 0 0,-2 2 0 0 0,0-1 0 0 0,-1-1 0 0 0,2 0 0 0 0,0 0 0 0 0,0 0 0 0 0,16 1 0 0 0,-19-1 0 0 0,0 0 0 0 0,0 0 0 0 0,0 0 0 0 0,1-1 0 0 0,-1 0 0 0 0,2-1 0 0 0,14 2 150 0 0,-16 0-122 0 0,25-3-206 0 0,-22 3 178 0 0,1 0 0 0 0,1 0 23 0 0,-8 0 104 0 0,-2 0 77 0 0,1-1-233 0 0,0 0 0 0 0,0 0 1 0 0,1 0-1 0 0,-1 1 1 0 0,0-1-1 0 0,1 0 0 0 0,-1 1 1 0 0,1-1-1 0 0,-1 1 1 0 0,1 0-1 0 0,0-1 29 0 0,5 1-39 0 0,5 0 39 0 0,-1 0 0 0 0,-4 0 0 0 0,0 0 0 0 0,0 0 0 0 0,0-1 0 0 0,4-1 0 0 0,-9 2 0 0 0,8-1 0 0 0,5 3 26 0 0,-10-4 49 0 0,7-2-12 0 0,25-6-227 0 0,-28 6 184 0 0,18-3-21 0 0,14-1-26 0 0,-30 5 243 0 0,-8 2-134 0 0,0 0 1 0 0,0 0 0 0 0,0 0-1 0 0,1 1 1 0 0,-1-1-1 0 0,0 1 1 0 0,0 0-1 0 0,1 0 1 0 0,0 0-83 0 0,2 1 75 0 0,-3 0 3 0 0,5-1-62 0 0,32 0 16 0 0,-35-1 153 0 0,1 1-85 0 0,0-1 0 0 0,0 1 0 0 0,0 1-1 0 0,0-1 1 0 0,0 1 0 0 0,5 1-100 0 0,20 3-486 0 0,2-5 503 0 0,-11 0 446 0 0,10 0-977 0 0,-24 0 536 0 0,-7 0 86 0 0,66 0 298 0 0,-61 1-524 0 0,8 1 32 0 0,-12-2 152 0 0,-2 0 15 0 0,1 0-20 0 0,7 0-49 0 0,-2 0-25 0 0,-3 1-40 0 0,3 2 27 0 0,-5-2-32 0 0,-1-1-152 0 0,0 0-599 0 0,0 0-250 0 0,0 0-41 0 0</inkml:trace>
  <inkml:trace contextRef="#ctx0" brushRef="#br0" timeOffset="1366.178">70 344 5240 0 0,'0'0'235'0'0,"0"0"100"0"0,0 0 257 0 0,0 0 106 0 0,0 0 26 0 0,0 0-20 0 0,0 0-100 0 0,0 0-42 0 0,0 0-8 0 0,0 0-32 0 0,-8 8 548 0 0,7-7-1003 0 0,1 0-22 0 0,0 0 0 0 0,-1 0-1 0 0,1 0 1 0 0,0 0-1 0 0,-1 0 1 0 0,1-1 0 0 0,-1 1-1 0 0,1 0 1 0 0,-1 0 0 0 0,0-1-1 0 0,1 1 1 0 0,-1 0 0 0 0,0 0-45 0 0,0-1 320 0 0,1 0 0 0 0,0 0 0 0 0,-1 8 52 0 0,0-1 4522 0 0,1-7-4839 0 0,0 1-1 0 0,0-1 0 0 0,0 0 0 0 0,0 0 0 0 0,1 0 0 0 0,-1 0 0 0 0,0 0 0 0 0,0 0 0 0 0,0 0 0 0 0,1 1 0 0 0,-1-1 0 0 0,0 0 0 0 0,0 0 1 0 0,0 0-1 0 0,1 0 0 0 0,-1 0 0 0 0,0 0 0 0 0,0 0 0 0 0,1 0 0 0 0,-1 0 0 0 0,0 0 0 0 0,0 0 0 0 0,0 0 0 0 0,1 0 0 0 0,-1 0 0 0 0,0-1 1 0 0,0 1-1 0 0,1 0 0 0 0,-1 0 0 0 0,0 0 0 0 0,0 0 0 0 0,0 0 0 0 0,0 0 0 0 0,1-1 0 0 0,-1 1 0 0 0,0 0 0 0 0,0 0-54 0 0,4-2 105 0 0,0 0 0 0 0,-1 0 0 0 0,1-1 0 0 0,-1 1 0 0 0,0-1-1 0 0,0 0 1 0 0,0 0 0 0 0,0 0 0 0 0,0 0 0 0 0,0-1-105 0 0,22-36 273 0 0,-9 13-32 0 0,-5 13-116 0 0,-9 12-92 0 0,0-1-1 0 0,0 0 1 0 0,0 0 0 0 0,0 0 0 0 0,0 0-1 0 0,1-3-32 0 0,-2 5 12 0 0,-1-1-1 0 0,1 1 0 0 0,0 0 1 0 0,0-1-1 0 0,0 1 1 0 0,0 0-1 0 0,0 0 0 0 0,1 0 1 0 0,-1-1-1 0 0,0 1 0 0 0,0 0 1 0 0,1 1-1 0 0,-1-1-11 0 0,1-1 13 0 0,0 1-1 0 0,0 0 0 0 0,-1 0 1 0 0,1-1-1 0 0,-1 1 1 0 0,1-1-1 0 0,-1 1 0 0 0,0-1 1 0 0,1 0-1 0 0,-1 0-12 0 0,2-3 30 0 0,1 1 0 0 0,-1-1 0 0 0,1 0-1 0 0,0 1 1 0 0,0 0 0 0 0,1 0-1 0 0,3-2-29 0 0,14-15 72 0 0,-14 13-38 0 0,1 0 0 0 0,0 1 0 0 0,0 0-1 0 0,2-1-33 0 0,24-19 231 0 0,5-3-218 0 0,-2 2-16 0 0,-26 19 3 0 0,-8 7 0 0 0,15-11 0 0 0,-7 5-722 0 0,-13 10-1082 0 0,-9 7-2869 0 0,6-2-1463 0 0</inkml:trace>
  <inkml:trace contextRef="#ctx0" brushRef="#br0" timeOffset="2296.671">1 391 7280 0 0,'0'0'332'0'0,"0"0"-4"0"0,0 0-95 0 0,0 0 374 0 0,0 0 185 0 0,0 0 37 0 0,0 0-40 0 0,0 0-206 0 0,0 0-95 0 0,0 0-21 0 0,0 0 14 0 0,0 0 72 0 0,0 0 30 0 0,0 0 8 0 0,0 0-41 0 0,0 0-174 0 0,0 0-78 0 0,0 0-12 0 0,0 0-13 0 0,9 4 846 0 0,3 7-299 0 0,-6-6-415 0 0,-5-4-253 0 0,-1-1 0 0 0,17 10 288 0 0,-13-7-327 0 0,0-1-1 0 0,0 0 0 0 0,1 0 0 0 0,-1 0 0 0 0,0-1 1 0 0,1 1-1 0 0,1-1-112 0 0,-2 0 92 0 0,1 0 1 0 0,-1 1-1 0 0,1-1 0 0 0,-1 1 1 0 0,0 0-1 0 0,0 0 0 0 0,3 3-92 0 0,20 11 368 0 0,-25-15-304 0 0,-2 0-52 0 0,0-1 0 0 0,0 1 0 0 0,0 0-1 0 0,0-1 1 0 0,0 1 0 0 0,0-1 0 0 0,1 1 0 0 0,-1-1-1 0 0,0 1 1 0 0,0-1 0 0 0,0 1 0 0 0,1-1-1 0 0,-1 1 1 0 0,0-1 0 0 0,1 1 0 0 0,-1-1 0 0 0,0 1-1 0 0,1-1 1 0 0,-1 0 0 0 0,1 1 0 0 0,-1-1-1 0 0,0 0 1 0 0,1 1 0 0 0,-1-1 0 0 0,1 0-12 0 0,16 17 185 0 0,-17-16-174 0 0,1 0-1 0 0,0 1 0 0 0,0-1 0 0 0,0 0 0 0 0,0 0 0 0 0,0 0 1 0 0,0 0-1 0 0,0 0 0 0 0,1 0 0 0 0,-1 0 0 0 0,0-1 1 0 0,1 2-11 0 0,6 3 69 0 0,-6-2-41 0 0,19 8 72 0 0,6 2 422 0 0,-5 2-517 0 0,-14-11-170 0 0,16 10 131 0 0,16 4 173 0 0,-36-15-84 0 0,-3-2-55 0 0,-1 0 1 0 0,1-1-1 0 0,-1 1 1 0 0,1-1-1 0 0,0 1 1 0 0,-1-1-1 0 0,1 1 1 0 0,-1-1-1 0 0,1 1 1 0 0,0-1-1 0 0,-1 1 1 0 0,1-1-1 0 0,0 0 1 0 0,0 1-1 0 0,-1-1 1 0 0,1 0-1 0 0,0 0 1 0 0,0 0-1 0 0,2 2 14 0 0,13 4 36 0 0,-7-3-7 0 0,-4 1-33 0 0,3-1-10 0 0,0 1 11 0 0,-1-1 42 0 0,5 4 254 0 0,-10-6-236 0 0,-2-1-2 0 0,0 0-4 0 0,0 0-25 0 0,0 0-100 0 0,0 0-41 0 0,0 0-10 0 0,0 0-207 0 0,0 0-869 0 0,0 0-381 0 0,0 0-79 0 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38.821"/>
    </inkml:context>
    <inkml:brush xml:id="br0">
      <inkml:brushProperty name="width" value="0.05" units="cm"/>
      <inkml:brushProperty name="height" value="0.05" units="cm"/>
    </inkml:brush>
  </inkml:definitions>
  <inkml:trace contextRef="#ctx0" brushRef="#br0">1114 37 3768 0 0,'0'0'168'0'0,"9"-6"1249"0"0,2 2-1238 0 0,-2 2 5697 0 0,-6-3-5220 0 0,-3 3 7547 0 0,-4 1-8176 0 0,-18-9 830 0 0,21 10-701 0 0,1 0 18 0 0,-7 0-18 0 0,1 0 0 0 0,-1-1 1 0 0,1 1-1 0 0,-1-1-156 0 0,0 0 53 0 0,-34-2 519 0 0,37 3-480 0 0,-2 0 12 0 0,-1 1-14 0 0,-10 4 68 0 0,-7-7-183 0 0,13 3 131 0 0,2 1 77 0 0,0-1-1 0 0,0 1 1 0 0,1 1-1 0 0,-6 1-182 0 0,-19 0 5 0 0,26-3-12 0 0,4-1 40 0 0,-1 1 0 0 0,1-1 0 0 0,0 1-1 0 0,0 0 1 0 0,0 0 0 0 0,0 0 0 0 0,0 1-1 0 0,0-1 1 0 0,0 1-33 0 0,1-1-3 0 0,-1 0-1 0 0,1 0 0 0 0,-1 0 1 0 0,1 0-1 0 0,-1 0 1 0 0,1-1-1 0 0,-1 1 0 0 0,0-1 4 0 0,1 0-9 0 0,-1 1-1 0 0,1-1 0 0 0,-1 1 0 0 0,1-1 1 0 0,0 1-1 0 0,-1 0 0 0 0,1 0 0 0 0,0 0 1 0 0,-1 0-1 0 0,1 1 0 0 0,-1 0 10 0 0,0 0 0 0 0,0 0 0 0 0,-1 0 0 0 0,1 0 0 0 0,0 0 0 0 0,-1-1 0 0 0,1 1 0 0 0,-1-1 0 0 0,0 0 0 0 0,0 0 0 0 0,1 0 0 0 0,-3 0 0 0 0,5-1 3 0 0,0 0-1 0 0,-1 0 0 0 0,1 0 0 0 0,0 1 1 0 0,0-1-1 0 0,0 1 0 0 0,0-1 0 0 0,-1 1 1 0 0,1-1-1 0 0,0 1 0 0 0,0 0 1 0 0,0-1-1 0 0,0 1 0 0 0,1 0 0 0 0,-1 0 1 0 0,0 0-3 0 0,0 0 2 0 0,0 0 1 0 0,0-1-1 0 0,-1 1 1 0 0,1 0-1 0 0,0 0 1 0 0,0-1-1 0 0,0 1 1 0 0,-1 0-1 0 0,1-1 1 0 0,0 1-1 0 0,-1-1-2 0 0,-51 18 144 0 0,47-16-151 0 0,1-1 0 0 0,0 1 0 0 0,0 0 0 0 0,0 1 0 0 0,0-1 0 0 0,1 1 0 0 0,-2 1 7 0 0,-23 11-31 0 0,25-13 37 0 0,-1 0 0 0 0,1 1 0 0 0,-1-1 0 0 0,1 1 0 0 0,0 0 0 0 0,0 0 0 0 0,0 1 0 0 0,0-1 0 0 0,-2 4-6 0 0,4-5 1 0 0,0 0 0 0 0,0 0 0 0 0,0 0 1 0 0,0 0-1 0 0,-1 0 0 0 0,1-1 0 0 0,-1 1 1 0 0,1-1-1 0 0,-1 1-1 0 0,-14 9-1 0 0,-5 3 79 0 0,-1 1-12 0 0,20-11-66 0 0,0-1 0 0 0,0 0 0 0 0,-1 0 0 0 0,0 0 0 0 0,0 0 0 0 0,0 0 0 0 0,0 0 0 0 0,-5 2 0 0 0,0 1 0 0 0,1 1 0 0 0,-2 1 0 0 0,-6 6 0 0 0,-12 7 0 0 0,18-12 0 0 0,2 2 0 0 0,-3 0 0 0 0,-29 27 0 0 0,29-29 0 0 0,2 0 0 0 0,-1 1 0 0 0,2 0 0 0 0,-6 7 0 0 0,3-3 0 0 0,9-12 0 0 0,-2 4 0 0 0,-1 0 0 0 0,0 0 0 0 0,0-1 0 0 0,-3 3 0 0 0,6-8 0 0 0,-7 10 0 0 0,-7 10 0 0 0,7-9 0 0 0,1 0 0 0 0,-7 12 0 0 0,12-19 0 0 0,1-1 0 0 0,0 0 0 0 0,-1 0 0 0 0,1-1 0 0 0,-1 1 0 0 0,0 0 0 0 0,0-1 0 0 0,0 1 0 0 0,1-1 0 0 0,-1 1 0 0 0,1 0 0 0 0,0 0 0 0 0,0 0 0 0 0,-1 1 0 0 0,-17 25 0 0 0,14-24 0 0 0,6-5 0 0 0,-1 0 0 0 0,1 0 0 0 0,0 1 0 0 0,-1-1 0 0 0,1 0 0 0 0,0 0 0 0 0,-1 1 0 0 0,1-1 0 0 0,0 0 0 0 0,-1 0 0 0 0,1 1 0 0 0,0-1 0 0 0,-1 0 0 0 0,1 1 0 0 0,0-1 0 0 0,0 0 0 0 0,0 1 0 0 0,-1-1 0 0 0,1 1 0 0 0,0-1 0 0 0,0 1 0 0 0,-13 19 0 0 0,1-2 0 0 0,3-4 25 0 0,7-12-21 0 0,1-1 1 0 0,0 1-1 0 0,0 0 0 0 0,-1 0 1 0 0,1-1-1 0 0,0 1 1 0 0,1 0-1 0 0,-1 0 0 0 0,0 1-4 0 0,-10 18 0 0 0,6-2 201 0 0,3-17-152 0 0,1 0-1 0 0,0 1 1 0 0,1-1-1 0 0,-1 1 1 0 0,0-1-1 0 0,1 1 1 0 0,0 0-1 0 0,-1-1 0 0 0,1 1 1 0 0,0-1-1 0 0,0 1 1 0 0,0 0-1 0 0,1-1 1 0 0,-1 1-1 0 0,1 1-48 0 0,-3 19-682 0 0,2 81 890 0 0,-1-102-202 0 0,8 22 62 0 0,-1 11 204 0 0,-6-34-160 0 0,3 18-258 0 0,2-5 132 0 0,-1-7 25 0 0,1 0 32 0 0,1 0-33 0 0,0 0-10 0 0,-6-5 3 0 0,1-1 0 0 0,0 0-1 0 0,0 0 1 0 0,0 0 0 0 0,-1 0-1 0 0,1-1 1 0 0,0 1 0 0 0,0 0 0 0 0,0 0-1 0 0,1-1 1 0 0,-1 1 0 0 0,0 0-1 0 0,0-1 1 0 0,0 1 0 0 0,0-1-1 0 0,1 1 1 0 0,-1-1 0 0 0,0 0 0 0 0,0 1-1 0 0,1-1 1 0 0,0 0-3 0 0,1 0 7 0 0,5 4-7 0 0,-6-3 0 0 0,-1 0 0 0 0,1-1 0 0 0,-1 1 0 0 0,1 0 0 0 0,-1-1 0 0 0,1 1 0 0 0,0-1 0 0 0,-1 1 0 0 0,1-1 0 0 0,0 0 0 0 0,-1 0 0 0 0,2 0 0 0 0,3 1 0 0 0,28 6 0 0 0,-33-7 0 0 0,0 1 0 0 0,0-1 0 0 0,0 0 0 0 0,1 1 0 0 0,-1-1 0 0 0,0 0 0 0 0,1 0 0 0 0,-1 0 0 0 0,0 0 0 0 0,1 0 0 0 0,-1 0 0 0 0,0 0 0 0 0,1-1 0 0 0,4 1 0 0 0,23 4 64 0 0,19-1-64 0 0,-16-3 75 0 0,-12-5 121 0 0,13-5 213 0 0,-28 8-416 0 0,0 1 0 0 0,1-1 0 0 0,-1 1 0 0 0,5-3 7 0 0,-5 1-61 0 0,0 1 0 0 0,0 0 0 0 0,1 1 0 0 0,4-2 61 0 0,39-10-21 0 0,-30 10 28 0 0,0-1 1 0 0,-1-1 0 0 0,1-1-1 0 0,8-4-7 0 0,-9 3 47 0 0,12-5 46 0 0,0-1 0 0 0,0-2-93 0 0,-12 6 14 0 0,45-21 61 0 0,-24 10 70 0 0,31-19 27 0 0,-51 18-108 0 0,13-2 31 0 0,0-1 0 0 0,17-20-95 0 0,-34 29 11 0 0,-11 11-11 0 0,0 0-1 0 0,0 0 1 0 0,0 0 0 0 0,1 1 0 0 0,0-1 0 0 0,3-1 0 0 0,-2 1 16 0 0,-1 0 0 0 0,1 0-1 0 0,-1-1 1 0 0,0 1 0 0 0,1-3-16 0 0,0 1 16 0 0,0 1 1 0 0,0 0-1 0 0,7-5-16 0 0,-11 8 7 0 0,1 0 0 0 0,-1 0-1 0 0,0 0 1 0 0,0 0 0 0 0,1 0-1 0 0,-1-1 1 0 0,-1 1 0 0 0,1-1 0 0 0,0 0-7 0 0,11-13 57 0 0,-2 6-29 0 0,-8 8-23 0 0,-1 0 0 0 0,0 0 0 0 0,0 0 0 0 0,0 0 1 0 0,0 0-1 0 0,0 0 0 0 0,0-1 0 0 0,-1 1 0 0 0,2-2-5 0 0,-1 0 0 0 0,0 0 0 0 0,1 1 0 0 0,0-1 0 0 0,-1 1 0 0 0,1 0 0 0 0,3-3 0 0 0,-2 3 0 0 0,-1 0 0 0 0,0 0 0 0 0,0-1 0 0 0,0 1 0 0 0,-1-1 0 0 0,1 0 0 0 0,-1 1 0 0 0,11-21 14 0 0,-7 13 3 0 0,-1 0-1 0 0,1-1 1 0 0,2-10-17 0 0,16-35 64 0 0,-17 35-53 0 0,-7 21-6 0 0,1-1-1 0 0,0 0 1 0 0,-1 1 0 0 0,1-1 0 0 0,0 0 0 0 0,0 1-1 0 0,0-1 1 0 0,0 1 0 0 0,0-1 0 0 0,1 1-5 0 0,1-3 5 0 0,0 0-5 0 0,-1-1 0 0 0,0 1 0 0 0,0-1 0 0 0,0 1 0 0 0,-1-1 0 0 0,1-2 0 0 0,-2 5 7 0 0,0-1 0 0 0,1 0 1 0 0,-1 1-1 0 0,0-1 0 0 0,1 1 0 0 0,-1-1 0 0 0,1 1 0 0 0,0 0 0 0 0,0-2-7 0 0,0-2 0 0 0,0-26 0 0 0,7-13 64 0 0,-13 20-64 0 0,5 19 11 0 0,0 5-8 0 0,0 1 0 0 0,0-1 0 0 0,0 0 0 0 0,0 1 0 0 0,0-1 0 0 0,0 0 1 0 0,-1 1-1 0 0,1-1 0 0 0,0 0 0 0 0,-1 1 0 0 0,1-1 0 0 0,0 1 0 0 0,-1-1 0 0 0,1 0 0 0 0,-1 1 1 0 0,1-1-1 0 0,-1 1 0 0 0,1-1-3 0 0,-11-12 61 0 0,-13-17 3 0 0,-13-24-64 0 0,26 45 9 0 0,2 0-55 0 0,7 7-46 0 0,0 0-1 0 0,0 0 1 0 0,0 1 0 0 0,0-1-1 0 0,0 1 1 0 0,0-1 0 0 0,0 1-1 0 0,-1 0 1 0 0,1 0 0 0 0,0 0 0 0 0,-1 0-1 0 0,1 0 1 0 0,-3 0 92 0 0,2 1-666 0 0,1-1-1 0 0,-1 1 1 0 0,1-1 0 0 0,-1 1-1 0 0,0 0 1 0 0,1 0 0 0 0,-1 0-1 0 0,0 0 667 0 0,-5 3-7831 0 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45.692"/>
    </inkml:context>
    <inkml:brush xml:id="br0">
      <inkml:brushProperty name="width" value="0.05" units="cm"/>
      <inkml:brushProperty name="height" value="0.05" units="cm"/>
    </inkml:brush>
  </inkml:definitions>
  <inkml:trace contextRef="#ctx0" brushRef="#br0">70 2481 5352 0 0,'0'0'241'0'0,"0"0"0"0"0,0 0-66 0 0,0 0 270 0 0,0 0 135 0 0,0 0 27 0 0,0 0-14 0 0,0 0-87 0 0,0 0-40 0 0,-13-3 2049 0 0,13 3-2451 0 0,-1 0 0 0 0,1 0 1 0 0,-1 0-1 0 0,1 0 0 0 0,-1-1 0 0 0,1 1 0 0 0,-1 0 1 0 0,1 0-1 0 0,-1 0 0 0 0,1 0 0 0 0,0-1 1 0 0,-1 1-1 0 0,1 0 0 0 0,-1 0 0 0 0,1-1 0 0 0,0 1 1 0 0,-1 0-1 0 0,1-1 0 0 0,0 1 0 0 0,-1 0 0 0 0,1-1 1 0 0,0 1-1 0 0,0-1 0 0 0,-1 1 0 0 0,1-1-64 0 0,-1 0 280 0 0,1-1-114 0 0,0 0 0 0 0,-1 0 0 0 0,1 0 0 0 0,-1 0 1 0 0,1 0-1 0 0,-1 0 0 0 0,0 0 0 0 0,0 0 0 0 0,0 0-166 0 0,-1-3 75 0 0,-6-31 445 0 0,-4-18 1190 0 0,8 0-422 0 0,0 25-887 0 0,3 26-373 0 0,1 0-1 0 0,-1-1 1 0 0,1 1-1 0 0,0 0 0 0 0,0 0 1 0 0,0-1-1 0 0,0 1 1 0 0,1 0-1 0 0,-1-2-27 0 0,2-23 36 0 0,-3 17 82 0 0,0 0 0 0 0,2 0 0 0 0,-1-1 0 0 0,1 1-118 0 0,1-23 159 0 0,-1 28-229 0 0,-1 0 0 0 0,1 0 1 0 0,0 0-1 0 0,2-5 70 0 0,-1 6 66 0 0,-1-1-1 0 0,0 0 1 0 0,0 0 0 0 0,0-5-66 0 0,0 4 204 0 0,-1 0 0 0 0,1 1 1 0 0,1-1-1 0 0,1-4-204 0 0,2-13 213 0 0,-2 9-51 0 0,0-1 0 0 0,1 0 0 0 0,1 1 0 0 0,6-12-162 0 0,-5 5-95 0 0,-5 15 205 0 0,1 0-1 0 0,0 0 1 0 0,0 0 0 0 0,3-5-110 0 0,1-6-143 0 0,0 0-1 0 0,-2 0 1 0 0,2-11 143 0 0,-4 18 116 0 0,-2 6-18 0 0,1-1 0 0 0,1 1-1 0 0,-1 0 1 0 0,1-1 0 0 0,0 1-1 0 0,2-4-97 0 0,11-25 275 0 0,4-18-275 0 0,-15 41 51 0 0,11-42 102 0 0,-11 35-66 0 0,1 1 1 0 0,5-10-88 0 0,-3 7 47 0 0,-4 12-14 0 0,0 0 0 0 0,1-1 0 0 0,3-4-33 0 0,3-8 71 0 0,-8 14-46 0 0,0 1-1 0 0,1 0 0 0 0,0 0 0 0 0,1 0 0 0 0,1-3-24 0 0,14-19 60 0 0,-12 16 24 0 0,0 0-1 0 0,4-12-83 0 0,-9 19 13 0 0,0 0 0 0 0,0 0 0 0 0,1 0 1 0 0,-1 1-1 0 0,1-1 0 0 0,0 1 0 0 0,0-1 0 0 0,0 1-13 0 0,6-8 68 0 0,-1 1 0 0 0,4-11-68 0 0,3-9 46 0 0,-11 19-18 0 0,2 1 0 0 0,-1 1 0 0 0,2-2-28 0 0,-4 6 2 0 0,0 0 0 0 0,0 0 0 0 0,-1 0 0 0 0,1 0 0 0 0,-1-3-2 0 0,3-6 11 0 0,7-28 42 0 0,-8 31-21 0 0,0 1 0 0 0,-1-1 0 0 0,2-11-32 0 0,4-18 40 0 0,-7 32-36 0 0,3-2-11 0 0,6-4 64 0 0,11-17-47 0 0,-10 7 54 0 0,-2 2-64 0 0,7-4 0 0 0,-15 25 0 0 0,1-4 16 0 0,-1 1 92 0 0,-3 3-96 0 0,13-18 76 0 0,0-3-88 0 0,-11 21 0 0 0,-1 0 0 0 0,1 1 0 0 0,-1-1 0 0 0,1 1 0 0 0,0 0 0 0 0,0-1 0 0 0,0 1 0 0 0,0-1 0 0 0,0 1 0 0 0,0 0 0 0 0,0 0 0 0 0,1-1 0 0 0,-1 1 0 0 0,0 0 0 0 0,0-1 0 0 0,0 1 0 0 0,0 0 0 0 0,0-1 0 0 0,0 1 0 0 0,-1-1 0 0 0,1 1 0 0 0,0-2 0 0 0,7-12 0 0 0,25-34 0 0 0,-14 5 0 0 0,-3 14 64 0 0,-13 26-64 0 0,0 0 0 0 0,0 0 0 0 0,0-1 0 0 0,-1 1 0 0 0,1-3 0 0 0,-1 3 0 0 0,0-1 0 0 0,1 1 0 0 0,-1 0 0 0 0,1 0 0 0 0,1-1 0 0 0,24-33 15 0 0,-8 8 738 0 0,-13 21-928 0 0,-1 0-1 0 0,0-1 1 0 0,0-2 175 0 0,10-17-114 0 0,18-13 114 0 0,-24 30 0 0 0,-1 0 0 0 0,8-11 0 0 0,-13 15 0 0 0,-2 4 0 0 0,0 1 0 0 0,0 0 0 0 0,0 0 0 0 0,0 0 0 0 0,1 0 0 0 0,-1 1 0 0 0,1-1 0 0 0,-1 1 0 0 0,2-2 0 0 0,18-22 0 0 0,-17 23 0 0 0,12-8 0 0 0,8-13 0 0 0,-24 24 0 0 0,-1-1 0 0 0,1 0 0 0 0,0 1 0 0 0,0-1 0 0 0,0 1 0 0 0,0-1 0 0 0,-1 1 0 0 0,1-1 0 0 0,0 1 0 0 0,0-1 0 0 0,0 1 0 0 0,0 0 0 0 0,0 0 0 0 0,0-1 0 0 0,0 1 0 0 0,0 0 0 0 0,0 0 0 0 0,0 0 0 0 0,0 0 0 0 0,1 0 0 0 0,7-1 0 0 0,6-6 0 0 0,-9 5 0 0 0,-1-1 0 0 0,0 1 0 0 0,0-1 0 0 0,0-1 0 0 0,0 1 0 0 0,1-2 0 0 0,14-10 0 0 0,-15 12 0 0 0,6-3 0 0 0,-8 6 0 0 0,12-8 0 0 0,12-10 0 0 0,-17 10 0 0 0,-3 2 0 0 0,-1 0 0 0 0,1 1 0 0 0,1 0 0 0 0,-1 0 0 0 0,2 0 0 0 0,-1 1 0 0 0,0 2 0 0 0,25-4 0 0 0,-32 6 0 0 0,-1 0 0 0 0,1 0 0 0 0,0 0 0 0 0,0 0 0 0 0,0 0 0 0 0,-1 0 0 0 0,1-1 0 0 0,0 1 0 0 0,0 0 0 0 0,-1-1 0 0 0,1 1 0 0 0,0 0 0 0 0,0-1 0 0 0,-1 1 0 0 0,1-1 0 0 0,0 0 0 0 0,0 1 0 0 0,-1-1 0 0 0,1 1 0 0 0,0 0 0 0 0,0-1 0 0 0,0 1 0 0 0,-1 0 0 0 0,1 0 0 0 0,0 0 0 0 0,0-1 0 0 0,0 1 0 0 0,-1 0 0 0 0,1 0 0 0 0,0 0 0 0 0,0 0 0 0 0,0 1 0 0 0,-1-1 0 0 0,1 0 0 0 0,0 0 0 0 0,0 0 0 0 0,2 1 0 0 0,-2-1 0 0 0,0 0 0 0 0,0 0 0 0 0,0 0 0 0 0,0 0 0 0 0,0 0 0 0 0,0 0 0 0 0,0 0 0 0 0,0-1 0 0 0,0 1 0 0 0,0 0 0 0 0,0 0 0 0 0,0-1 0 0 0,0 1 0 0 0,0-1 0 0 0,0 0 0 0 0,8-3 0 0 0,4-5 0 0 0,-5 6 0 0 0,4 2 0 0 0,8-4 0 0 0,24 1 0 0 0,-36 3 4 0 0,18 0 24 0 0,-18 1-6 0 0,44-5-12 0 0,-25 5-10 0 0,-20 0 0 0 0,7 0 0 0 0,-13 0 0 0 0,11 4 0 0 0,-4-3 0 0 0,45 5 0 0 0,-25-6 0 0 0,25-3 0 0 0,-20 6 64 0 0,-31-3-64 0 0,-1 0 0 0 0,1 0 0 0 0,0 0 0 0 0,0 0 0 0 0,0 0 0 0 0,-1 1 0 0 0,1-1 0 0 0,0 1 0 0 0,0-1 0 0 0,-1 1 0 0 0,2 0 0 0 0,8 2 0 0 0,-8-3 0 0 0,-1 0 0 0 0,1 1 0 0 0,0-1 0 0 0,0 0 0 0 0,0 1 0 0 0,0 0 0 0 0,0 0 0 0 0,0 0 0 0 0,19 5 0 0 0,-6-4 0 0 0,0 2 9 0 0,9 6 46 0 0,-25-10-55 0 0,4 1 0 0 0,0 0 0 0 0,0 1 0 0 0,-1-1 0 0 0,1 1 0 0 0,-1 0 0 0 0,1 0 0 0 0,-1 0 0 0 0,1 1 0 0 0,-2-1 0 0 0,0-1 0 0 0,0 0 0 0 0,0 1 0 0 0,0 0 0 0 0,0-1 0 0 0,0 1 0 0 0,0 0 0 0 0,-1 0 0 0 0,1 0 0 0 0,0 1 0 0 0,14 18 0 0 0,45 52 196 0 0,-57-70-186 0 0,5 15-8 0 0,-2-6 34 0 0,8 9-8 0 0,-3 3 21 0 0,-3-1-15 0 0,-4-10 15 0 0,5 13-34 0 0,4 7 38 0 0,-12-30-53 0 0,5 11 0 0 0,8 20 64 0 0,-3-4-10 0 0,-9-22-53 0 0,-1 0 1 0 0,1 0 0 0 0,-2 1 0 0 0,1-1-1 0 0,-1 0 1 0 0,-1 5-2 0 0,5 24 139 0 0,-4-29-159 0 0,0-1-1 0 0,0 1 1 0 0,1-1 0 0 0,1 6 20 0 0,0-2 14 0 0,-2-10-14 0 0,-1-1 0 0 0,0 0 0 0 0,0 1 0 0 0,0-1 0 0 0,1 1 0 0 0,-1-1 0 0 0,0 0 0 0 0,0 1 0 0 0,0-1 0 0 0,0 1 0 0 0,0-1 0 0 0,0 1 0 0 0,0-1 0 0 0,0 1 0 0 0,0-1 0 0 0,0 1 0 0 0,0-1 0 0 0,0 0 0 0 0,0 1 0 0 0,0-1 0 0 0,0 1 0 0 0,0-1 0 0 0,0 1 0 0 0,-1-1 0 0 0,1 0 0 0 0,0 1 0 0 0,0-1 0 0 0,-1 1 0 0 0,1-1 0 0 0,0 1 0 0 0,-1-1 0 0 0,1 1 0 0 0,0-1 0 0 0,0 0 0 0 0,0 1 0 0 0,-1-1 0 0 0,1 1 0 0 0,0-1 0 0 0,0 1 0 0 0,0-1 0 0 0,0 1 0 0 0,0-1 0 0 0,0 1 0 0 0,0-1 0 0 0,0 1 0 0 0,0-1 0 0 0,0 1 0 0 0,0-1 0 0 0,0 1 0 0 0,1-1 0 0 0,-1 1 0 0 0,0-1 0 0 0,0 0 0 0 0,0 1 0 0 0,1-1 0 0 0,-1 1 0 0 0,0-1 0 0 0,4 68 0 0 0,-4-64 0 0 0,1 0 0 0 0,0 0 0 0 0,-1 1 0 0 0,0-1 0 0 0,0 0 0 0 0,-1 4 0 0 0,0 14 0 0 0,-2 130 0 0 0,3-148 0 0 0,-1 0 0 0 0,0 0 0 0 0,1 0 0 0 0,-2 0 0 0 0,1 0 0 0 0,0 0 0 0 0,-1 0 0 0 0,0 0 0 0 0,1 1 0 0 0,-1-1 0 0 0,1 1 0 0 0,0-1 0 0 0,1 1 0 0 0,-1-1 0 0 0,0 2 0 0 0,1 7 0 0 0,-1 0 0 0 0,-3 11 0 0 0,-9 18 0 0 0,7-23 0 0 0,4-15 0 0 0,1 0 0 0 0,0 0 0 0 0,0 0 0 0 0,1 0 0 0 0,-1 0 0 0 0,1 2 0 0 0,-2 7 0 0 0,-7 14 0 0 0,-2 8 0 0 0,11-34 0 0 0,-1 8 0 0 0,-1 0 0 0 0,1-1 0 0 0,-2 1 0 0 0,1-1 0 0 0,-2 0 0 0 0,0 2 0 0 0,-3 12 0 0 0,4-14 0 0 0,1-1 0 0 0,-1 1 0 0 0,0 0 0 0 0,-1 0 0 0 0,-1 8 0 0 0,5-12 0 0 0,-1-1 0 0 0,1 0 0 0 0,-1 0 0 0 0,0 1 0 0 0,0-1 0 0 0,0 0 0 0 0,0 0 0 0 0,-2 2 0 0 0,-11 16 0 0 0,11-17 0 0 0,0 0 0 0 0,0 1 0 0 0,0-1 0 0 0,1 1 0 0 0,-1 0 0 0 0,1 0 0 0 0,0 0 0 0 0,1 0 0 0 0,-1 1 0 0 0,-10 23 46 0 0,11-28-43 0 0,0 1-1 0 0,0 0 1 0 0,1 0 0 0 0,-1 0-1 0 0,0 0 1 0 0,1 0-1 0 0,-1 0 1 0 0,1 0 0 0 0,0 0-1 0 0,-1 0 1 0 0,1 1-3 0 0,0 2 8 0 0,-1-1 0 0 0,1 0 1 0 0,-1 0-1 0 0,0 0 0 0 0,-1 0 0 0 0,1 0 1 0 0,-1 1-9 0 0,0-1-1 0 0,1-1 0 0 0,-1 1 1 0 0,1 0-1 0 0,0 0 0 0 0,1 0 1 0 0,-1-1-1 0 0,1 2 1 0 0,-1-1 0 0 0,1 0 0 0 0,-1 0 0 0 0,1-1 0 0 0,-1 1 0 0 0,-1 0 0 0 0,0 1 0 0 0,1-1 0 0 0,0-1 0 0 0,0 1 0 0 0,0-1 0 0 0,1 1 0 0 0,-1-1 0 0 0,1 2 0 0 0,-1 0 0 0 0,0-1 0 0 0,1 0 0 0 0,-2 1 0 0 0,1-1 0 0 0,0 0 0 0 0,-1 0 0 0 0,0 0 0 0 0,0 1 0 0 0,-8 22 0 0 0,5-8 0 0 0,3-15 0 0 0,1 1 0 0 0,0-1 0 0 0,0 0 0 0 0,0 1 0 0 0,1-1 0 0 0,0 1 0 0 0,-1-1 0 0 0,0 1 0 0 0,0 0 0 0 0,0-1 0 0 0,0 1 0 0 0,-1-1 0 0 0,1 1 0 0 0,-1-1 0 0 0,-2 2 0 0 0,-7 25 0 0 0,-6 20 0 0 0,5-23 0 0 0,10-22 0 0 0,0 0 0 0 0,-1 1 0 0 0,0-1 0 0 0,-1 1 0 0 0,-5 13 0 0 0,8-19 0 0 0,-1 5 0 0 0,-1 0 0 0 0,0-1 0 0 0,0 1 0 0 0,0-1 0 0 0,-1 0 0 0 0,0 1 0 0 0,-1 0 0 0 0,-9 16 0 0 0,10-18 0 0 0,3-3 0 0 0,0 0 0 0 0,0 0 0 0 0,0 1 0 0 0,0-1 0 0 0,0 0 0 0 0,0 1 0 0 0,0-1 0 0 0,0 0 0 0 0,0 1 0 0 0,1-1 0 0 0,-1 2 0 0 0,-2 2 0 0 0,0-1 0 0 0,-1 0 0 0 0,1 0 0 0 0,-1-1 0 0 0,-1 2 0 0 0,-6 5 0 0 0,0 0 0 0 0,0 1 0 0 0,1 0 0 0 0,0 1 0 0 0,-4 8 0 0 0,-2 12 0 0 0,7-10 0 0 0,-2-5 0 0 0,7-10 0 0 0,0 0 0 0 0,0 0 0 0 0,1 0 0 0 0,-1 2 0 0 0,-13 23 0 0 0,10-24 0 0 0,6-8 0 0 0,0 1 0 0 0,1 0 0 0 0,-1-1 0 0 0,0 1 0 0 0,0 0 0 0 0,1-1 0 0 0,-1 1 0 0 0,1 0 0 0 0,-1-1 0 0 0,0 1 0 0 0,1 0 0 0 0,-1 0 0 0 0,1 0 0 0 0,0 0 0 0 0,-1 0 0 0 0,1 0 0 0 0,0-1 0 0 0,0 2 0 0 0,-3 8 0 0 0,0 1 0 0 0,-1-1 0 0 0,1 0 0 0 0,-2 0 0 0 0,0 0 0 0 0,-5 8 0 0 0,-3 7 0 0 0,8-16 0 0 0,3-6 0 0 0,1-1 0 0 0,0 1 0 0 0,-1 0 0 0 0,1-1 0 0 0,0 1 0 0 0,0 0 0 0 0,0 0 0 0 0,1 0 0 0 0,-1 0 0 0 0,0 3 0 0 0,3-4 0 0 0,-3 1 0 0 0,-7 13 0 0 0,5-12 0 0 0,2-2 0 0 0,0-1 0 0 0,0 0 0 0 0,1 0 0 0 0,-1 1 0 0 0,1-1 0 0 0,-1 0 0 0 0,1 1 0 0 0,-1-1 0 0 0,1 1 0 0 0,0-1 0 0 0,0 1 0 0 0,-1 0 0 0 0,-1 2 0 0 0,-1 1 0 0 0,1-1 0 0 0,-1 0 0 0 0,-3 4 0 0 0,-18 21 0 0 0,18-25 0 0 0,5-3 0 0 0,0 0 0 0 0,0-1 0 0 0,0 1 0 0 0,0 0 0 0 0,0 0 0 0 0,0 0 0 0 0,0 0 0 0 0,0 0 0 0 0,0 0 0 0 0,1 0 0 0 0,-1 0 0 0 0,0 1 0 0 0,1-1 0 0 0,-1 0 0 0 0,1 1 0 0 0,-10 9 0 0 0,9-10 0 0 0,0 1 0 0 0,-1-1 0 0 0,1 0 0 0 0,0 0 0 0 0,0 0 0 0 0,0 1 0 0 0,1-1 0 0 0,-1 0 0 0 0,0 1 0 0 0,0-1 0 0 0,-8 17 0 0 0,6-10 0 0 0,-2-1 0 0 0,-11 24 0 0 0,12-22 0 0 0,1-1 0 0 0,1 1 0 0 0,-1 0 0 0 0,-2 6 0 0 0,3-2 0 0 0,-2 3 0 0 0,2-5 0 0 0,-1 0 0 0 0,0 0 0 0 0,-3 5 0 0 0,2-9 0 0 0,0 0 0 0 0,-11 15 0 0 0,14-21 0 0 0,0 0 0 0 0,0 0 0 0 0,0 0 0 0 0,0-1 0 0 0,0 1 0 0 0,0 0 0 0 0,0-1 0 0 0,0 1 0 0 0,0 0 0 0 0,0-1 0 0 0,0 1 0 0 0,0-1 0 0 0,0 1 0 0 0,-1-1 0 0 0,-21 1 0 0 0,17-1 0 0 0,3 1 0 0 0,3-1 0 0 0,-1 1 0 0 0,0-1 0 0 0,1 0 0 0 0,-1 0 0 0 0,0 0 0 0 0,1 0 0 0 0,-1 0 0 0 0,0 0 0 0 0,1 0 0 0 0,-1 0 0 0 0,0 0 0 0 0,1 0 0 0 0,-1 0 0 0 0,0-1 0 0 0,1 1 0 0 0,-1 0 0 0 0,0 0 0 0 0,1-1 0 0 0,-1 1 0 0 0,0 0 0 0 0,-3-2 0 0 0,-5-1 0 0 0,1-2 0 0 0,-23-13 0 0 0,29 17 0 0 0,1 1 0 0 0,-1-1 0 0 0,1 1 0 0 0,-1-1 0 0 0,1 0 0 0 0,-1 0 0 0 0,1 1 0 0 0,-1-1 0 0 0,1 0 0 0 0,0 0 0 0 0,0 0 0 0 0,-1-1 0 0 0,1 0 0 0 0,-1 1 0 0 0,1 0 0 0 0,0 0 0 0 0,-1 0 0 0 0,1 0 0 0 0,-1 0 0 0 0,0 0 0 0 0,1 0 0 0 0,-1 1 0 0 0,-1-2 0 0 0,-18-8 0 0 0,-3 3 0 0 0,17 5 0 0 0,3 0 0 0 0,-1 1 0 0 0,0 0 0 0 0,1 0 0 0 0,-1 0 0 0 0,0 1 0 0 0,1 0 0 0 0,-5 0 0 0 0,-3 1 0 0 0,9-1 0 0 0,0 1 0 0 0,0-1 0 0 0,0 0 0 0 0,0 0 0 0 0,0-1 0 0 0,0 1 0 0 0,0 0 0 0 0,0-1 0 0 0,0 0 0 0 0,-1 0 0 0 0,2 0 0 0 0,1 1 0 0 0,0 0 0 0 0,-1 0 0 0 0,1 0 0 0 0,0 0 0 0 0,-1 0 0 0 0,1 0 0 0 0,0 0 0 0 0,-1 0 0 0 0,1 1 0 0 0,0-1 0 0 0,-1 0 0 0 0,0 1 0 0 0,-4 0 7 0 0,0 0-1 0 0,-1-1 0 0 0,1 0 1 0 0,0 0-1 0 0,0 0 0 0 0,-4-1-5 0 0,-42-2 24 0 0,32 2-25 0 0,11 0 0 0 0,1 1 0 0 0,-1 0 0 0 0,0 0 0 0 0,0 1 0 0 0,7-1 0 0 0,0 0 0 0 0,0 0 0 0 0,-1 0 0 0 0,1 0 0 0 0,0-1 0 0 0,0 1 0 0 0,0-1 0 0 0,-2 0 0 0 0,2 0 0 0 0,0 1 0 0 0,-1-1 0 0 0,1 1 0 0 0,0-1 0 0 0,-1 1 0 0 0,1 0 0 0 0,0 0 0 0 0,-1 0 0 0 0,-1 0 0 0 0,-14 2 18 0 0,-1 0 0 0 0,1-2 0 0 0,-11 0-18 0 0,-7 0 10 0 0,25-1-10 0 0,10 0 0 0 0,1 1 0 0 0,-1 0 0 0 0,0-1 0 0 0,0 1 0 0 0,0 0 0 0 0,1 0 0 0 0,-1-1 0 0 0,0 1 0 0 0,0 0 0 0 0,0 0 0 0 0,0 0 0 0 0,1 0 0 0 0,-1 0 0 0 0,0 0 0 0 0,0 0 0 0 0,0 0 0 0 0,0 1 0 0 0,0-1 0 0 0,0 1 0 0 0,-1-1 0 0 0,1 1 0 0 0,-1-1 0 0 0,1 0 0 0 0,0 0 0 0 0,-1 1 0 0 0,1-1 0 0 0,-1 0 0 0 0,1 0 0 0 0,-1 0 0 0 0,0 0 0 0 0,-23-3 0 0 0,14 1 0 0 0,-29 2 0 0 0,-10 5 0 0 0,46-5 0 0 0,1-1 0 0 0,-1 1 0 0 0,1-1 0 0 0,0 0 0 0 0,-1 1 0 0 0,1-1 0 0 0,-3-2 0 0 0,1 1 0 0 0,0 1 0 0 0,0-1 0 0 0,0 1 0 0 0,0 0 0 0 0,-1 0 0 0 0,1 1 0 0 0,0 0 0 0 0,-1 0 0 0 0,-2 0 0 0 0,1 0 0 0 0,1 0 0 0 0,-1 0 0 0 0,1-1 0 0 0,-1 0 0 0 0,1 0 0 0 0,0 0 0 0 0,-5-2 0 0 0,-22-5 0 0 0,-4 2 0 0 0,12 4 0 0 0,12 0 0 0 0,1-1 0 0 0,-4-2 0 0 0,11 2 0 0 0,-2 1 0 0 0,-17-3 0 0 0,19 4 0 0 0,-4 1-2 0 0,5 0-2 0 0,-6-4-63 0 0,1 3 49 0 0,9 1 20 0 0,0 0 0 0 0,-1 1 1 0 0,1-1-1 0 0,-1 0 1 0 0,1 0-1 0 0,-1 1 1 0 0,1-1-1 0 0,-1 0 1 0 0,1 0-1 0 0,-1 0 1 0 0,1 0-1 0 0,-1 0 1 0 0,1 1-1 0 0,-1-1 1 0 0,1 0-1 0 0,-1 0 1 0 0,1 0-1 0 0,-1 0 1 0 0,1 0-1 0 0,-1-1 1 0 0,1 1-1 0 0,-1 0 1 0 0,1 0-3 0 0,-17-4 10 0 0,9 4-10 0 0,-3 1 0 0 0,11-1 0 0 0,0 1 0 0 0,-1-1 0 0 0,1 1 0 0 0,0-1 0 0 0,-1 0 0 0 0,1 1 0 0 0,0-1 0 0 0,-1 1 0 0 0,1-1 0 0 0,-1 0 0 0 0,1 0 0 0 0,-1 1 0 0 0,1-1 0 0 0,-1 0 0 0 0,1 0 0 0 0,-1 1 0 0 0,1-1 0 0 0,-1 0 0 0 0,0 0 0 0 0,1 0 0 0 0,-9 2 0 0 0,1-3 0 0 0,1 0 0 0 0,-2-1 0 0 0,-3 4 0 0 0,7-1 0 0 0,-2 1 0 0 0,-1 2 0 0 0,1-1-26 0 0,6-2 7 0 0,1-1 0 0 0,0 1 1 0 0,-1 0-1 0 0,1 0 0 0 0,0-1 1 0 0,0 1-1 0 0,0 0 0 0 0,-1 0 1 0 0,1-1-1 0 0,0 1 0 0 0,0 0 1 0 0,0 0-1 0 0,0 0 0 0 0,0 0 19 0 0,0 8-478 0 0,1-3-2090 0 0,-1 1 1030 0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49.625"/>
    </inkml:context>
    <inkml:brush xml:id="br0">
      <inkml:brushProperty name="width" value="0.05" units="cm"/>
      <inkml:brushProperty name="height" value="0.05" units="cm"/>
    </inkml:brush>
  </inkml:definitions>
  <inkml:trace contextRef="#ctx0" brushRef="#br0">15 307 456 0 0,'0'0'1696'0'0,"0"0"201"0"0,0 0 88 0 0,0 0-157 0 0,0 0-741 0 0,-2 3 87 0 0,0-1 2273 0 0,-8 10-2161 0 0,9-11-889 0 0,1-1-10 0 0,0 20 1460 0 0,1-13-1617 0 0,0 1 0 0 0,0-1 0 0 0,1 0 0 0 0,0 2-230 0 0,0-1 236 0 0,0 0 0 0 0,0 0 0 0 0,-1 0 0 0 0,0 3-236 0 0,-1-6 5 0 0,1 0-1 0 0,0-1 0 0 0,0 1 0 0 0,0 0 1 0 0,0-1-1 0 0,1 3-4 0 0,5 19 338 0 0,8 36 1065 0 0,5 9-1066 0 0,-16-43-342 0 0,-3-21 133 0 0,0 1 0 0 0,1 0-1 0 0,-1-1 1 0 0,3 4-128 0 0,3 13 507 0 0,-6-19-433 0 0,1 0-1 0 0,-1 0 1 0 0,1 0-1 0 0,0 0 1 0 0,1 0 0 0 0,-1-1-1 0 0,1 1 1 0 0,2 2-74 0 0,2 3 56 0 0,-1 0 0 0 0,0 0 1 0 0,2 4-57 0 0,9 17 53 0 0,-11-21-12 0 0,0 0-1 0 0,-2 0 0 0 0,1 1 1 0 0,2 8-41 0 0,7 19 78 0 0,-3-15-78 0 0,-2 0 0 0 0,3 14 0 0 0,9 25 0 0 0,-16-49 84 0 0,1-1 0 0 0,0 0 0 0 0,1 0 0 0 0,0-1 0 0 0,1 0 0 0 0,0 0 0 0 0,1 0 0 0 0,0-1 0 0 0,1-1 0 0 0,7 6-84 0 0,20 28 64 0 0,0-6-64 0 0,-2 1 24 0 0,-27-28-14 0 0,0-1 0 0 0,1 0 0 0 0,0 0 0 0 0,8 6-10 0 0,8 5 0 0 0,-17-13 0 0 0,0-1 0 0 0,0 1 0 0 0,8 3 0 0 0,3 3 0 0 0,7 4 0 0 0,-13-11 37 0 0,-1 1-1 0 0,0 1 1 0 0,3 2-37 0 0,-2-1 46 0 0,1 0 1 0 0,8 3-47 0 0,11 8 61 0 0,-27-16-52 0 0,1 1 1 0 0,-1-1-1 0 0,1 0 1 0 0,0-1-1 0 0,0 0 0 0 0,2 0-9 0 0,24 9 3 0 0,-24-9 15 0 0,-1 0 0 0 0,1 0 0 0 0,0-1 0 0 0,0 0 0 0 0,-1 0-1 0 0,1-1 1 0 0,7 0-18 0 0,60 3 0 0 0,-54-1 0 0 0,-1-2 0 0 0,0 0 0 0 0,1-2 0 0 0,-1 0 0 0 0,3-2 0 0 0,-4 1-3 0 0,-17 2 8 0 0,0 0 0 0 0,-1 0 0 0 0,1-1-1 0 0,0 1 1 0 0,0-1 0 0 0,0 1 0 0 0,0-1 0 0 0,-1 0-1 0 0,1 0 1 0 0,0 0 0 0 0,-1-1 0 0 0,1 1-1 0 0,-1-1 1 0 0,1 1-5 0 0,15-10 26 0 0,5-3 12 0 0,-20 11-38 0 0,1 0 0 0 0,0 0 0 0 0,0 1 0 0 0,0-1 0 0 0,0 1 0 0 0,2 0 0 0 0,-1 0 0 0 0,-1 0 0 0 0,1-1 0 0 0,-1 1 0 0 0,0-1 0 0 0,1 0 0 0 0,-1-1 0 0 0,31-21 27 0 0,-26 19-11 0 0,-1 1 0 0 0,-1-1 0 0 0,7-6-16 0 0,8-3 57 0 0,-19 13-56 0 0,0 1 0 0 0,0-1 0 0 0,0 0 0 0 0,-1 0 0 0 0,1-1 0 0 0,0 1 0 0 0,1-2-1 0 0,8-6 50 0 0,-10 9-50 0 0,-1-1 1 0 0,1 1-1 0 0,-1 0 0 0 0,1 0 1 0 0,-1-1-1 0 0,0 1 0 0 0,1 0 1 0 0,-1-1-1 0 0,0 0 0 0 0,0 1 0 0 0,11-13 0 0 0,-11 13 0 0 0,1 0 0 0 0,-1 0 0 0 0,0 0 0 0 0,1-1 0 0 0,-1 1 0 0 0,0 0 0 0 0,0-1 0 0 0,0 1 0 0 0,-1-1 0 0 0,1 0 0 0 0,0 1 0 0 0,0 0 0 0 0,-1 0 0 0 0,1 0 0 0 0,-1 1-1 0 0,1-1 1 0 0,0 0 0 0 0,0 0 0 0 0,-1 0 0 0 0,1 1-1 0 0,0-1 1 0 0,0 0 0 0 0,0 1 0 0 0,0-1 0 0 0,0 1 0 0 0,1-1 0 0 0,-1 0 4 0 0,0 1 0 0 0,1-1 0 0 0,-1 0 0 0 0,0 0 0 0 0,0 1 0 0 0,0-1 0 0 0,0 0 0 0 0,0 0 0 0 0,0 0 0 0 0,0 0 0 0 0,0 0 0 0 0,-1 0 0 0 0,1 0 0 0 0,0-1-4 0 0,0 0 11 0 0,1 0 1 0 0,-1 0 0 0 0,0 0 0 0 0,1 0 0 0 0,0 0 0 0 0,-1 0 0 0 0,1 1-1 0 0,0-1-11 0 0,0 0 7 0 0,0 1-1 0 0,-1 0 1 0 0,1-1-1 0 0,-1 0 1 0 0,0 1-1 0 0,0-1 1 0 0,1 0 0 0 0,-1 0-1 0 0,0 1 1 0 0,0-1-7 0 0,0-1 4 0 0,0 0 0 0 0,0 0 1 0 0,0 0-1 0 0,0 0 1 0 0,0 0-1 0 0,-1 0 1 0 0,1 0-1 0 0,-1 0 1 0 0,0 0-1 0 0,0 0 0 0 0,0 0 1 0 0,0 0-1 0 0,-1 0 1 0 0,1 0-1 0 0,-1-3-4 0 0,0 4 0 0 0,1 0 0 0 0,0 0 0 0 0,0 0 0 0 0,0-1 0 0 0,0 1 0 0 0,1 0 0 0 0,-1 0 0 0 0,1-1 0 0 0,1-17 0 0 0,-3 13 0 0 0,0 0 0 0 0,1-1 0 0 0,0 1 0 0 0,0 0 0 0 0,1 0 0 0 0,0-1 0 0 0,0-6 0 0 0,0 1 0 0 0,-1-1 0 0 0,0 0 0 0 0,-1 1 0 0 0,-1-1 0 0 0,0-1 0 0 0,1 11 0 0 0,1 1 0 0 0,0-1 0 0 0,0 0 0 0 0,1 1 0 0 0,-1-1 0 0 0,1 0 0 0 0,0 0 0 0 0,-1 0 0 0 0,1 0 0 0 0,0-1 0 0 0,-1 1 0 0 0,0 0 0 0 0,0-1 0 0 0,0 0 0 0 0,-2-6 0 0 0,2 3 0 0 0,-1 1 0 0 0,-1-1 0 0 0,1 0 0 0 0,-1 1 0 0 0,-1 0 0 0 0,1-1 0 0 0,-2-1 0 0 0,-6-17 0 0 0,8 20 0 0 0,-1 0 0 0 0,1 0 0 0 0,-1 0 0 0 0,0 0 0 0 0,-3-3 0 0 0,-18-34 392 0 0,-24-29-154 0 0,36 46-229 0 0,2 5 46 0 0,-9-20 57 0 0,-6-5 101 0 0,-4-12-28 0 0,-33-39-50 0 0,6 9-18 0 0,54 84-110 0 0,-1 1 0 0 0,0-1 1 0 0,-1 0-1 0 0,1 1 0 0 0,-1-1-7 0 0,1 1 5 0 0,0 0-1 0 0,0 0 1 0 0,0 0 0 0 0,0-1-1 0 0,1 1 1 0 0,-2-2-5 0 0,-13-17 46 0 0,7 11-28 0 0,-2-2 5 0 0,-1 1 0 0 0,0 1 1 0 0,0 0-1 0 0,-1 1 0 0 0,0 0 0 0 0,-9-3-23 0 0,-59-34 53 0 0,57 26-53 0 0,18 17 3 0 0,-1 0 0 0 0,1 0 0 0 0,-1 1 0 0 0,-1-1-3 0 0,-20-10 140 0 0,25 13-122 0 0,0-1 0 0 0,0 1 0 0 0,1-1 0 0 0,-1 0-1 0 0,0-1 1 0 0,-2-1-18 0 0,-3-2 41 0 0,-19-7-26 0 0,7 4-18 0 0,19 8 3 0 0,-1 0 0 0 0,1-1 0 0 0,0 1 0 0 0,0 0 0 0 0,0-1 0 0 0,0 1 0 0 0,0-1 0 0 0,-1-1 0 0 0,-5-4 0 0 0,-1 2 0 0 0,-1 0 0 0 0,0 0 0 0 0,-1 1 0 0 0,1 0 0 0 0,0 1 0 0 0,-1 0 0 0 0,0 0 0 0 0,0 2 0 0 0,0-1 0 0 0,0 1 0 0 0,0 1 0 0 0,0-1 0 0 0,0 0 0 0 0,0-1 0 0 0,-8-2 0 0 0,8 2 0 0 0,0 0 0 0 0,0 0 0 0 0,-9 1 0 0 0,-20-1 36 0 0,-6-2-36 0 0,7 1 36 0 0,-7 1-36 0 0,40 2 0 0 0,-1 0 0 0 0,1 1 0 0 0,-1 0 0 0 0,0 0 0 0 0,1 0 0 0 0,-1 1 0 0 0,1-1 0 0 0,-3 3 0 0 0,-21 15 0 0 0,27-16 0 0 0,-1-1 0 0 0,1 1 0 0 0,-1-1 0 0 0,0 0 0 0 0,1 0 0 0 0,-4 1 0 0 0,3-1 6 0 0,-1 0 0 0 0,1 1 0 0 0,0 0 0 0 0,0-1 0 0 0,0 1 0 0 0,1 1 0 0 0,-1 0-6 0 0,-16 12 22 0 0,13-13-124 0 0,1 2 0 0 0,0-1 1 0 0,0 1-1 0 0,1 0 0 0 0,-1 0 0 0 0,1 0 0 0 0,0 1 0 0 0,1-1 0 0 0,-1 1 1 0 0,1 1-1 0 0,0-1 0 0 0,1 0 0 0 0,-1 1 0 0 0,1 0 0 0 0,-1 6 102 0 0,0 1-826 0 0,1 1 0 0 0,1 1 0 0 0,0-1-1 0 0,1 0 1 0 0,0 0 0 0 0,2 3 826 0 0,-1 45-4513 0 0,0-29-1840 0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1:54.335"/>
    </inkml:context>
    <inkml:brush xml:id="br0">
      <inkml:brushProperty name="width" value="0.05" units="cm"/>
      <inkml:brushProperty name="height" value="0.05" units="cm"/>
    </inkml:brush>
  </inkml:definitions>
  <inkml:trace contextRef="#ctx0" brushRef="#br0">56 2814 5184 0 0,'0'0'233'0'0,"0"12"2151"0"0,-4 10 1028 0 0,4-20-2953 0 0,0-2-3 0 0,0 0-2 0 0,-4 6 224 0 0,3-7 3324 0 0,-6-51-2969 0 0,7 30-681 0 0,-1-10 268 0 0,3 0 0 0 0,1-5-620 0 0,-1 9 276 0 0,-2 21-182 0 0,1-1 0 0 0,-1 0 0 0 0,2 0 0 0 0,1-5-94 0 0,-1 4 78 0 0,0 0-1 0 0,-1 0 1 0 0,0 0-1 0 0,-1 0 0 0 0,1-2-77 0 0,-1 1 121 0 0,0 0-1 0 0,1 0 0 0 0,3-10-120 0 0,6-38 408 0 0,1-3 8 0 0,-9 50-323 0 0,-1 0 0 0 0,0 0-1 0 0,0 0 1 0 0,-1-11-93 0 0,2-24 181 0 0,7-55 59 0 0,7-33 22 0 0,-1 52-94 0 0,-3-34 234 0 0,-10 99-318 0 0,1-10 40 0 0,-1 19-94 0 0,0-1 1 0 0,-1 0-1 0 0,0 1 0 0 0,0-1 0 0 0,-1 0 1 0 0,0 0-31 0 0,2-35 85 0 0,3-13 11 0 0,-2-1 0 0 0,-3-4-96 0 0,1 34 64 0 0,1 0 0 0 0,6-27-64 0 0,-5 40 47 0 0,-2 6-27 0 0,1 1 1 0 0,-1-1 0 0 0,2 1-1 0 0,0-2-20 0 0,9-36 60 0 0,-10 41-54 0 0,-1 1 0 0 0,0-1 0 0 0,0 1-1 0 0,0-1 1 0 0,0-3-6 0 0,-1 4 9 0 0,1-1 0 0 0,0 0 1 0 0,0 0-1 0 0,0 1 0 0 0,2-4-9 0 0,1-4 11 0 0,0 0 1 0 0,-1-1-1 0 0,1-5-11 0 0,-2 4 6 0 0,1 1 1 0 0,1-1-1 0 0,3-6-6 0 0,-5 15 6 0 0,0 0 0 0 0,-1 0 0 0 0,0-1 0 0 0,0-3-6 0 0,4-15 30 0 0,11-41 44 0 0,-9 31-75 0 0,-6 24 19 0 0,1 0 0 0 0,1 1 1 0 0,0-3-19 0 0,-2 8 2 0 0,0 1 0 0 0,0 0 0 0 0,0-1 0 0 0,-1 1 1 0 0,1-1-1 0 0,-1-1-2 0 0,4-17-3 0 0,9-23 67 0 0,-1-7-64 0 0,10-17 11 0 0,-7 25 42 0 0,-13 38-46 0 0,-1 0 1 0 0,2 0-1 0 0,-1 0 0 0 0,1 1 0 0 0,0-1 1 0 0,1-1-8 0 0,9-18 20 0 0,-5 8-20 0 0,-5 11 0 0 0,0 0 0 0 0,-1 0 0 0 0,0 0 0 0 0,0 0 0 0 0,0-1 0 0 0,-1-1 0 0 0,1 0 3 0 0,0 1 0 0 0,0-1 0 0 0,1 1 0 0 0,1-4-3 0 0,0 4 16 0 0,-2-1 0 0 0,1 1-1 0 0,-1-1 1 0 0,1-5-16 0 0,-2 7 10 0 0,1 0 1 0 0,0 0-1 0 0,0 0 1 0 0,1 1-1 0 0,-1-1 1 0 0,3-3-11 0 0,6-12 54 0 0,-10 17-54 0 0,2-3 0 0 0,0 0 0 0 0,0 0 0 0 0,0 0 0 0 0,4-5 0 0 0,-2 8 6 0 0,-1-2 0 0 0,0 1 0 0 0,0 0-1 0 0,-1-1 1 0 0,0 0 0 0 0,0 0 0 0 0,0 0 0 0 0,-1 0 0 0 0,1 0-1 0 0,-1-1 1 0 0,0-2-6 0 0,-1 6 8 0 0,-1 1-1 0 0,2-1 1 0 0,-1 0-1 0 0,0 0 0 0 0,1 1 1 0 0,-1-1-1 0 0,3-1-7 0 0,3-8 20 0 0,0-1-20 0 0,1 1 0 0 0,1-1 0 0 0,0 2 0 0 0,0-1 0 0 0,2 2 0 0 0,9-10 0 0 0,-6 12 25 0 0,-11 6-19 0 0,0 1-1 0 0,1-1 1 0 0,-1 0-1 0 0,0 0 1 0 0,0 0 0 0 0,0-1-1 0 0,1-1-5 0 0,22-12 0 0 0,-11 8 0 0 0,18-10 80 0 0,16-8-80 0 0,-37 18 3 0 0,0 0 0 0 0,1 1-1 0 0,0 0 1 0 0,9-2-3 0 0,-18 8 55 0 0,10-2-57 0 0,-10 2 3 0 0,-1 0 0 0 0,-1 0 0 0 0,1 1 0 0 0,-1-1 0 0 0,1 1 1 0 0,-1 0-1 0 0,1-1 0 0 0,-1 1 0 0 0,1 0 0 0 0,2 1-1 0 0,6-1 20 0 0,14 0 141 0 0,25-3-161 0 0,-47 3 0 0 0,0-1 0 0 0,0 1 0 0 0,0-1-1 0 0,1 1 1 0 0,-1 0 0 0 0,0 0 0 0 0,0 1 0 0 0,0-1-1 0 0,1 0 1 0 0,1 2 0 0 0,10 0 13 0 0,5 2 40 0 0,1-1-53 0 0,10 5 0 0 0,11 5 11 0 0,56 24 75 0 0,-66-26-44 0 0,-27-8-24 0 0,1 0 0 0 0,-1 0 0 0 0,0 0 0 0 0,0 0-1 0 0,0 1 1 0 0,0 0 0 0 0,2 3-18 0 0,19 14 139 0 0,-22-18-122 0 0,0-1 1 0 0,-1 1 0 0 0,0 0-1 0 0,1 1 1 0 0,-1-1-1 0 0,0 1 1 0 0,-1-1 0 0 0,1 1-18 0 0,1 2 11 0 0,25 20 106 0 0,-18-8-100 0 0,-8-13-6 0 0,1 1 1 0 0,-1-1 0 0 0,1 0-1 0 0,0 0 1 0 0,2 2-12 0 0,-3-4 12 0 0,0 1-1 0 0,0 0 1 0 0,-1-1 0 0 0,1 1-1 0 0,-1 0 1 0 0,0 0 0 0 0,2 4-12 0 0,10 18 47 0 0,-12-23-34 0 0,1 1 1 0 0,-1-1-1 0 0,0 1 0 0 0,0 0 0 0 0,-1 0 0 0 0,1 0 1 0 0,-1 0-1 0 0,0 0 0 0 0,0 0 0 0 0,0 3-13 0 0,1-1 6 0 0,-1-1-1 0 0,1 1 0 0 0,0 0 1 0 0,0-1-1 0 0,1 1 1 0 0,0 1-6 0 0,0-2 5 0 0,-1 0 0 0 0,0 0 0 0 0,0 1 1 0 0,0-1-1 0 0,0 1 0 0 0,-1 0-5 0 0,10 40 94 0 0,-4-16-44 0 0,4 7-7 0 0,-8-28-40 0 0,0 1 1 0 0,-1-1-1 0 0,0 1 1 0 0,0 0 0 0 0,-1-1-1 0 0,0 3-3 0 0,0-6 0 0 0,-1 1 0 0 0,1-1 0 0 0,1 0 0 0 0,-1 1 0 0 0,2 2 0 0 0,-1-3 0 0 0,0 0 0 0 0,0 0 0 0 0,-1 1 0 0 0,0-1 0 0 0,0 3 0 0 0,-1-4 5 0 0,1-1 0 0 0,-1 0-1 0 0,1 1 1 0 0,1-1 0 0 0,-1 0 0 0 0,1 1-1 0 0,-1-1 1 0 0,2 1-5 0 0,7 25 26 0 0,-3 3-26 0 0,2 17 0 0 0,-8-29 0 0 0,1 1 0 0 0,2 7 0 0 0,-1 4 27 0 0,0 0 0 0 0,-3 2-27 0 0,4-5 11 0 0,-2-26-11 0 0,-2 0 0 0 0,1 0 0 0 0,0 1 0 0 0,-1-1 0 0 0,0 0-1 0 0,0 0 1 0 0,0 0 0 0 0,-1 2 0 0 0,1-3 0 0 0,0-1 0 0 0,0 1 0 0 0,0 0 0 0 0,1-1 0 0 0,-1 1 0 0 0,0-1 0 0 0,1 1 0 0 0,0-1 0 0 0,-1 1 0 0 0,1-1 0 0 0,1 1 0 0 0,-1 1 0 0 0,0-1 0 0 0,0 0 0 0 0,0 0 0 0 0,0 1 0 0 0,-1-1 0 0 0,0 0 0 0 0,1 1 0 0 0,4 23 0 0 0,-1-7 0 0 0,-1-5 1 0 0,1 28 10 0 0,-3-36 22 0 0,-1 0-1 0 0,1-1 0 0 0,1 1 1 0 0,0 3-33 0 0,0-3-1 0 0,-1 0 0 0 0,1 0 1 0 0,-1 0-1 0 0,-1 3 1 0 0,5 17-70 0 0,-4-23 70 0 0,0 1 1 0 0,0-1 0 0 0,0 1-1 0 0,-1-1 1 0 0,0 2-1 0 0,0-4 0 0 0,0 10 0 0 0,1 0 0 0 0,0 0 0 0 0,0 0 0 0 0,1 0 0 0 0,1 0 0 0 0,1 3 0 0 0,-3-7 0 0 0,0-1 0 0 0,-1 1 0 0 0,1-1 0 0 0,-2 3 0 0 0,2 12 0 0 0,5 20 0 0 0,-4-28 0 0 0,0 0 0 0 0,0 13 0 0 0,7 46 0 0 0,-8-67 0 0 0,-1-1 0 0 0,1 1 0 0 0,0 0 0 0 0,1-1 0 0 0,-1 0 0 0 0,2 2 0 0 0,-1-2 0 0 0,-1 0 0 0 0,1 1 0 0 0,-1-1 0 0 0,0 1 0 0 0,-1 0 0 0 0,1 0 0 0 0,-1 78 117 0 0,0-75-128 0 0,0 1 0 0 0,0 0 0 0 0,1-1 0 0 0,1 1 0 0 0,0-1 0 0 0,0 1 0 0 0,3 6 11 0 0,7 28 0 0 0,-11-40 0 0 0,0 0 0 0 0,-1-1 0 0 0,0 1 0 0 0,1 0 0 0 0,-1 0 0 0 0,0-1 0 0 0,-1 1 0 0 0,1 0 0 0 0,-1 0 0 0 0,0-1 0 0 0,0 2 0 0 0,-3 24 0 0 0,4 94 0 0 0,1-115 0 0 0,0 1 0 0 0,0 0 0 0 0,3 7 0 0 0,-3-7 0 0 0,1-1 0 0 0,-1 0 0 0 0,0 8 0 0 0,4 64 0 0 0,-1-44 0 0 0,-2-33 0 0 0,-1 15 0 0 0,-1 11 0 0 0,0-10 0 0 0,0-14 0 0 0,4 18 0 0 0,-3-12 0 0 0,-1 1 0 0 0,1 1 0 0 0,0-10 0 0 0,0-3 0 0 0,-1 1 0 0 0,0 0 0 0 0,1-1 0 0 0,-1 1 0 0 0,0 0 0 0 0,1-1 0 0 0,-1 1 0 0 0,0 0 0 0 0,0-1 0 0 0,0 1 0 0 0,0 0 0 0 0,0 0 0 0 0,0-1 0 0 0,0 1 0 0 0,0 0 0 0 0,0-1 0 0 0,0 1 0 0 0,0 0 0 0 0,0 0 0 0 0,0-1 0 0 0,0 1 0 0 0,1 10 31 0 0,0-8-24 0 0,0-1 0 0 0,-1 1 0 0 0,1-1 0 0 0,-1 1 0 0 0,0 0 0 0 0,0-1 0 0 0,0 3-7 0 0,1-2-25 0 0,-6 26-38 0 0,5-25 63 0 0,-1 11 0 0 0,-2-5 0 0 0,3 1 0 0 0,1-2-8 0 0,0-1-1 0 0,0 1 0 0 0,-1 0 1 0 0,0 0-1 0 0,-1 0 0 0 0,0 1 9 0 0,-1 24-20 0 0,1-20 20 0 0,1 4 0 0 0,2-9 0 0 0,-1 0 0 0 0,-1 0-1 0 0,0 0 1 0 0,0 0 0 0 0,-1 6 0 0 0,0 9 17 0 0,0-13 48 0 0,1-10-58 0 0,-1 1 1 0 0,1-1-1 0 0,0 0 0 0 0,0 0 0 0 0,0 0 0 0 0,0 0 0 0 0,0 0 1 0 0,0 1-1 0 0,0-1 0 0 0,1 0 0 0 0,-1 1-7 0 0,1 2-12 0 0,0 1 0 0 0,0 0 0 0 0,-1 0-1 0 0,0 0 1 0 0,0-1 0 0 0,0 1 0 0 0,-1 3 12 0 0,0 14 4 0 0,3-7-59 0 0,-2-14 45 0 0,0 0 1 0 0,0 0-1 0 0,0 0 0 0 0,0 0 1 0 0,0 0-1 0 0,0-1 1 0 0,0 1-1 0 0,0 0 1 0 0,-1 0-1 0 0,1 0 0 0 0,0 0 1 0 0,0 0-1 0 0,-1 0 1 0 0,1 0-1 0 0,-1 0 10 0 0,1 0 15 0 0,0 1 0 0 0,0-1 0 0 0,-1 1-1 0 0,1-1 1 0 0,-1 0 0 0 0,1 1 0 0 0,-1-1 0 0 0,0 1-1 0 0,1-1 1 0 0,-1 0 0 0 0,0 0 0 0 0,0 1 0 0 0,0-1-1 0 0,0 0 1 0 0,0 0 0 0 0,0 0 0 0 0,0 0 0 0 0,-1 0-15 0 0,1 0-3 0 0,0-1-74 0 0,1 0-5 0 0,-1 1 21 0 0,-3 2 58 0 0,2-2 2 0 0,1 0 0 0 0,0 0 0 0 0,0-1 0 0 0,-1 1 0 0 0,1 0 0 0 0,0 0 0 0 0,-1-1 0 0 0,1 1 0 0 0,0-1 0 0 0,-1 1 0 0 0,1-1 0 0 0,-1 0 1 0 0,-31 7 3 0 0,10 0-3 0 0,-2 1 64 0 0,-49 10-45 0 0,53-13 108 0 0,16-4-129 0 0,0 0 0 0 0,0 0 0 0 0,0 0 0 0 0,0 0 0 0 0,-2-1 2 0 0,-106 0-92 0 0,-115 0 536 0 0,221 0-470 0 0,2 0-8 0 0,0 0 0 0 0,0-1 0 0 0,0 1 0 0 0,0-1 0 0 0,0 0 0 0 0,0-1 0 0 0,-2 0 34 0 0,0 1 20 0 0,1 0 0 0 0,-1 1-1 0 0,1-1 1 0 0,-1 1 0 0 0,1 0-1 0 0,-7 2-19 0 0,5-2 41 0 0,-1 1-1 0 0,1-1 1 0 0,0 0-1 0 0,-1-1-40 0 0,-94-16-256 0 0,40 6 256 0 0,57 12 0 0 0,5-1 0 0 0,0 0 0 0 0,0 0 0 0 0,0 0 0 0 0,0 0 0 0 0,0 0 0 0 0,0 0 0 0 0,0 0 0 0 0,0 0 0 0 0,0 0 0 0 0,0 0 0 0 0,0-1 0 0 0,0 1 0 0 0,0 0 0 0 0,0-1 0 0 0,1 1 0 0 0,-1-1 0 0 0,0 1 0 0 0,-1-1 0 0 0,-20-7 0 0 0,18 7 0 0 0,0 0 0 0 0,0 0 0 0 0,1 0 0 0 0,-1-1 0 0 0,1 1 0 0 0,-3-2 0 0 0,1 0 0 0 0,-1 1 0 0 0,1 0 0 0 0,-1 1 0 0 0,1-1 0 0 0,-1 1 0 0 0,0 0 0 0 0,-1 0 0 0 0,-7-1 0 0 0,9 1 0 0 0,0 1 0 0 0,0-1 0 0 0,-1 1 0 0 0,1 0 0 0 0,0 0 0 0 0,-5 1 0 0 0,-6 0 0 0 0,-17-1 352 0 0,-1-2 0 0 0,-21-4-352 0 0,37 3 13 0 0,0-1 0 0 0,0 0 0 0 0,0-2-1 0 0,1 0 1 0 0,-7-3-13 0 0,18 6 0 0 0,-1 1 0 0 0,1 0 0 0 0,0 0 0 0 0,-1 1 0 0 0,1 0 0 0 0,-1 0 0 0 0,-13-2 0 0 0,-28-6 0 0 0,12 4 0 0 0,-7-2 0 0 0,12 5 0 0 0,11 1 0 0 0,11 0 0 0 0,-1 0 0 0 0,1 1 0 0 0,-7 0 0 0 0,-18 1 0 0 0,-40 7 0 0 0,66-9 0 0 0,6 0 0 0 0,0 1 0 0 0,0 0 0 0 0,0 0 0 0 0,-1 0 0 0 0,1 0 0 0 0,0 0 0 0 0,0 0 0 0 0,0 1 0 0 0,0-1 0 0 0,-1 1 0 0 0,1-1 0 0 0,0 1 0 0 0,0 0 0 0 0,-1 0 0 0 0,-5 3 0 0 0,-17 10 0 0 0,17-9-10 0 0,8-2-14 0 0,0 1-2 0 0,-1-3-3 0 0,1 0-1 0 0,0 0 0 0 0,0 0 1 0 0,0 1-1 0 0,0-1 1 0 0,0 0-1 0 0,0 0 1 0 0,0 0-1 0 0,0 1 1 0 0,1-1-1 0 0,-1 0 0 0 0,0 0 1 0 0,1 0-1 0 0,-1 0 1 0 0,1 1-1 0 0,-1-1 1 0 0,1 0-1 0 0,-1 0 0 0 0,1 0 1 0 0,0 0-1 0 0,0 0 1 0 0,-1 0-1 0 0,1-1 1 0 0,0 1-1 0 0,0 0 1 0 0,0 0-1 0 0,0 0 0 0 0,0-1 1 0 0,1 1 29 0 0,1 1-381 0 0,0 0 0 0 0,0-1-1 0 0,0 0 1 0 0,0 1 0 0 0,0-1 0 0 0,0 0 0 0 0,2 0 381 0 0,-3-1-152 0 0,10 4-1527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1:56.983"/>
    </inkml:context>
    <inkml:brush xml:id="br0">
      <inkml:brushProperty name="width" value="0.1" units="cm"/>
      <inkml:brushProperty name="height" value="0.1" units="cm"/>
    </inkml:brush>
  </inkml:definitions>
  <inkml:trace contextRef="#ctx0" brushRef="#br0">1620 893 456 0 0,'0'0'1416'0'0,"0"0"168"0"0,0 0 72 0 0,0 0-99 0 0,9-16 2151 0 0,-9 16-3535 0 0,0-1 0 0 0,0 0-1 0 0,0 1 1 0 0,0-1 0 0 0,1 0 0 0 0,-1 0-1 0 0,0 1 1 0 0,0-1 0 0 0,0 0 0 0 0,0 1-1 0 0,1-1 1 0 0,-1 1 0 0 0,0-1 0 0 0,1 0-1 0 0,-1 1 1 0 0,0-1 0 0 0,1 1 0 0 0,-1-1-1 0 0,1 1 1 0 0,-1-1 0 0 0,1 1 0 0 0,-1-1-1 0 0,1 1 1 0 0,-1-1 0 0 0,1 1 0 0 0,0 0-1 0 0,-1-1 1 0 0,1 1 0 0 0,0 0 0 0 0,-1 0-1 0 0,1-1 1 0 0,-1 1 0 0 0,1 0 0 0 0,0 0-1 0 0,0 0-171 0 0,0 0 285 0 0,5 0 547 0 0,52 6 1153 0 0,8-9-638 0 0,-64 3-1335 0 0,-1 0-1 0 0,1-1 1 0 0,0 1 0 0 0,-1-1 0 0 0,1 1 0 0 0,-1-1 0 0 0,1 1 0 0 0,-1-1 0 0 0,1 0 0 0 0,0 0-13 0 0,10-5 111 0 0,56-19 91 0 0,-47 18-200 0 0,-16 6 6 0 0,0 0-1 0 0,0-1 1 0 0,0 1 0 0 0,0-1 0 0 0,-1 0 0 0 0,1-1 0 0 0,0 1-1 0 0,2-3-7 0 0,-6 4 0 0 0,0 1 0 0 0,-1-1 0 0 0,1 1 0 0 0,-1 0-1 0 0,1-1 1 0 0,0 1 0 0 0,-1 0 0 0 0,1 0 0 0 0,0-1-1 0 0,0 1 1 0 0,-1 0 0 0 0,1 0 0 0 0,0 0 0 0 0,-1 0-1 0 0,1 0 1 0 0,0 0 0 0 0,0 0 0 0 0,-1 0 4 0 0,1 0 0 0 0,0 0 1 0 0,-1 0-1 0 0,1 0 0 0 0,0 0 0 0 0,-1 0 0 0 0,1 0 0 0 0,-1 0 1 0 0,1 0-1 0 0,-1-1 0 0 0,1 1 0 0 0,0 0 0 0 0,-1 0 0 0 0,1-1 1 0 0,-1 1-1 0 0,1 0 0 0 0,-1-1 0 0 0,1 1 0 0 0,0-1-4 0 0,-1 0 60 0 0,0 1 12 0 0,0 0 0 0 0,0 0-25 0 0,0 0-111 0 0,0 0-65 0 0,0 0-21 0 0,0 0-206 0 0,0 0-856 0 0,0-1-372 0 0,0-4-72 0 0</inkml:trace>
  <inkml:trace contextRef="#ctx0" brushRef="#br0" timeOffset="2677.547">2168 695 2760 0 0,'11'10'324'0'0,"-10"-13"115"0"0,0-4 5001 0 0,-2 6-4946 0 0,1 1 0 0 0,-1-1 0 0 0,1 0 0 0 0,-1 1 0 0 0,1-1 0 0 0,-1 1-1 0 0,0-1 1 0 0,1 1 0 0 0,-1-1 0 0 0,0 1 0 0 0,0 0 0 0 0,1-1 0 0 0,-1 1 0 0 0,0 0 0 0 0,0 0 0 0 0,1-1-1 0 0,-2 1-493 0 0,1 0 2 0 0,0-1-1 0 0,-1 1 1 0 0,1-1-1 0 0,0 1 1 0 0,-1 0-1 0 0,1 0 0 0 0,0-1 1 0 0,-1 1-1 0 0,1 0 1 0 0,0 0-1 0 0,-1 0 0 0 0,1 1 1 0 0,0-1-1 0 0,-1 0 1 0 0,1 0-1 0 0,0 1 0 0 0,-1-1-1 0 0,-2 1 51 0 0,2-1 249 0 0,-6 4 493 0 0,-2 0-355 0 0,3-1-285 0 0,-1 0 0 0 0,1 1-1 0 0,-7 4-152 0 0,1 0 0 0 0,12-7 38 0 0,0-1-1 0 0,-1 0 1 0 0,1 1-1 0 0,0-1 0 0 0,0 1 1 0 0,0 0-1 0 0,0-1 1 0 0,0 1-1 0 0,0 0 0 0 0,0-1 1 0 0,0 1-1 0 0,1 0 0 0 0,-1 0 1 0 0,0 0-1 0 0,0 0 1 0 0,1 0-1 0 0,-1 0-37 0 0,-3 4 295 0 0,-30 18 806 0 0,17-14-1223 0 0,13-8 133 0 0,1 0 0 0 0,0 1 1 0 0,-1 0-1 0 0,1 0 0 0 0,0 0 0 0 0,0 0 1 0 0,0 0-1 0 0,1 1 0 0 0,-1-1 1 0 0,0 1-1 0 0,1 0 0 0 0,0-1 0 0 0,-2 3-11 0 0,-1-1 0 0 0,-2 0 0 0 0,7-1 0 0 0,0-3 0 0 0,0 0 0 0 0,0 1 0 0 0,0-1 0 0 0,0 0 0 0 0,0 1 0 0 0,0-1 0 0 0,0 0 0 0 0,0 1 0 0 0,0-1 0 0 0,0 0 0 0 0,0 0 0 0 0,0 1 0 0 0,0-1 0 0 0,0 0 0 0 0,0 1 0 0 0,0-1 0 0 0,-1 0 0 0 0,1 1 0 0 0,0-1 0 0 0,0 0 0 0 0,0 0 0 0 0,0 1 0 0 0,-1-1 0 0 0,1 0 0 0 0,0 0 0 0 0,0 0 0 0 0,-1 1 0 0 0,1-1 0 0 0,0 0 0 0 0,0 0 0 0 0,-1 0 0 0 0,1 0 0 0 0,0 1 0 0 0,-1-1 0 0 0,1 0 0 0 0,-32 28 288 0 0,19-15 16 0 0,8-6-304 0 0,-2 9 0 0 0,5-13-42 0 0,1 0 0 0 0,-1 1 0 0 0,1-1 0 0 0,0 1 0 0 0,0-1 0 0 0,1 1 0 0 0,-1 0 0 0 0,1-1 0 0 0,0 1 0 0 0,0 0 42 0 0,0-1-90 0 0,2 14 64 0 0,-3-11 26 0 0,0 33 0 0 0,0-20 180 0 0,1-17-188 0 0,-1 0 0 0 0,1 0 0 0 0,0 0 0 0 0,0 0 0 0 0,0 0 0 0 0,0 0 0 0 0,0 0 0 0 0,1 0 0 0 0,-1-1 0 0 0,1 1 0 0 0,-1 0 0 0 0,1 0 0 0 0,-1 0 0 0 0,1 0 0 0 0,0 0 0 0 0,0-1 0 0 0,0 1 0 0 0,1 1 8 0 0,3 4-28 0 0,13 30 28 0 0,-7-25 0 0 0,11 21 702 0 0,-15-27-657 0 0,-5-4-2 0 0,0 5-33 0 0,-2 1-10 0 0,1-1 0 0 0,3 1 11 0 0,2-1 44 0 0,11 14 422 0 0,-15-19-318 0 0,4 7 282 0 0,0-3-416 0 0,3 0-25 0 0,0 0 0 0 0,-1 1 0 0 0,-3 3 0 0 0,3-2 0 0 0,0-2 0 0 0,2 0 0 0 0,1 1 0 0 0,2 3 54 0 0,-11-6-16 0 0,-1-1-2 0 0,1-1 92 0 0,-2-2 0 0 0,14 3-426 0 0,-7 0 276 0 0,4 2 22 0 0,1 2 0 0 0,-1-3 0 0 0,5 3 0 0 0,-14-4 0 0 0,12 5 0 0 0,-1-3 0 0 0,0-1 0 0 0,-1 2 0 0 0,-3-2 0 0 0,4 0 0 0 0,2-3 0 0 0,-5 1 0 0 0,3-1 0 0 0,21-4 832 0 0,-30 3-581 0 0,-1 0-157 0 0,-1 1 1 0 0,1-1 0 0 0,-1 0-1 0 0,1 0 1 0 0,-1 0 0 0 0,1-1 0 0 0,-1 1-1 0 0,1 0 1 0 0,0-1-95 0 0,28-16-215 0 0,-21 14 476 0 0,-9 3-262 0 0,0 0 1 0 0,0 0-1 0 0,0-1 0 0 0,1 1 0 0 0,-1 0 1 0 0,0 0-1 0 0,0-1 0 0 0,0 1 0 0 0,0-1 1 0 0,0 1-1 0 0,0-1 0 0 0,0 1 1 0 0,0-1-1 0 0,1 0 1 0 0,19-7-331 0 0,-10 4 203 0 0,-10 4 128 0 0,-1 0 1 0 0,0 0-1 0 0,1 0 0 0 0,-1 0 0 0 0,1 0 0 0 0,-1 0 0 0 0,0 0 1 0 0,1-1-1 0 0,-1 1 0 0 0,0 0 0 0 0,1 0 0 0 0,-1 0 0 0 0,0-1 1 0 0,1 1-1 0 0,-1 0 0 0 0,0 0 0 0 0,0-1 0 0 0,1 1 0 0 0,-1 0 1 0 0,0-1-1 0 0,0 1 0 0 0,0 0 0 0 0,1-1 0 0 0,-1 1 0 0 0,0 0 1 0 0,0-1-1 0 0,0 1 0 0 0,0 0 0 0 0,0-1 0 0 0,0 0 0 0 0,0 1 10 0 0,2-5 9 0 0,1 0-1 0 0,-1 0 1 0 0,1 0 0 0 0,3-4-19 0 0,4-9-2 0 0,-9 17 2 0 0,0 0 0 0 0,-1 0 0 0 0,1 0 0 0 0,0 1 0 0 0,0-1 0 0 0,0 0 0 0 0,0 0 0 0 0,0 1 0 0 0,0-1 0 0 0,0 0 0 0 0,0 1 0 0 0,1-1 0 0 0,6-4 0 0 0,-3-2 12 0 0,-4 6-7 0 0,1-1-1 0 0,-1 0 1 0 0,1 1 0 0 0,-1-1 0 0 0,1 1-1 0 0,-1 0 1 0 0,1 0 0 0 0,0-1 0 0 0,0 1-1 0 0,0 0 1 0 0,1 0-5 0 0,38-24 264 0 0,-40 25-260 0 0,-1 1 1 0 0,1-1-1 0 0,0 0 0 0 0,-1 1 0 0 0,1-1 1 0 0,-1 1-1 0 0,1-1 0 0 0,0 1 0 0 0,-1-1 1 0 0,1 1-1 0 0,-1-1 0 0 0,1 1 0 0 0,-1-1 1 0 0,0 1-1 0 0,1 0 0 0 0,-1-1 0 0 0,1 2-4 0 0,-1-2-8 0 0,1 0 0 0 0,0 1 0 0 0,-1-1 0 0 0,1 0 1 0 0,-1 0-1 0 0,1 0 0 0 0,0 1 0 0 0,-1-1 0 0 0,1 0 0 0 0,0 0 0 0 0,0 0 0 0 0,-1 0 0 0 0,1 0 0 0 0,0 0 0 0 0,-1 0 0 0 0,1 0 0 0 0,0 0 0 0 0,-1-1 0 0 0,1 1 0 0 0,0 0 0 0 0,-1 0 1 0 0,1-1 7 0 0,0 1 7 0 0,0 1 1 0 0,0-1-1 0 0,0 0 1 0 0,0-1-1 0 0,-1 1 1 0 0,1 0-1 0 0,0 0 1 0 0,0 0-1 0 0,0 0 1 0 0,0-1-1 0 0,0 1 1 0 0,-1 0-1 0 0,1-1 1 0 0,0 1-1 0 0,0-1 1 0 0,0 1-1 0 0,-1-1 1 0 0,1 1-1 0 0,0-1 1 0 0,-1 0-1 0 0,1 1 1 0 0,-1-1-1 0 0,2 0-7 0 0,9-10 2 0 0,1 6-8 0 0,-9 4 5 0 0,0 0 0 0 0,0 0 0 0 0,0-1 0 0 0,0 1 0 0 0,0-1 0 0 0,0 0 0 0 0,1-1 1 0 0,0-4 13 0 0,-3 2-13 0 0,4-4 0 0 0,-3 7 0 0 0,2 1 0 0 0,6-13 0 0 0,-2 0 0 0 0,-3 9 0 0 0,2-2 0 0 0,3-7 0 0 0,-4 8 0 0 0,-3-2 0 0 0,3 2 0 0 0,-2-1 0 0 0,-3-3 0 0 0,0 8 0 0 0,10-16 0 0 0,-9 15 0 0 0,0-16 0 0 0,3-12 0 0 0,-5 24 0 0 0,-3 0 0 0 0,-1-37 0 0 0,4 43 0 0 0,0 1 0 0 0,0 0 0 0 0,0 0 0 0 0,0-1 0 0 0,0 1 0 0 0,0 0 0 0 0,0 0 0 0 0,-1-1 0 0 0,1 1 0 0 0,0 0 0 0 0,0 0 0 0 0,0-1 0 0 0,0 1 0 0 0,0 0 0 0 0,0 0 0 0 0,0 0 0 0 0,0-1 0 0 0,-1 1 0 0 0,1 0 0 0 0,0 0 0 0 0,0 0 0 0 0,0 0 0 0 0,0-1 0 0 0,-1 1 0 0 0,1 0 0 0 0,0 0 0 0 0,0 0 0 0 0,-1 0 0 0 0,1 0 0 0 0,0 0 0 0 0,0 0 0 0 0,0-1 0 0 0,-1 1 0 0 0,1 0 0 0 0,0 0 0 0 0,-1 0 0 0 0,1 0 0 0 0,0 0 0 0 0,0 0 0 0 0,0 0 0 0 0,-1 0 0 0 0,1 0 0 0 0,0 0 0 0 0,0-1 0 0 0,0 1 0 0 0,-1 0 0 0 0,1 0 0 0 0,0 0 0 0 0,0 0 0 0 0,0 0 0 0 0,-1-1 0 0 0,1 1 0 0 0,0 0 0 0 0,0 0 0 0 0,0 0 0 0 0,0-1 0 0 0,0 1 0 0 0,0 0 0 0 0,0 0 0 0 0,-1-1 0 0 0,1 1 0 0 0,0 0 0 0 0,0 0 0 0 0,0-1 0 0 0,0 1 0 0 0,0 0 0 0 0,0 0 0 0 0,0 0 0 0 0,0-1 0 0 0,-1-1 86 0 0,0 0 0 0 0,0-1 1 0 0,-1 1-1 0 0,1 0 0 0 0,-1 0 0 0 0,1 0 0 0 0,-3-1-86 0 0,1-1 224 0 0,-18-18-59 0 0,12 14-111 0 0,6 4-44 0 0,1-4-1 0 0,2 7-6 0 0,0 0-1 0 0,-1 0 1 0 0,1 1-1 0 0,0-1 1 0 0,0 0-1 0 0,-1 1 1 0 0,1-1-1 0 0,0 0 1 0 0,-1 1 0 0 0,1-1-1 0 0,-1 0 1 0 0,1 1-1 0 0,-1-1 1 0 0,1 1-1 0 0,-1-1 1 0 0,0 1-1 0 0,1-1 1 0 0,-1 1-1 0 0,0-1 1 0 0,1 1-1 0 0,-1 0-2 0 0,-5-5 2 0 0,5 4 3 0 0,-1 0 0 0 0,1 0 0 0 0,-1 0-1 0 0,1 0 1 0 0,-1 1 0 0 0,0-1 0 0 0,1 0 0 0 0,-1 1-1 0 0,0-1 1 0 0,-1 1-5 0 0,-7-3 16 0 0,5-1-16 0 0,1 0 11 0 0,4 3-7 0 0,0 0 0 0 0,-1 0 1 0 0,1 0-1 0 0,-1 0 0 0 0,1-1 0 0 0,-1 1 1 0 0,1 0-1 0 0,-1 1 0 0 0,0-1 1 0 0,0 0-1 0 0,1 0 0 0 0,-1 0 0 0 0,0 0 1 0 0,0 0-1 0 0,0 1 0 0 0,0-1 0 0 0,0 0 1 0 0,0 1-1 0 0,0-1 0 0 0,0 1 0 0 0,0-1 1 0 0,0 1-1 0 0,-1-1-4 0 0,-12-5 19 0 0,13 4-19 0 0,-19 1 0 0 0,18 1 4 0 0,2 0-6 0 0,0-1-4 0 0,-17-5 64 0 0,12 5-37 0 0,2 1 22 0 0,-5-6-33 0 0,3 5-4 0 0,0 1 11 0 0,4 0 99 0 0,1 0 33 0 0,0 0-152 0 0,-1 0 1 0 0,1 0-1 0 0,0 0 0 0 0,-1 0 0 0 0,1 0 1 0 0,0 0-1 0 0,-1 0 0 0 0,1 0 1 0 0,0 0-1 0 0,-1 0 0 0 0,1 0 0 0 0,0 0 1 0 0,-1 0-1 0 0,1 0 0 0 0,0 0 0 0 0,-1 0 1 0 0,1-1-1 0 0,0 1 0 0 0,-1 0 0 0 0,1 0 1 0 0,0 0-1 0 0,0 0 0 0 0,-1-1 3 0 0,-20-8-137 0 0,11 4 137 0 0,2 2 0 0 0,-3-2 0 0 0,11 3 0 0 0,-10-6 0 0 0,1 4 0 0 0,-2-1 0 0 0,1-1 0 0 0,2-1 0 0 0,0 3 11 0 0,-2 1 37 0 0,6 2-43 0 0,-9 0-5 0 0,10 3 0 0 0,3-2 0 0 0,-1 1 0 0 0,1-1 0 0 0,-1 1 0 0 0,1-1 0 0 0,-1 0 0 0 0,1 1 0 0 0,-1-1 0 0 0,1 1 0 0 0,-1-1 0 0 0,1 0 0 0 0,-1 1 0 0 0,0-1 0 0 0,1 0 0 0 0,-1 0 0 0 0,1 0 0 0 0,-1 1 0 0 0,0-1 0 0 0,1 0 0 0 0,-1 0 0 0 0,0 0 0 0 0,1 0 0 0 0,-2 0 0 0 0,-5 1 7 0 0,2-1-1 0 0,-1 0 0 0 0,1 1-1 0 0,0-1 1 0 0,0 1 0 0 0,-1 1 0 0 0,1-1-1 0 0,0 1 1 0 0,0 0 0 0 0,0 0-1 0 0,-2 1-5 0 0,-28 23 0 0 0,7-13 29 0 0,24-12-105 0 0,0 0-1 0 0,0 1 0 0 0,0 0 0 0 0,0 0 0 0 0,0 0 0 0 0,0 0 1 0 0,0 1-1 0 0,-2 1 77 0 0,-10 15-2939 0 0,12-6-5664 0 0</inkml:trace>
  <inkml:trace contextRef="#ctx0" brushRef="#br0" timeOffset="20970.66">325 131 920 0 0,'0'0'143'0'0,"0"0"263"0"0,0 0 118 0 0,0 0 20 0 0,0 0-4 0 0,0 0-42 0 0,0 0-18 0 0,0 0-7 0 0,0 0-26 0 0,0 0-107 0 0,0 0-49 0 0,0 0-9 0 0,0 0 12 0 0,0 0 62 0 0,0 0 27 0 0,0 0 8 0 0,0 0-15 0 0,5-6 1416 0 0,-3 1-1484 0 0,-2 5-218 0 0,0 0 0 0 0,1-1 1 0 0,-1 1-1 0 0,0 0 1 0 0,0-1-1 0 0,1 1 0 0 0,-1-1 1 0 0,0 1-1 0 0,0 0 1 0 0,0-1-1 0 0,0 1 0 0 0,0-1 1 0 0,1 1-1 0 0,-1-1 1 0 0,0 1-1 0 0,0 0 0 0 0,0-1 1 0 0,0 1-1 0 0,0-1 0 0 0,0 1 1 0 0,0-1-1 0 0,-1 1 1 0 0,1-1-1 0 0,0 1 0 0 0,0 0 1 0 0,0-1-1 0 0,0 1 1 0 0,-1-1-1 0 0,1 1-90 0 0,-1-1 287 0 0,1 1 1 0 0,0 0 0 0 0,0 0 1 0 0,0 0 6 0 0,0 0 1 0 0,0 0-2 0 0,0 0-4 0 0,0 0-2 0 0,0 0 0 0 0,0 0 2 0 0,0 0 12 0 0,0 0 2 0 0,0 0-1 0 0,0 0 1 0 0,0 1-270 0 0,1-1-1 0 0,-1 1 1 0 0,0-1-1 0 0,0 0 0 0 0,0 1 1 0 0,0-1-1 0 0,-1 1 0 0 0,1-1 1 0 0,0 1-1 0 0,0-1 1 0 0,0 0-1 0 0,0 1 0 0 0,0-1 1 0 0,0 1-1 0 0,-1-1 0 0 0,1 0 1 0 0,0 1-1 0 0,0-1 1 0 0,-1 1-1 0 0,1-1 0 0 0,0 0 1 0 0,0 1-1 0 0,-1-1 0 0 0,1 0 1 0 0,-1 0-1 0 0,1 1 1 0 0,0-1-1 0 0,-1 0 0 0 0,1 0 1 0 0,0 0-1 0 0,-1 1-33 0 0,-5 3 1184 0 0,6-4-964 0 0,0 0-11 0 0,-21 8 1543 0 0,10-3-1533 0 0,10-4-190 0 0,-1 0 0 0 0,1 0-1 0 0,-1-1 1 0 0,0 1 0 0 0,1 0 0 0 0,-1 0 0 0 0,1 0 0 0 0,0 0 0 0 0,-1 1-1 0 0,1-1 1 0 0,0 0-29 0 0,0-1 32 0 0,0-1 0 0 0,-1 0 0 0 0,1 0 0 0 0,0 1 0 0 0,0-1 0 0 0,0 1 0 0 0,-1-1 0 0 0,1 1 0 0 0,0-1 0 0 0,-1 1 0 0 0,1 0 0 0 0,0 0 0 0 0,-1-1-32 0 0,-6-1 217 0 0,7 2-201 0 0,0 0 0 0 0,1-1 0 0 0,-1 1-1 0 0,0 0 1 0 0,1-1 0 0 0,-1 1 0 0 0,0 0-1 0 0,0 0 1 0 0,0 0 0 0 0,1 0 0 0 0,-1-1 0 0 0,0 1-1 0 0,0 0 1 0 0,0 1 0 0 0,1-1 0 0 0,-1 0-16 0 0,0 0 13 0 0,0 0 0 0 0,0 0-1 0 0,0 1 1 0 0,0-1 0 0 0,0 0 0 0 0,0 1 0 0 0,0-1 0 0 0,0 1 0 0 0,0-1 0 0 0,0 1 0 0 0,1-1 0 0 0,-1 1 0 0 0,-1 0-13 0 0,2 0 7 0 0,-1-1 1 0 0,0 1 0 0 0,1 0-1 0 0,-1-1 1 0 0,0 1-1 0 0,0-1 1 0 0,0 0-1 0 0,1 1 1 0 0,-1-1 0 0 0,0 0-1 0 0,0 1 1 0 0,0-1-1 0 0,-1 0-7 0 0,0 1 31 0 0,-1-1 1 0 0,0 1-1 0 0,0 0 0 0 0,0 0 0 0 0,0 1 0 0 0,1-1 1 0 0,-1 0-1 0 0,1 1 0 0 0,-1-1 0 0 0,1 1 0 0 0,-1 0 1 0 0,1 0-1 0 0,0 0 0 0 0,0 0 0 0 0,0 1 0 0 0,0-1 1 0 0,0 0-1 0 0,1 1 0 0 0,-1-1 0 0 0,0 2-31 0 0,2-4 11 0 0,-1 1-1 0 0,1 0 0 0 0,-1 0 0 0 0,1-1 0 0 0,-1 1 1 0 0,0-1-1 0 0,1 1 0 0 0,-1 0 0 0 0,0-1 1 0 0,1 1-1 0 0,-1-1 0 0 0,0 0 0 0 0,1 1 1 0 0,-1-1-1 0 0,0 0 0 0 0,0 1 0 0 0,0-1-10 0 0,-9 6 114 0 0,8-4-90 0 0,0 0-1 0 0,0 0 0 0 0,0 0 0 0 0,1 0 1 0 0,-1 0-1 0 0,0 0 0 0 0,1 1 0 0 0,0-1 1 0 0,0 1-1 0 0,-1 1-23 0 0,-6 11 98 0 0,-21 23 94 0 0,28-36-181 0 0,-1 1 1 0 0,1 0-1 0 0,-1 0 1 0 0,1-1-1 0 0,0 1 1 0 0,0 0-1 0 0,0 0 0 0 0,1 0 1 0 0,-1 0-1 0 0,1 0 1 0 0,-1 1-1 0 0,1 2-11 0 0,0-5 5 0 0,0 0 1 0 0,0 0-1 0 0,0 1 0 0 0,0-1 0 0 0,0 0 1 0 0,0 0-1 0 0,-1 1 0 0 0,1-1 0 0 0,0 0 1 0 0,-1 0-1 0 0,1 0 0 0 0,-1 0 0 0 0,1 1 1 0 0,-1-1-1 0 0,0 0 0 0 0,0 0-5 0 0,1 0 3 0 0,-1-1-1 0 0,1 1 1 0 0,0-1-1 0 0,-1 1 1 0 0,1-1-1 0 0,0 1 1 0 0,0-1-1 0 0,-1 1 1 0 0,1 0-1 0 0,0-1 1 0 0,0 1-1 0 0,0-1 1 0 0,0 1-1 0 0,0 0 1 0 0,0-1-1 0 0,0 1-2 0 0,0 2 3 0 0,0-2-1 0 0,0 0 1 0 0,0-1-1 0 0,0 1 1 0 0,0 0-1 0 0,-1-1 0 0 0,1 1 1 0 0,0-1-1 0 0,0 1 1 0 0,0 0-1 0 0,-1-1 0 0 0,1 1 1 0 0,0-1-1 0 0,-1 1 1 0 0,1-1-1 0 0,0 1 0 0 0,-1-1 1 0 0,0 1-3 0 0,-2 5 10 0 0,2-4-12 0 0,0 0 1 0 0,0 0 0 0 0,1-1 0 0 0,-1 1 0 0 0,1 0 0 0 0,-1 0 0 0 0,1 0 0 0 0,-1 2 1 0 0,-5 24 866 0 0,1-14-976 0 0,3-11 62 0 0,1 0 0 0 0,0 0 0 0 0,0-1 0 0 0,0 1 0 0 0,1 0 0 0 0,-1 0-1 0 0,1 0 1 0 0,-1 0 0 0 0,1 2 48 0 0,0-3 0 0 0,0-1 0 0 0,1 0 0 0 0,-1 1 0 0 0,0-1 0 0 0,-1 1 0 0 0,1-1 0 0 0,0 0 0 0 0,0 1 0 0 0,0-1 0 0 0,-1 0 0 0 0,1 1 0 0 0,-1-1 0 0 0,1 0 0 0 0,-1 0 0 0 0,1 1 0 0 0,-1-1 0 0 0,0 0 0 0 0,-1 2 0 0 0,1-1 0 0 0,-1 1 0 0 0,1 0 0 0 0,-1-1 0 0 0,1 1 0 0 0,0 0 0 0 0,0 3 0 0 0,-1 8 0 0 0,2-11 0 0 0,0 0 0 0 0,0 0 0 0 0,-1 0 0 0 0,1 0 0 0 0,-1 0 0 0 0,0 0 0 0 0,-1 2 0 0 0,0 2 0 0 0,1-4 0 0 0,4 1 0 0 0,-2 17 0 0 0,-1-11 0 0 0,0 32 54 0 0,1-34-44 0 0,2 1 8 0 0,-2-7 74 0 0,-1-2 40 0 0,0 0 10 0 0,0 0-36 0 0,0 0-162 0 0,0 0-68 0 0,0 0-18 0 0,0 0 94 0 0,1 0 42 0 0,-1 1-1 0 0,1 0 1 0 0,0 0 0 0 0,-1-1-1 0 0,1 1 1 0 0,-1 0-1 0 0,1 0 1 0 0,-1 0 0 0 0,1 0-1 0 0,-1 0 1 0 0,0-1-1 0 0,1 1 1 0 0,-1 0 0 0 0,0 0-1 0 0,0 1 7 0 0,2 6 0 0 0,6 2 0 0 0,-9-6 0 0 0,6 18 0 0 0,9 21 0 0 0,-13-40 0 0 0,0 12 0 0 0,-1-14 0 0 0,0 0 0 0 0,0 0 0 0 0,0-1 0 0 0,0 1 0 0 0,0 0 0 0 0,0-1 0 0 0,0 1 0 0 0,0 0 0 0 0,0-1 0 0 0,0 1 0 0 0,1 0 0 0 0,-1-1 0 0 0,0 1 0 0 0,0 0 0 0 0,1-1 0 0 0,-1 1 0 0 0,0 0 0 0 0,1-1 0 0 0,-1 1 0 0 0,1-1 0 0 0,-1 1 0 0 0,1-1 0 0 0,-1 1 0 0 0,1-1 0 0 0,-1 1 0 0 0,1-1 0 0 0,1 2 0 0 0,1 1 0 0 0,7 13 0 0 0,-7-8 0 0 0,2-3 0 0 0,8 3 0 0 0,-9-4 2 0 0,1-1-1 0 0,-1 0 1 0 0,1 1-1 0 0,0-2 1 0 0,0 1-1 0 0,1-1 1 0 0,0 1-2 0 0,-1-2 31 0 0,9 5-9 0 0,-12-6-14 0 0,14 8 38 0 0,-15-7-35 0 0,10 1-12 0 0,-8-1 1 0 0,6 2 0 0 0,-1 1 0 0 0,0-4 11 0 0,0 1 32 0 0,31 8-33 0 0,-31-7-10 0 0,1 0 0 0 0,-1-2 0 0 0,-1 0 0 0 0,-1 0 0 0 0,3 0 0 0 0,1 0 11 0 0,3 2 20 0 0,-11-1-29 0 0,0 0 1 0 0,0-1 0 0 0,1 1 0 0 0,-1-1 0 0 0,1 0 0 0 0,-1 0-1 0 0,0 0 1 0 0,2 0-3 0 0,-4 0 0 0 0,4 0 7 0 0,0 0 0 0 0,1 0 1 0 0,-1 0-1 0 0,0 1 0 0 0,0-1 0 0 0,0 1 0 0 0,0 0 0 0 0,0 0 0 0 0,2 1-7 0 0,-6-1 0 0 0,0-1 0 0 0,1 1 0 0 0,-1-1 0 0 0,0 0 0 0 0,1 0 0 0 0,-1 1 0 0 0,0-1 0 0 0,1 0 0 0 0,-1 0 0 0 0,0 1 0 0 0,1-1 0 0 0,-1 0 0 0 0,1 0 0 0 0,-1 0 0 0 0,1 0 0 0 0,-1 0 0 0 0,0 1 0 0 0,1-1 0 0 0,-1 0 0 0 0,1 0 0 0 0,-1 0 0 0 0,1 0 0 0 0,-1 0 0 0 0,0 0 0 0 0,1-1 0 0 0,-1 1 0 0 0,1 0 0 0 0,-1 0 0 0 0,1 0 0 0 0,-1 0 0 0 0,0 0 0 0 0,1-1 0 0 0,-1 1 0 0 0,1 0 0 0 0,-1 0 0 0 0,0 0 0 0 0,1-1 0 0 0,-1 1 0 0 0,0 0 0 0 0,1-1 0 0 0,-1 0 0 0 0,4-1 0 0 0,1 1 0 0 0,20-6 0 0 0,12 0 23 0 0,-28 6-12 0 0,1-1-1 0 0,-1 0 0 0 0,1-1 0 0 0,4-1-10 0 0,-9 2 6 0 0,1 0-1 0 0,0 0 1 0 0,0 0-1 0 0,3 0-5 0 0,-7 2 3 0 0,0 0-1 0 0,0 0 1 0 0,0-1-1 0 0,0 0 1 0 0,0 1-1 0 0,1-1 1 0 0,-1 0-1 0 0,0 0 1 0 0,0 0-1 0 0,-1 0 0 0 0,1 0 1 0 0,0 0-1 0 0,0-1 1 0 0,0 1-1 0 0,-1-1 1 0 0,1 1-1 0 0,0-1-2 0 0,-1 0 0 0 0,0 1 0 0 0,0 0 0 0 0,0 0 0 0 0,1 0 0 0 0,-1 0 0 0 0,0 0 0 0 0,1 0 0 0 0,-1 0 0 0 0,1 1 0 0 0,-1-1 0 0 0,1 0 0 0 0,-1 1 0 0 0,2-1 0 0 0,1-1 0 0 0,0-1 11 0 0,18-16 42 0 0,-22 19-53 0 0,0 0 0 0 0,0-1 0 0 0,1 1 0 0 0,-1 0 0 0 0,0-1 0 0 0,1 1 0 0 0,-1 0 0 0 0,0 0 0 0 0,1 0 0 0 0,-1-1 0 0 0,0 1 0 0 0,1 0 0 0 0,-1 0 0 0 0,0 0 0 0 0,1 0 0 0 0,-1 0 0 0 0,1 0 0 0 0,-1 0 0 0 0,0-1 0 0 0,1 1 0 0 0,-1 0 0 0 0,1 0 0 0 0,-1 1 0 0 0,1-2 0 0 0,1 1 0 0 0,-1 0 0 0 0,0 0 0 0 0,0 0 0 0 0,1-1 0 0 0,-1 1 0 0 0,0-1 0 0 0,0 1 0 0 0,0-1 0 0 0,0 1 0 0 0,0-1 0 0 0,0 0 0 0 0,0 1 0 0 0,0-1 0 0 0,0 0 0 0 0,0 0 0 0 0,0 0 0 0 0,0 0 0 0 0,0 0 0 0 0,3-2 0 0 0,-1 1 0 0 0,1-1 0 0 0,0 1 0 0 0,0 0 0 0 0,0-1 0 0 0,2 1 0 0 0,27-18 0 0 0,-8 5 0 0 0,-23 14 4 0 0,0 0-1 0 0,0 0 0 0 0,-1 0 1 0 0,1 0-1 0 0,-1 0 1 0 0,1-1-1 0 0,0 1 0 0 0,-1 0 1 0 0,0-1-1 0 0,1 1 0 0 0,-1-1 1 0 0,0 0-1 0 0,1 0-3 0 0,6-9 20 0 0,-5 8-20 0 0,0 0 0 0 0,0-1 0 0 0,-1 1 0 0 0,1-1 0 0 0,-1 0 0 0 0,0 0 0 0 0,0 0 0 0 0,0 0 0 0 0,0-2 0 0 0,13-23 0 0 0,-13 25 0 0 0,1-1 0 0 0,1 1 0 0 0,-1-1 0 0 0,1 1 0 0 0,4-4 0 0 0,5-13 0 0 0,-9 17 11 0 0,-2 2 32 0 0,-2 1-43 0 0,0 0 1 0 0,1 1-1 0 0,-1-1 1 0 0,1 0-1 0 0,-1 0 1 0 0,1 0-1 0 0,-1 1 1 0 0,1-1-1 0 0,-1 0 1 0 0,1 1 0 0 0,0-1-1 0 0,-1 0 1 0 0,1 1-1 0 0,0-1 1 0 0,0 1-1 0 0,0-1 0 0 0,0 1 4 0 0,-1-1 0 0 0,1 1-1 0 0,0-1 1 0 0,-1 1 0 0 0,1-1-1 0 0,0 0 1 0 0,-1 1 0 0 0,1-1-1 0 0,-1 0 1 0 0,1 0-1 0 0,-1 1 1 0 0,1-1 0 0 0,-1 0-1 0 0,1 0 1 0 0,-1 0 0 0 0,0 0-1 0 0,0 1 1 0 0,1-1 0 0 0,-1 0-1 0 0,0 0 1 0 0,0 0-4 0 0,4-7 43 0 0,-3 7-43 0 0,-1 0 1 0 0,1 0 0 0 0,0 0 0 0 0,-1 0 0 0 0,1 0 0 0 0,0-1-1 0 0,-1 1 1 0 0,0 0 0 0 0,1 0 0 0 0,-1 0 0 0 0,0-1-1 0 0,1 1 1 0 0,-1-1-1 0 0,1-4 0 0 0,1 4 0 0 0,-2 1 0 0 0,1 1 0 0 0,-1-1 0 0 0,0 0 0 0 0,1 0 0 0 0,-1 1 0 0 0,0-1 0 0 0,0 0 0 0 0,1 0 0 0 0,-1 0 0 0 0,0 1 0 0 0,0-1 0 0 0,0 0 0 0 0,0 0 0 0 0,0 0 0 0 0,0 0 0 0 0,0 1 0 0 0,0-1 0 0 0,-1-1 0 0 0,2-5 20 0 0,-1 5-17 0 0,0 1 1 0 0,0-1 0 0 0,0 0-1 0 0,0 1 1 0 0,0-1 0 0 0,0 0-1 0 0,0 1 1 0 0,0-1 0 0 0,-1 0-1 0 0,1 1 1 0 0,-1-1 0 0 0,1 1-1 0 0,-1-1 1 0 0,0 1 0 0 0,0-1-4 0 0,0-2 55 0 0,1-7-46 0 0,-7-23 108 0 0,6 31-104 0 0,0 0 0 0 0,0-1 1 0 0,0 1-1 0 0,0 0 0 0 0,0-1 0 0 0,1 1 0 0 0,0-3-13 0 0,-3-10 44 0 0,-1-11-44 0 0,-5 6 0 0 0,2 7-2 0 0,1 5 58 0 0,-7-7-48 0 0,11 14-1 0 0,0 0 0 0 0,0 0 0 0 0,0-1 0 0 0,0 1 0 0 0,0 0 0 0 0,1-1 0 0 0,-1 1 0 0 0,1-2-7 0 0,0 1 9 0 0,-2 0-8 0 0,-10-9-1 0 0,9 7 0 0 0,0 0 0 0 0,1 0 0 0 0,-1 0 0 0 0,1 0 0 0 0,0-1 0 0 0,0 1 0 0 0,1-1 0 0 0,-2-4 0 0 0,1 6 0 0 0,-18-18 0 0 0,16 17 0 0 0,-2 1 0 0 0,2-2 0 0 0,-5-3 1 0 0,7 7 9 0 0,0-2 7 0 0,-15-8 19 0 0,14 10-36 0 0,-8-10 0 0 0,10 9 0 0 0,-9-2 0 0 0,7 4 0 0 0,4 1 0 0 0,0 0 0 0 0,0 0 0 0 0,0 0 0 0 0,0 0 0 0 0,-1 0 0 0 0,1 0 0 0 0,0 0 0 0 0,0 0 0 0 0,0 0 0 0 0,0 0 0 0 0,0-1 0 0 0,-1 1 0 0 0,1 0 0 0 0,0 0 0 0 0,0 0 0 0 0,0 0 0 0 0,0 0 0 0 0,0 0 0 0 0,0 0 0 0 0,-1-1 0 0 0,1 1 0 0 0,0 0 0 0 0,0 0 0 0 0,0 0 0 0 0,0 0 0 0 0,0 0 0 0 0,0-1 0 0 0,0 1 0 0 0,0 0 0 0 0,0 0 0 0 0,0 0 0 0 0,0 0 0 0 0,0 0 0 0 0,0-1 0 0 0,0 1 0 0 0,0 0 0 0 0,-2-5 0 0 0,-10-1 0 0 0,11 5 0 0 0,-3 0 0 0 0,1 0 0 0 0,0-1 0 0 0,0 0 0 0 0,0 0 0 0 0,-1 0 0 0 0,2 0 0 0 0,-1 0 0 0 0,0 0 0 0 0,0-1 0 0 0,1 1 0 0 0,-2-2 0 0 0,-2-3-1 0 0,4 7 0 0 0,2 0 1 0 0,-1 0 0 0 0,1 0 1 0 0,0 0-1 0 0,-1 0 1 0 0,1 0-1 0 0,0 0 1 0 0,-1 0-1 0 0,1 0 1 0 0,0 0-1 0 0,-1 0 1 0 0,1 0-1 0 0,0 0 1 0 0,-1 0-1 0 0,1 0 0 0 0,0 0 1 0 0,-1-1-1 0 0,1 1 1 0 0,0 0-1 0 0,-1 0 1 0 0,1 0-1 0 0,0-1 1 0 0,0 1-1 0 0,-1 0 1 0 0,1 0-1 0 0,0-1 0 0 0,0 1 1 0 0,0 0-1 0 0,-1 0 1 0 0,1-1-1 0 0,-17-18 53 0 0,12 16-53 0 0,4 3 0 0 0,0 0 0 0 0,0-1 0 0 0,1 1 0 0 0,-1-1 0 0 0,0 1 0 0 0,0-1 0 0 0,1 1 0 0 0,-1-1 0 0 0,1 1 0 0 0,-1-1 0 0 0,0 1 0 0 0,1-1 0 0 0,-1 0 0 0 0,1 1 0 0 0,-1-1 0 0 0,1 0 0 0 0,0 0 0 0 0,-1 0 0 0 0,-3-3 0 0 0,-6-3 0 0 0,3 4 0 0 0,0 2 0 0 0,-2 1 0 0 0,6 0 0 0 0,0 0 0 0 0,0 0 0 0 0,0 0 0 0 0,1-1 0 0 0,-1 1 0 0 0,0-1 0 0 0,-2 0 0 0 0,1 0 0 0 0,-5-4 0 0 0,6 2 0 0 0,2 3 1 0 0,1-1 0 0 0,-1 1 0 0 0,1-1-1 0 0,-1 0 1 0 0,1 1 0 0 0,-1 0-1 0 0,0-1 1 0 0,1 1 0 0 0,-1-1-1 0 0,0 1 1 0 0,1 0 0 0 0,-1-1-1 0 0,0 1 1 0 0,0 0 0 0 0,0 0-1 0 0,0-1 3 0 0,0 1 1 0 0,0-1-1 0 0,-1 1 1 0 0,1 0-1 0 0,0-1 0 0 0,0 1 1 0 0,-1 0-1 0 0,1 0 1 0 0,0 0-1 0 0,0 0 1 0 0,-1 0-1 0 0,1 0 1 0 0,0 0-1 0 0,0 1 0 0 0,-2-1-3 0 0,0 2 2 0 0,-19 4-2 0 0,4-4 5 0 0,16-2-22 0 0,-1 0 1 0 0,1 0 0 0 0,0 1-1 0 0,-1-1 1 0 0,1 0 0 0 0,0 1-1 0 0,-1 0 1 0 0,1-1 0 0 0,0 1-1 0 0,0 0 1 0 0,0 0 0 0 0,0 1-1 0 0,-2 0 17 0 0,0 1-164 0 0,0 1 1 0 0,0 1-1 0 0,0-1 0 0 0,1 0 1 0 0,-1 1-1 0 0,1 0 0 0 0,0 0 0 0 0,0 0 1 0 0,1 0-1 0 0,-1 0 0 0 0,1 1 1 0 0,0 0 163 0 0,-14 28-1410 0 0,2-11-144 0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09.854"/>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594 21 456 0 0,'0'0'564'0'0,"0"0"51"0"0,0 0 22 0 0,9-15 2971 0 0,-9 11-2697 0 0,-3 2 5582 0 0,-5 6 3323 0 0,4-2-12582 0 0,3-2 2839 0 0,0 2-1 0 0,-2 3 4 0 0,1-3 16 0 0,-21 22 151 0 0,16-20-219 0 0,-9 9 184 0 0,4 3 46 0 0,7-10-117 0 0,1-1 1 0 0,-1 1-1 0 0,0-1 1 0 0,-1 0-1 0 0,-3 3-137 0 0,8-7 0 0 0,0 0 0 0 0,0 0 0 0 0,-1 0 0 0 0,1 0 0 0 0,0 0 0 0 0,0 0 0 0 0,0 0 0 0 0,1 0 0 0 0,-1 0 0 0 0,0 0 0 0 0,0 1 0 0 0,0 0 0 0 0,-9 13 0 0 0,-18 20 0 0 0,27-34 64 0 0,0 1 0 0 0,-5 13-13 0 0,-4 3 19 0 0,6-10-63 0 0,-4 2-7 0 0,0 2 0 0 0,-8 13-80 0 0,-6 4 80 0 0,21-28 0 0 0,0 0 0 0 0,0 0 0 0 0,0 0 0 0 0,1 0 0 0 0,-1 0 0 0 0,0 0 0 0 0,0 0 0 0 0,1 0 0 0 0,-1 1 0 0 0,0-1 0 0 0,1 0 0 0 0,-1 1 0 0 0,-4 15 0 0 0,-8 10 0 0 0,11-23 0 0 0,1 0 0 0 0,-1 0 0 0 0,0-1 0 0 0,0 1 0 0 0,-2 1 0 0 0,-5 5 12 0 0,7-8-13 0 0,1-1-1 0 0,0 1 0 0 0,0-1 1 0 0,1 1-1 0 0,-1-1 0 0 0,0 1 1 0 0,0-1-1 0 0,1 1 1 0 0,-1 0-1 0 0,1-1 0 0 0,0 1 1 0 0,-1 0-1 0 0,1-1 0 0 0,0 1 1 0 0,0 0-1 0 0,0 0 0 0 0,0 1 2 0 0,-6 15 0 0 0,0-4 0 0 0,-24 40 70 0 0,19-36-76 0 0,6-9 6 0 0,4-8 0 0 0,-2 10 0 0 0,-17 22 0 0 0,8-7 131 0 0,11-24-133 0 0,0 1-1 0 0,0-1 1 0 0,0 0 0 0 0,-1 1-1 0 0,1-1 1 0 0,0 0 0 0 0,-2 2 2 0 0,-6 12-40 0 0,7-13 51 0 0,1 1 0 0 0,-1-1 1 0 0,0 0-1 0 0,0 0 0 0 0,0 0 0 0 0,-1 0 0 0 0,1 0 1 0 0,-3 2-12 0 0,-14 18 17 0 0,6-5-68 0 0,8-10 37 0 0,0 0 0 0 0,-1-1 0 0 0,0 0 0 0 0,-4 3 14 0 0,-9 5-12 0 0,13-11 15 0 0,1 0 0 0 0,0 0 0 0 0,0 1 0 0 0,-3 3-3 0 0,2-1 52 0 0,5-7-49 0 0,-8 5-5 0 0,7-4 2 0 0,1 0 0 0 0,0 0 0 0 0,0 0 0 0 0,0-1 0 0 0,-1 1 0 0 0,1 0 0 0 0,0 0 0 0 0,0 1 0 0 0,0-1 0 0 0,1 0 0 0 0,-1 0 0 0 0,-8 8 0 0 0,2-5 0 0 0,2 2 0 0 0,1-2 11 0 0,4-4-103 0 0,0 0-596 0 0,0 0-251 0 0,0 0-41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14.729"/>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1 153 3224 0 0,'0'0'143'0'0,"0"0"189"0"0,0 3 1010 0 0,4 10 10692 0 0,-2-11-11827 0 0,3-2-175 0 0,34 8 628 0 0,-37-8-821 0 0,-2 0-21 0 0,0 0 65 0 0,2-1 171 0 0,-1 0 0 0 0,0 1 0 0 0,0-1-1 0 0,0 1 1 0 0,1-1 0 0 0,-1 1 0 0 0,0 0 0 0 0,1-1-1 0 0,-1 1 1 0 0,0 0 0 0 0,1 0 0 0 0,-1 0 0 0 0,1 0-54 0 0,-2 0 49 0 0,2 0 225 0 0,10-2-144 0 0,-7 1-108 0 0,-1 0 0 0 0,0 1 0 0 0,0 0 0 0 0,0 0-1 0 0,0 0 1 0 0,3 0-22 0 0,1 1 13 0 0,-5 0 35 0 0,7 1-24 0 0,-2 2 36 0 0,-8-4-49 0 0,1 1-1 0 0,0-1 1 0 0,0 0-1 0 0,-1 0 1 0 0,1 1-1 0 0,0-1 1 0 0,0 0-1 0 0,0 0 1 0 0,0 0-1 0 0,-1 0 1 0 0,1 0-1 0 0,0 0 1 0 0,0 0-1 0 0,0 0 1 0 0,0 0-11 0 0,14-1 54 0 0,-10-1 7 0 0,-3 0-60 0 0,12 1 57 0 0,-11 1-51 0 0,19-7 73 0 0,6 7-16 0 0,-25-1-56 0 0,-1 1 0 0 0,1 1 0 0 0,-1-1 0 0 0,1 0 0 0 0,0 1 0 0 0,-1-1 0 0 0,3 1-8 0 0,5 1-3 0 0,-8-2 3 0 0,12 1 0 0 0,-1 2 5 0 0,-8-2 5 0 0,-1 0 0 0 0,1 0 0 0 0,-1-1 0 0 0,1 1-1 0 0,0-1 1 0 0,3 0-10 0 0,29 0 64 0 0,-31 1-64 0 0,-5 0 0 0 0,0-1 0 0 0,0 0 0 0 0,0 1 0 0 0,0-1 0 0 0,0 0 0 0 0,0 0 0 0 0,0 0 0 0 0,0 0 0 0 0,0 1 0 0 0,0-2 0 0 0,0 1 0 0 0,0 0 0 0 0,0 0 0 0 0,0 0 0 0 0,0 0 0 0 0,1-1 0 0 0,2 0 6 0 0,-1 0 0 0 0,1 1-1 0 0,0-1 1 0 0,0 1 0 0 0,0 0-1 0 0,0 0 1 0 0,0 0-6 0 0,18 1 24 0 0,-1 2-24 0 0,-16 0 0 0 0,2-1 0 0 0,4-3 0 0 0,-2 1 0 0 0,28 0 0 0 0,-31-1 0 0 0,-5 1 0 0 0,1 0 0 0 0,-1 0 0 0 0,1 0 0 0 0,-1 0 0 0 0,0 0 0 0 0,1 0 0 0 0,-1 0 0 0 0,1 1 0 0 0,-1-1 0 0 0,0 0 0 0 0,1 1 0 0 0,-1-1 0 0 0,0 1 0 0 0,1-1 0 0 0,-1 1 0 0 0,1 1 0 0 0,-1-2 0 0 0,0 1 0 0 0,-1-1 0 0 0,1 1 0 0 0,0-1 0 0 0,-1 1 0 0 0,1-1 0 0 0,0 0 0 0 0,-1 1 0 0 0,1-1 0 0 0,0 0 0 0 0,0 0 0 0 0,-1 1 0 0 0,1-1 0 0 0,0 0 0 0 0,0 0 0 0 0,-1 0 0 0 0,1 0 0 0 0,0 0 0 0 0,53 4-70 0 0,-50-4 4 0 0,3 3 13 0 0,-6-2 52 0 0,0-1 1 0 0,0 1-1 0 0,0-1 0 0 0,0 0 1 0 0,0 1-1 0 0,0-1 0 0 0,0 0 1 0 0,0 0-1 0 0,0 0 0 0 0,0 0 1 0 0,0 0-1 0 0,0 0 0 0 0,0 0 1 0 0,0 0-1 0 0,0 0 0 0 0,0 0 1 0 0,0-1-1 0 0,0 1 0 0 0,0 0 1 0 0,19-6 18 0 0,21 4 214 0 0,-32 2-232 0 0,6 4 0 0 0,-8-4 0 0 0,8 0 0 0 0,-9 1 0 0 0,-1 0-3 0 0,28 0 70 0 0,6-1-67 0 0,32 0 0 0 0,-47-4 0 0 0,3 8 0 0 0,-13-8 0 0 0,26 1-244 0 0,30-7 512 0 0,-38 5-558 0 0,-6 2 470 0 0,-20 3-196 0 0,-1-1 1 0 0,1 0-1 0 0,-1 0 0 0 0,0 0 1 0 0,1-1-1 0 0,-1 1 16 0 0,4-4 195 0 0,4 4-328 0 0,18 2-53 0 0,-27 0 186 0 0,-2 0 0 0 0,12 0 0 0 0,-8-2 0 0 0,15-1 11 0 0,-1-1 282 0 0,-17 2-283 0 0,1 1 0 0 0,0-1 0 0 0,-1 1-1 0 0,1 0 1 0 0,0 0 0 0 0,-1 0 0 0 0,1 0 0 0 0,0 1-1 0 0,3 0-9 0 0,21 2 0 0 0,12-3 0 0 0,-17 0 0 0 0,23 0 0 0 0,-39 2 0 0 0,0-1 0 0 0,-1 0 0 0 0,1-1 0 0 0,7 0 0 0 0,-14 0 0 0 0,9 0 0 0 0,19 1 0 0 0,-20 1 0 0 0,-5 0 0 0 0,-2-2 0 0 0,0 1 0 0 0,0-1 0 0 0,1 1 0 0 0,-1-1 0 0 0,0 0 0 0 0,0 1 0 0 0,0-1 0 0 0,1 0 0 0 0,-1 0 0 0 0,0 0 0 0 0,0 0 0 0 0,0 0 0 0 0,1 0 0 0 0,0 0 0 0 0,6 0 0 0 0,-7 0 0 0 0,1-1 0 0 0,0 1 0 0 0,0 0 0 0 0,0-1 0 0 0,0 1 0 0 0,0-1 0 0 0,0 0 0 0 0,-1 1 0 0 0,1-1 0 0 0,0 0 0 0 0,0 0 0 0 0,-1 0 0 0 0,1 0 0 0 0,0-2 0 0 0,6 1 0 0 0,-5 1 0 0 0,-3 1 0 0 0,22 10 0 0 0,-9-1 3 0 0,-13-9-6 0 0,1 1 0 0 0,0-1-1 0 0,-1 1 1 0 0,1-1 0 0 0,0 0-1 0 0,0 1 1 0 0,-1-1 0 0 0,1 0-1 0 0,0 0 1 0 0,0 1 0 0 0,-1-1-1 0 0,1 0 1 0 0,0 0 0 0 0,0 0-1 0 0,0 0 1 0 0,-1 0 0 0 0,1 0-1 0 0,0 0 1 0 0,0 0-1 0 0,0 0 1 0 0,-1-1 0 0 0,1 1 3 0 0,38 2 52 0 0,-6-9-34 0 0,-30 6-18 0 0,22 0-24 0 0,3 1 60 0 0,-18 0-19 0 0,-8 0-12 0 0,22-5-7 0 0,-21 3 2 0 0,15 1 0 0 0,28-3 0 0 0,-41 4 0 0 0,-3 0 0 0 0,0 0 0 0 0,0 0 0 0 0,0 0 0 0 0,-1 0 0 0 0,1 0 0 0 0,0 0 0 0 0,0 0 0 0 0,0-1 0 0 0,-1 1 0 0 0,2-1 0 0 0,4-5 0 0 0,5 7 0 0 0,-8 1 0 0 0,19 2 0 0 0,5-3 0 0 0,-7-1 0 0 0,-17 0 0 0 0,11-1 0 0 0,-1-1 0 0 0,13-1 0 0 0,-26 3 0 0 0,0 0 0 0 0,0-1 0 0 0,0 1 0 0 0,0 0 0 0 0,0 0 0 0 0,0 0 0 0 0,0 0 0 0 0,0 0 0 0 0,1 0 0 0 0,-1 0 0 0 0,0 0 0 0 0,0 1 0 0 0,0-1 0 0 0,0 0 0 0 0,0 1 0 0 0,0-1 0 0 0,-1 0 0 0 0,1 1 0 0 0,1 0 0 0 0,2 1 0 0 0,14-1 0 0 0,-14-1 0 0 0,4 0 0 0 0,-1 0 0 0 0,1-1 0 0 0,-1 0 0 0 0,0 0 0 0 0,1 0 0 0 0,-1-1 0 0 0,0 0 0 0 0,0 0 0 0 0,3-2 0 0 0,-7 3 0 0 0,0 1 0 0 0,15-6 0 0 0,-10 3 0 0 0,1 3 0 0 0,-8 0 0 0 0,1 0 0 0 0,-1 0 0 0 0,1 0 0 0 0,0 0 0 0 0,-1-1 0 0 0,1 1 0 0 0,-1 0 0 0 0,1-1 0 0 0,-1 1 0 0 0,1-1 0 0 0,-1 1 0 0 0,1-1 0 0 0,-1 0 0 0 0,6-1 0 0 0,1 0 0 0 0,29-7 0 0 0,-13 4 0 0 0,1-2 0 0 0,-17 7 0 0 0,6 0 0 0 0,-12 0 0 0 0,19-7 0 0 0,-19 5 0 0 0,-1 2-1 0 0,-1-1 1 0 0,1 1-1 0 0,0 0 0 0 0,-1-1 0 0 0,1 1 0 0 0,0 0 1 0 0,-1 0-1 0 0,1-1 0 0 0,0 1 0 0 0,0 0 0 0 0,-1 0 1 0 0,1 0-1 0 0,0 0 0 0 0,0 0 0 0 0,-1 0 1 0 0,1 0-1 0 0,0 0 0 0 0,0 0 0 0 0,-1 1 0 0 0,1-1 1 0 0,1 0-81 0 0,0-1-23 0 0,3 0 95 0 0,0 0-1 0 0,-1 1 1 0 0,1-1-1 0 0,0 1 1 0 0,0 0-1 0 0,-1 0 1 0 0,3 0 9 0 0,37 1-157 0 0,-5-1 281 0 0,-37 0-17 0 0,0 0-15 0 0,8 0-33 0 0,-9 0-59 0 0,0 0 1 0 0,0 0 0 0 0,-1 0-1 0 0,1 0 1 0 0,0 0 0 0 0,0 0-1 0 0,0 1 1 0 0,0-1 0 0 0,0 0-1 0 0,0 0 1 0 0,0 1-1 0 0,0-1 1 0 0,0 0 0 0 0,0 1-1 0 0,0-1 1 0 0,-1 1 0 0 0,1-1-1 0 0,1 2 0 0 0,0-1-1 0 0,12-1 1 0 0,13 0 0 0 0,-7-3 0 0 0,-9 2 0 0 0,31 3 0 0 0,-38-2 0 0 0,-1 0 0 0 0,1 0 0 0 0,0 0 0 0 0,0-1 0 0 0,0 1 0 0 0,2-2 0 0 0,42 0 0 0 0,-37 1 0 0 0,-9-1 0 0 0,-2 2 0 0 0,0 0 0 0 0,0-1 0 0 0,0 1 0 0 0,1-1 0 0 0,-1 1 0 0 0,0 0 0 0 0,1-1 0 0 0,-1 1 0 0 0,0 0 0 0 0,1-1 0 0 0,-1 1 0 0 0,1 0 0 0 0,-1-1 0 0 0,0 1 0 0 0,1 0 0 0 0,-1 0 0 0 0,1 0 0 0 0,-1-1 0 0 0,1 1 0 0 0,-1 0 0 0 0,1 0 0 0 0,-1 0 0 0 0,1 0 0 0 0,-1 0 0 0 0,1 0 0 0 0,-1 0 0 0 0,1 0 0 0 0,14 1 0 0 0,-12 0 0 0 0,1-1 0 0 0,0 0 0 0 0,0 1 0 0 0,0-1 0 0 0,-1 0 0 0 0,1-1 0 0 0,1 0 0 0 0,12-1 0 0 0,-10 5 0 0 0,-3-1 0 0 0,8 2 0 0 0,0-3 0 0 0,4-1 0 0 0,-8-1 0 0 0,-7 1 0 0 0,0 0 0 0 0,0 0 0 0 0,0 0 0 0 0,0-1 0 0 0,0 1 0 0 0,0 0 0 0 0,0-1 0 0 0,0 1 0 0 0,0-1 0 0 0,0 1 0 0 0,0-1 0 0 0,-1 1 0 0 0,1-1 0 0 0,0 1 0 0 0,0-1 0 0 0,-1 0 0 0 0,1 1 0 0 0,0-2 0 0 0,5-2 0 0 0,21 3 0 0 0,18 1 0 0 0,-30-2 0 0 0,1 4 0 0 0,-7-4 0 0 0,8-3 0 0 0,9 1 0 0 0,-17 1 0 0 0,-8 3 0 0 0,3 2 0 0 0,20-1 0 0 0,-21-1 0 0 0,-2 0 0 0 0,12 7 0 0 0,-12-7 0 0 0,-1 0 0 0 0,1 1 0 0 0,0-1 0 0 0,-1 0 0 0 0,1 0 0 0 0,0 1 0 0 0,-1-1 0 0 0,1 0 0 0 0,0 0 0 0 0,0 0 0 0 0,-1 0 0 0 0,1 0 0 0 0,0 0 0 0 0,-1 0 0 0 0,2 0 0 0 0,14-1 0 0 0,-3 2 0 0 0,-10 0 0 0 0,0-1 0 0 0,0 0 0 0 0,0 0 0 0 0,0 0 0 0 0,0 0 0 0 0,0 0 0 0 0,0-1 0 0 0,2 0 0 0 0,-2 2 0 0 0,-2-1 0 0 0,0 0 0 0 0,0 0 0 0 0,0 0 0 0 0,0-1 0 0 0,0 1 0 0 0,0 0 0 0 0,0 0 0 0 0,0-1 0 0 0,0 1 0 0 0,0 0 0 0 0,0-1 0 0 0,0 1 0 0 0,0-1 0 0 0,0 1 0 0 0,0-1 0 0 0,0 0 0 0 0,1 0 0 0 0,-1 0 0 0 0,1 1 0 0 0,-1-1 0 0 0,1 1 0 0 0,-1-1 0 0 0,1 1 0 0 0,0 0 0 0 0,-1-1 0 0 0,1 1 0 0 0,-1 0 0 0 0,1 0 0 0 0,0 0 0 0 0,5 0 0 0 0,1-1 0 0 0,1 1 0 0 0,20-2 0 0 0,-27 2 0 0 0,-1 0 0 0 0,0 0 0 0 0,1 0 0 0 0,-1-1 0 0 0,0 2 0 0 0,1-1 0 0 0,-1 0 0 0 0,0 0 0 0 0,1 0 0 0 0,-1 1 0 0 0,0-1 0 0 0,1 1 0 0 0,-1-1 0 0 0,1 1 0 0 0,-1-1 0 0 0,0 0 0 0 0,0 1 0 0 0,0-1 0 0 0,1 0 0 0 0,-1 0 0 0 0,0 1 0 0 0,0-1 0 0 0,1 0 0 0 0,-1 0 0 0 0,0-1 0 0 0,0 1 0 0 0,1 0 0 0 0,12-2 0 0 0,27 2 0 0 0,-22-1 0 0 0,-18 1 0 0 0,1-1 0 0 0,0 1 0 0 0,0 0 0 0 0,0 0 0 0 0,0 0 0 0 0,0 1 0 0 0,0-1 0 0 0,0 0 0 0 0,0 1 0 0 0,1 0 0 0 0,-1 0 0 0 0,20 0 0 0 0,5-1 0 0 0,-21 0 0 0 0,2 0 0 0 0,0 0 0 0 0,1-1 0 0 0,6-1 0 0 0,-1-4 0 0 0,-12 5 0 0 0,-1 0 0 0 0,-1 1 0 0 0,1 0 0 0 0,-1-1 0 0 0,0 1 0 0 0,1 0 0 0 0,-1-1 0 0 0,1 1 0 0 0,-1 0 0 0 0,1 0 0 0 0,-1-1 0 0 0,1 1 0 0 0,-1 0 0 0 0,1 0 0 0 0,-1 0 0 0 0,1 0 0 0 0,-1 0 0 0 0,1 0 0 0 0,-1 0 0 0 0,1 0 0 0 0,0 0 0 0 0,-1 0 0 0 0,1 0 0 0 0,-1 0 0 0 0,1 0 0 0 0,-1 0 0 0 0,1 1 0 0 0,-1-1 0 0 0,1 0 0 0 0,-1 0 0 0 0,1 0 0 0 0,-1 1 0 0 0,0-1 0 0 0,1 0 0 0 0,-1 1 0 0 0,16 7 0 0 0,-8-8 0 0 0,0 0 0 0 0,0 0 0 0 0,20 0 71 0 0,-20 2-2 0 0,-2 0-75 0 0,18-5 83 0 0,-4 2-24 0 0,18 1-239 0 0,-32 0 268 0 0,-1-1 0 0 0,1 0 1 0 0,-1-1-1 0 0,0 1 0 0 0,1-1 0 0 0,-1 0 1 0 0,0 0-83 0 0,-3 0 7 0 0,15 0-4 0 0,1 0 51 0 0,-7 2-44 0 0,17 5-10 0 0,-18-5 0 0 0,-2-2 0 0 0,3 0 32 0 0,1 0 1 0 0,-1 2-23 0 0,3-3 48 0 0,-12 2-58 0 0,0 1 1 0 0,0-1 0 0 0,0 0 0 0 0,0 1 0 0 0,0 0-1 0 0,0-1 1 0 0,0 1 0 0 0,2 0-1 0 0,41-11 53 0 0,4 11-53 0 0,-10 0 64 0 0,-27-4-53 0 0,2 1 29 0 0,22 3 20 0 0,-19 0-43 0 0,-9-1-17 0 0,1-2 0 0 0,-4 2 0 0 0,-1 0 0 0 0,1 0 0 0 0,0 1 0 0 0,0-1 0 0 0,3 1 0 0 0,0 0 0 0 0,0 0 0 0 0,0 0 0 0 0,-1-3 11 0 0,-4 2 32 0 0,4 1-33 0 0,5 0-10 0 0,-9 0 0 0 0,-1-2 0 0 0,20-2 0 0 0,-21 4 2 0 0,-1 0-1 0 0,1 0 0 0 0,-1-1 1 0 0,1 1-1 0 0,-1 0 1 0 0,1 0-1 0 0,0 0 0 0 0,-1 0 1 0 0,1 0-1 0 0,-1 0 0 0 0,1 0 1 0 0,-1 0-1 0 0,1 0 0 0 0,0 0 1 0 0,-1 0-1 0 0,1 0 1 0 0,-1 0-1 0 0,1 0 0 0 0,-1 0 1 0 0,1 1-1 0 0,-1-1 0 0 0,1 0 1 0 0,0 0-2 0 0,1 1 12 0 0,11-3 8 0 0,-3-1-20 0 0,4-1 0 0 0,-11 6 0 0 0,-1-1 0 0 0,7 0 0 0 0,-1 2 0 0 0,3-2 0 0 0,-2 2 0 0 0,0-1 0 0 0,0-1 20 0 0,-7-1 75 0 0,-2 0-3 0 0,1 1-11 0 0,4 2-147 0 0,-4-3-618 0 0,-1 0-270 0 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16.528"/>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509 1 920 0 0,'0'0'275'0'0,"0"0"818"0"0,0 0 363 0 0,0 0 72 0 0,0 0-91 0 0,0 0-414 0 0,9 0 2130 0 0,0 0-2225 0 0,27 1 6741 0 0,-23 2-8232 0 0,-11-3 746 0 0,14 22 514 0 0,-16-14-609 0 0,0-6 0 0 0,2-1 0 0 0,-1 1-66 0 0,0 0 0 0 0,1 0 0 0 0,-1 0 0 0 0,0 0 0 0 0,0 0-1 0 0,-1 0 1 0 0,1 0 0 0 0,0 0 0 0 0,-1 0 0 0 0,1 1-1 0 0,-1-1 1 0 0,0 0 0 0 0,0 0 0 0 0,1 1 0 0 0,-1-1-22 0 0,0 4 59 0 0,-1 0 0 0 0,1 0 1 0 0,-1 0-1 0 0,0 1 0 0 0,0 0-59 0 0,0-6 10 0 0,1 0 1 0 0,0 0-1 0 0,-1 0 0 0 0,1 0 0 0 0,0 0 0 0 0,0 0 0 0 0,0 0 0 0 0,0 1 0 0 0,0-1 0 0 0,0 0 1 0 0,0 0-1 0 0,0 0 0 0 0,1 0 0 0 0,-1 0 0 0 0,0 1-10 0 0,2 3 37 0 0,-1 0 1 0 0,0 0-1 0 0,-1 0 1 0 0,1 1-1 0 0,-1-1 0 0 0,0 4-37 0 0,-1-8 0 0 0,1 1 0 0 0,0-1 0 0 0,0 1 0 0 0,0-1 0 0 0,0 1 0 0 0,1-1 0 0 0,-1 1 0 0 0,0-1 0 0 0,1 1 0 0 0,-1-1 0 0 0,1 1 0 0 0,-1-1 0 0 0,1 1 0 0 0,-1 5 0 0 0,-1-5 1 0 0,0-1 0 0 0,1 0 0 0 0,-1-1 1 0 0,1 1-1 0 0,0 0 0 0 0,0-1 1 0 0,-1 1-1 0 0,1 0 0 0 0,0 0 1 0 0,0-1-1 0 0,0 1 0 0 0,0 0 0 0 0,0 0 1 0 0,0-1-1 0 0,0 1 0 0 0,0 0 1 0 0,0 0-1 0 0,0-1 0 0 0,0 1 1 0 0,0 0-1 0 0,1 0-1 0 0,-2 4 44 0 0,1 1 0 0 0,-1-1-1 0 0,0 0 1 0 0,0 1 0 0 0,0-1 0 0 0,0 0-1 0 0,-1 0 1 0 0,0 0 0 0 0,0 0 0 0 0,-1 0-1 0 0,0 0 1 0 0,1 0 0 0 0,-1-1 0 0 0,-1 1-1 0 0,1-1 1 0 0,-1 0 0 0 0,-3 3-44 0 0,-86 105 37 0 0,60-83 81 0 0,30-26-119 0 0,-1 0 1 0 0,1 1-1 0 0,-1-1 0 0 0,0 0 1 0 0,0-1-1 0 0,-2 2 1 0 0,2-2-6 0 0,1 0 0 0 0,-1 1 0 0 0,1-1-1 0 0,0 1 1 0 0,0-1 0 0 0,0 1 0 0 0,0 0-1 0 0,-1 2 7 0 0,2-3 0 0 0,1 0 0 0 0,-1-1 0 0 0,0 1 0 0 0,0 0 0 0 0,0-1 0 0 0,0 1 0 0 0,0-1 0 0 0,0 0 0 0 0,-1 1 0 0 0,1-1 0 0 0,-1 0 0 0 0,-16 10 0 0 0,13-6 0 0 0,0-1 0 0 0,-1 0 0 0 0,1 0 0 0 0,-1 0 0 0 0,0-1 0 0 0,-4 1 0 0 0,4-1 0 0 0,0 0 0 0 0,0 1 0 0 0,0-1 0 0 0,0 1 0 0 0,1 1 0 0 0,-4 2 0 0 0,-31 26 64 0 0,32-25-64 0 0,-1 0 0 0 0,1-1 0 0 0,-1 0 0 0 0,-1-1 0 0 0,-9 5 0 0 0,17-9 0 0 0,-1 0 0 0 0,1 0 0 0 0,0 1 0 0 0,0-1 0 0 0,0 1 0 0 0,1-1 0 0 0,-1 1 0 0 0,1 0 0 0 0,-2 2 0 0 0,-15 14 0 0 0,3-3 0 0 0,0-4 16 0 0,14-10-11 0 0,0 0 1 0 0,-1 0-1 0 0,1 0 0 0 0,0-1 1 0 0,-1 1-1 0 0,0 0 1 0 0,1-1-1 0 0,-1 0 0 0 0,-1 1-5 0 0,-5 3-16 0 0,8-2 66 0 0,1-3-62 0 0,0 0-1 0 0,0 0 1 0 0,0 0 0 0 0,0 1-1 0 0,0-1 1 0 0,0 0 0 0 0,0 0-1 0 0,0 0 1 0 0,0 0 0 0 0,0 0-1 0 0,0 0 1 0 0,0 1 0 0 0,0-1-1 0 0,0 0 1 0 0,0 0 0 0 0,0 0-1 0 0,0 0 1 0 0,0 0 0 0 0,0 0-1 0 0,0 1 1 0 0,0-1 0 0 0,0 0-1 0 0,-1 0 1 0 0,1 0 0 0 0,0 0-1 0 0,0 0 1 0 0,0 0 0 0 0,0 0-1 0 0,0 0 1 0 0,0 0 0 0 0,0 0-1 0 0,-1 1 1 0 0,1-1 0 0 0,0 0-1 0 0,0 0 1 0 0,0 0 0 0 0,0 0-1 0 0,0 0 1 0 0,-1 0 0 0 0,1 0-1 0 0,0 0 13 0 0,-5 2-395 0 0,4-2-5359 0 0,1 0-880 0 0</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18.591"/>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631 1 1840 0 0,'0'0'325'0'0,"0"0"694"0"0,0 0 298 0 0,0 0 56 0 0,0 0-66 0 0,0 0-346 0 0,0 0-155 0 0,0 0-34 0 0,0 0-27 0 0,14 5 2219 0 0,-12-5-2797 0 0,0 1 76 0 0,1 0-1 0 0,-1 0 1 0 0,0 0-1 0 0,0 0 1 0 0,0 1-1 0 0,0-1 1 0 0,0 0-1 0 0,0 1 1 0 0,0 0-1 0 0,0-1 1 0 0,0 2-243 0 0,6 7 482 0 0,-1 0 0 0 0,0 1 0 0 0,-1 0 0 0 0,0 0 1 0 0,-1 1-1 0 0,1 1-482 0 0,2 8 259 0 0,-3-8-67 0 0,0-1 0 0 0,1 1-1 0 0,6 8-191 0 0,-7-11 106 0 0,-5-7-70 0 0,0 3-138 0 0,4 7 258 0 0,-1-1 0 0 0,-1 1-1 0 0,1 9-155 0 0,-3-21 28 0 0,6 76 307 0 0,-5-68-317 0 0,0 0 1 0 0,-1-1 0 0 0,0 1 0 0 0,-1 0-1 0 0,0 0 1 0 0,-1 4-19 0 0,-2 31 26 0 0,-1 80 102 0 0,0-96-128 0 0,5-20 17 0 0,-1-1 0 0 0,0 1-1 0 0,-1-1 1 0 0,-2 5-17 0 0,1 0-3 0 0,-10 29 1 0 0,8-27 24 0 0,1 0 0 0 0,1 0 0 0 0,-2 5-22 0 0,3-4 0 0 0,-2-1 0 0 0,-4 12 0 0 0,4-12 0 0 0,0-1 0 0 0,1 1 0 0 0,0 2 0 0 0,-17 64 64 0 0,-1-1-64 0 0,2-2 0 0 0,10-38 118 0 0,7-33-116 0 0,0 1-1 0 0,0-1 1 0 0,0 0 0 0 0,-1-1 0 0 0,0 1 0 0 0,-2 2-2 0 0,1 0 0 0 0,0-1 0 0 0,1 0-1 0 0,-2 6 1 0 0,3-8 0 0 0,0 1 0 0 0,-1-1 0 0 0,1-1 0 0 0,-4 5 0 0 0,4-4 0 0 0,-1-1 0 0 0,0 1 0 0 0,1-1 0 0 0,0 1 0 0 0,-1 4 0 0 0,1-4 0 0 0,1 0 0 0 0,-1 0 0 0 0,-1 0 0 0 0,1-1-1 0 0,-1 1 1 0 0,-2 3 0 0 0,-9 17 12 0 0,-2 9 41 0 0,-45 95 11 0 0,46-97-64 0 0,7-14 0 0 0,0 0 0 0 0,1 0 0 0 0,-1 7 0 0 0,2-6 0 0 0,-2 0 0 0 0,0-1 0 0 0,-1 0 0 0 0,-1-1 0 0 0,0 0 0 0 0,-11 12 0 0 0,8-9 0 0 0,-4 1-3 0 0,12-16 24 0 0,1 1 0 0 0,-1 1 0 0 0,1-1-1 0 0,-1 2-20 0 0,-4 3 18 0 0,8-11-18 0 0,0 1 0 0 0,0 0 0 0 0,1-1 0 0 0,-1 1-1 0 0,0 0 1 0 0,0 0 0 0 0,1 0 0 0 0,-1 0 0 0 0,1-1 0 0 0,-1 1 0 0 0,0 0 0 0 0,1 0 0 0 0,0 0 0 0 0,-1 0-1 0 0,1 0 1 0 0,0 1 0 0 0,-1 0-5 0 0,1-1 0 0 0,-1 1 0 0 0,0-1 0 0 0,1 1 0 0 0,-1 0 0 0 0,0-1 0 0 0,0 0 0 0 0,0 1 0 0 0,0-1 0 0 0,0 1 0 0 0,0-1 0 0 0,-1 1 5 0 0,1-1-4 0 0,-1 0 0 0 0,1 1 0 0 0,0-1 0 0 0,0 0 0 0 0,0 1 0 0 0,0 0 0 0 0,0-1 0 0 0,1 1 0 0 0,-2 1 4 0 0,-20 59 96 0 0,19-52-96 0 0,0-1 0 0 0,-1 0 0 0 0,0 0 0 0 0,-1 0 0 0 0,0 0 0 0 0,-4 5 0 0 0,7-11 7 0 0,1 1 0 0 0,-1-1-1 0 0,1 1 1 0 0,0-1 0 0 0,0 1-1 0 0,0-1 1 0 0,0 1-7 0 0,-6 22 17 0 0,4-19-17 0 0,3-7 0 0 0,0 1 0 0 0,0 0 0 0 0,0-1 0 0 0,0 1 0 0 0,0 0 0 0 0,-1-1 0 0 0,1 1 0 0 0,0 0 0 0 0,-1-1 0 0 0,1 1 0 0 0,0-1 0 0 0,-1 1 0 0 0,1-1 0 0 0,-1 1 0 0 0,1-1 0 0 0,-1 1 0 0 0,0 0 0 0 0,-1 1 0 0 0,0 0 0 0 0,0 0 0 0 0,0 0 0 0 0,0 0 0 0 0,1 1 0 0 0,-1-1 0 0 0,1 1 0 0 0,-1-1 0 0 0,1 1 0 0 0,0 0 0 0 0,0-1 0 0 0,0 1 0 0 0,0 0 0 0 0,0 1 0 0 0,-1 0 0 0 0,1-1 0 0 0,-1 1 0 0 0,0-1 0 0 0,0 1 0 0 0,-2 1 0 0 0,3-3 0 0 0,-1 0 0 0 0,1 0 0 0 0,-1 0 0 0 0,1 0 0 0 0,0 0 0 0 0,-1 0 0 0 0,1 0 0 0 0,0 0 0 0 0,0 2 0 0 0,-15 32 0 0 0,10-20 0 0 0,6-15 0 0 0,0 0 0 0 0,0 0 0 0 0,0 0 0 0 0,-1 0 0 0 0,1-1 0 0 0,0 1 0 0 0,-1 0 0 0 0,1 0 0 0 0,0 0 0 0 0,-1-1 0 0 0,1 1 0 0 0,-1 0 0 0 0,0-1 0 0 0,1 1 0 0 0,-1 0 0 0 0,-4 7 0 0 0,5-6 0 0 0,0-1 0 0 0,1-1 0 0 0,-1 1 0 0 0,0-1 0 0 0,0 1 0 0 0,0-1 0 0 0,0 1 0 0 0,0-1 0 0 0,0 1 0 0 0,1 0 0 0 0,-1-1 0 0 0,0 1 0 0 0,-1-1 0 0 0,1 1 0 0 0,0-1 0 0 0,0 1 0 0 0,0-1 0 0 0,0 1 0 0 0,0 0 0 0 0,0-1 0 0 0,-1 1 0 0 0,1-1 0 0 0,-10 18 0 0 0,-2 10 0 0 0,-2 16 0 0 0,10-34 0 0 0,-1-2 0 0 0,-1-1 0 0 0,-3 6 0 0 0,4 0 0 0 0,-1-4 11 0 0,4-8-134 0 0,2-1-721 0 0,0 0-293 0 0,0 0-50 0 0</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21.797"/>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23 13 1840 0 0,'0'0'83'0'0,"-9"-5"-48"0"0,5 3 3865 0 0,2 0-4480 0 0,-3 0 5013 0 0,2 0 140 0 0,6 4-3061 0 0,6 16-98 0 0,-5-13-1234 0 0,0 1 0 0 0,0-1 1 0 0,0 1-1 0 0,0-1 0 0 0,-1 1 0 0 0,0 1-180 0 0,11 15 879 0 0,-4-9-500 0 0,-2 0 0 0 0,0 1 0 0 0,-1 0 0 0 0,3 8-379 0 0,12 22 429 0 0,-10-30-321 0 0,0 19 100 0 0,1-10-71 0 0,-8-16-78 0 0,-1 1 0 0 0,0-1 0 0 0,-1 1 0 0 0,0 0 0 0 0,1 3-59 0 0,1-1 56 0 0,7 9 112 0 0,33 79 32 0 0,-33-58-136 0 0,-9-33-50 0 0,-1 1 0 0 0,0-1-1 0 0,0 0 1 0 0,-1 1 0 0 0,1 6-14 0 0,2 10-5 0 0,3 17 6 0 0,-5-26 125 0 0,1 0 0 0 0,0 0 0 0 0,1-1 1 0 0,2 5-127 0 0,22 50-394 0 0,-26-64 394 0 0,0-1 0 0 0,-1 0 0 0 0,0 1 0 0 0,0-1 0 0 0,-1 1 0 0 0,1 0 0 0 0,-1-1 0 0 0,0 2 0 0 0,1 0 0 0 0,-1 0 0 0 0,1-1 0 0 0,0 1 0 0 0,0 0 0 0 0,0-1 0 0 0,1 1 0 0 0,-1 0 0 0 0,0-1 0 0 0,-1 1 0 0 0,1 0 0 0 0,-1 5 0 0 0,-1-6 0 0 0,1-1 0 0 0,1 1 0 0 0,-1 0 0 0 0,1-1 0 0 0,-1 1 0 0 0,1-1 0 0 0,1 1 0 0 0,0 4 0 0 0,0-6 0 0 0,-1 1 0 0 0,0 0 0 0 0,0-1 0 0 0,0 1 0 0 0,0 0 0 0 0,-1 0 0 0 0,5 18 0 0 0,4 4 59 0 0,-8-19 42 0 0,1 0 0 0 0,1-1 0 0 0,-1 1 0 0 0,1-1 0 0 0,2 4-101 0 0,-3-8-82 0 0,-2 0 11 0 0,3 11-241 0 0,4 20 269 0 0,-5-22 43 0 0,-1 1 0 0 0,0-1 0 0 0,0 2 0 0 0,-1-4 0 0 0,0-1 0 0 0,1 1 0 0 0,0-1 0 0 0,0 1 0 0 0,1-1 0 0 0,1 2 0 0 0,-2-5 0 0 0,0 0 0 0 0,0-1 0 0 0,0 1 0 0 0,-1 0 0 0 0,0 3 0 0 0,3 14 0 0 0,0-5 0 0 0,2 10 0 0 0,-3-22 0 0 0,-1 0 0 0 0,0 0 0 0 0,0 0 0 0 0,-1 0 0 0 0,1 1 0 0 0,-1 3 0 0 0,2 23 0 0 0,-1-26 0 0 0,0 1 0 0 0,-1 0 0 0 0,0-1 0 0 0,0 1 0 0 0,-1 3 0 0 0,0-4 0 0 0,1 0 0 0 0,0 0 0 0 0,0 0 0 0 0,0 0 0 0 0,1 0 0 0 0,0 2 0 0 0,2 3 0 0 0,-2-8 0 0 0,0 0 0 0 0,0 0 0 0 0,0-1 0 0 0,-1 1 0 0 0,1 0 0 0 0,-1 0 0 0 0,0 0 0 0 0,0 0 0 0 0,0 0 0 0 0,0 0 0 0 0,-1 0 0 0 0,1-1 0 0 0,0-1 0 0 0,0 0 0 0 0,0 1 0 0 0,0-1 0 0 0,0 0 0 0 0,0 1 0 0 0,0-1 0 0 0,0 1 0 0 0,1-1 0 0 0,-1 0 0 0 0,1 0 0 0 0,-1 1 0 0 0,1-1 0 0 0,-1 0 0 0 0,1 1 0 0 0,-1-1 0 0 0,0 0 0 0 0,1 0 0 0 0,-1 0 0 0 0,0 1 0 0 0,0-1 0 0 0,0 0 0 0 0,0 0 0 0 0,0 1 0 0 0,0-1 0 0 0,0 1 0 0 0,-1 7 0 0 0,0 0 0 0 0,0 0 0 0 0,2 7 0 0 0,-1-6 0 0 0,0 1 0 0 0,-1-1 0 0 0,-1 4 0 0 0,5 14 0 0 0,-5-21 0 0 0,2-3 0 0 0,-1-1 0 0 0,0 1 0 0 0,1-1 0 0 0,0 1 0 0 0,0 0 0 0 0,0-1 0 0 0,1 2 0 0 0,-2 128 0 0 0,-6-82 0 0 0,3-7 0 0 0,-1 39 0 0 0,6-66 0 0 0,0-13 0 0 0,-1-1 0 0 0,0 1 0 0 0,0 0 0 0 0,0-1 0 0 0,0 1 0 0 0,-1 3 0 0 0,0-1 0 0 0,0 0 0 0 0,1 1 0 0 0,0-1 0 0 0,1 6 0 0 0,-1-8 0 0 0,0 0 0 0 0,1 1 0 0 0,-2-1 0 0 0,1 0 0 0 0,0 1 0 0 0,-1-1 0 0 0,0 0 0 0 0,0 2 0 0 0,-1-3 0 0 0,1 1 0 0 0,0-1 0 0 0,0 1 0 0 0,1-1 0 0 0,-1 1 0 0 0,1 0 0 0 0,-1-1 0 0 0,1 1 0 0 0,0 0 0 0 0,0 0 0 0 0,1-1 0 0 0,0 4 0 0 0,-1-5 0 0 0,0 0 0 0 0,0 0 0 0 0,1 0 0 0 0,-1 0 0 0 0,-1 0 0 0 0,1 0 0 0 0,0 0 0 0 0,-1 0 0 0 0,1 0 0 0 0,-1 0 0 0 0,-1 14 0 0 0,-1 22 0 0 0,6 16 0 0 0,-3-43 0 0 0,-2 0 0 0 0,0 0 0 0 0,-2 9 0 0 0,3-16 0 0 0,1 1 0 0 0,-3 21 0 0 0,1-6 0 0 0,1 0 0 0 0,1 10 0 0 0,0-7 0 0 0,-1-16 0 0 0,-2 1 0 0 0,2 2 0 0 0,-2-2 0 0 0,1-2 0 0 0,1-1 0 0 0,3 17 0 0 0,0-9 22 0 0,-6 4 19 0 0,2-9-40 0 0,1-1 48 0 0,2-6-2672 0 0,-1-1 1357 0 0</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23.646"/>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1 1 3224 0 0,'0'0'441'0'0,"0"0"645"0"0,0 0 281 0 0,0 0 60 0 0,0 0-106 0 0,0 0-491 0 0,0 0-218 0 0,0 0-42 0 0,0 0-30 0 0,0 0-90 0 0,0 0-40 0 0,0 0-8 0 0,8 8 686 0 0,44 16 1935 0 0,-42-20-2741 0 0,8 6 396 0 0,34 40 674 0 0,-40-42-1117 0 0,-10-7-229 0 0,1 0 0 0 0,-1 0 0 0 0,0 1 0 0 0,0-1 0 0 0,1 0-1 0 0,-1 1 1 0 0,0 0 0 0 0,0-1 0 0 0,0 2-6 0 0,9 7-35 0 0,1 0 290 0 0,-1 0 0 0 0,-1 0 0 0 0,0 1 0 0 0,0 1 0 0 0,0 1-255 0 0,-6-7 37 0 0,2 3 29 0 0,0 1 1 0 0,0 0-1 0 0,3 10-66 0 0,-4-10 17 0 0,0 0 0 0 0,0 0 0 0 0,1 0 0 0 0,6 7-17 0 0,-8-11 18 0 0,0 0 0 0 0,0 0 0 0 0,0 1 0 0 0,1 4-18 0 0,-3 1 0 0 0,-2-11 0 0 0,-1 0 0 0 0,1 0 0 0 0,0-1 0 0 0,0 1 0 0 0,1 0 0 0 0,-1 0 0 0 0,0-1 0 0 0,0 1 0 0 0,0 0 0 0 0,0 0 0 0 0,1-1 0 0 0,-1 1 0 0 0,0 0 0 0 0,1-1 0 0 0,-1 1 0 0 0,4 4 0 0 0,-3-5 0 0 0,-1 1 0 0 0,1 0 0 0 0,0-1 0 0 0,-1 1 0 0 0,1 0 0 0 0,-1 0 0 0 0,1-1 0 0 0,-1 1 0 0 0,0 0 0 0 0,1 0 0 0 0,-1 0 0 0 0,0 0 0 0 0,1 0 0 0 0,-1 1 5 0 0,1 0-1 0 0,0 0 1 0 0,-1 0-1 0 0,1 0 1 0 0,0-1-1 0 0,0 1 0 0 0,0 0 1 0 0,1-1-1 0 0,-1 1 1 0 0,0 0-1 0 0,1-1 1 0 0,-1 0-1 0 0,1 1-4 0 0,0 0 2 0 0,0 0 1 0 0,0 0-1 0 0,-1 0 1 0 0,1 0-1 0 0,-1 1 1 0 0,1-1-1 0 0,0 2-2 0 0,3 9 43 0 0,-4-10-43 0 0,0-1 1 0 0,0 1 0 0 0,1-1-1 0 0,-1 1 1 0 0,0-1 0 0 0,1 0-1 0 0,0 0 1 0 0,-1 0 0 0 0,2 1-1 0 0,5 7 4 0 0,-7-8-5 0 0,0 0 0 0 0,1 0-1 0 0,-1 1 1 0 0,0-1 0 0 0,0 0-1 0 0,-1 0 1 0 0,1 1-1 0 0,0 0 2 0 0,-1-1 18 0 0,1 0 0 0 0,0 1-1 0 0,0-1 1 0 0,0 1-1 0 0,0-1 1 0 0,0 0 0 0 0,0 0-1 0 0,1 0 1 0 0,-1 0-1 0 0,1 0 1 0 0,0 1-18 0 0,-1-2 26 0 0,8 12 81 0 0,-3-2-194 0 0,9 16-14 0 0,-11-22 101 0 0,-3-4-1 0 0,1 0 1 0 0,-1 0-1 0 0,0 1 0 0 0,0-1 0 0 0,0 0 0 0 0,0 1 0 0 0,-1-1 0 0 0,1 0 0 0 0,0 1 0 0 0,-1-1 1 0 0,1 1-1 0 0,0 1 1 0 0,-1 0-13 0 0,0-2 11 0 0,1 0-1 0 0,-1 0 1 0 0,0 0-1 0 0,1 0 1 0 0,-1-1-1 0 0,0 1 0 0 0,1 0 1 0 0,-1 0-1 0 0,1 0 1 0 0,-1 0-1 0 0,1 0 1 0 0,0-1-1 0 0,-1 1 0 0 0,1 0 1 0 0,0-1-1 0 0,0 1 3 0 0,17 21 0 0 0,-13-17 0 0 0,-1 1 0 0 0,0 0 0 0 0,-1 0 0 0 0,1 0 0 0 0,-1 1 0 0 0,1 5 0 0 0,-1-7 0 0 0,9 16 0 0 0,-10-18 0 0 0,0-1 0 0 0,-1 1 0 0 0,1 0 0 0 0,-1 1 0 0 0,1-1 0 0 0,0 3 0 0 0,3 6 0 0 0,1-1 0 0 0,0 1 0 0 0,1-1 0 0 0,-5-7 0 0 0,1-1 0 0 0,-1 1 0 0 0,0 0 0 0 0,-1 0 0 0 0,1 0 0 0 0,-1 0 0 0 0,0 0 0 0 0,1 2 0 0 0,-2-3 0 0 0,1 0 0 0 0,0-1 0 0 0,0 1 0 0 0,0 0 0 0 0,0-1 0 0 0,0 1 0 0 0,0-1 0 0 0,1 1 0 0 0,3 7 0 0 0,-5-7 0 0 0,0-3 0 0 0,0 1 0 0 0,0-1 0 0 0,-1 1 0 0 0,1-1 0 0 0,0 1 0 0 0,0-1 0 0 0,0 1 0 0 0,0-1 0 0 0,0 1 0 0 0,0-1 0 0 0,0 1 0 0 0,0-1 0 0 0,0 1 0 0 0,1-1 0 0 0,-1 1 0 0 0,0-1 0 0 0,0 1 0 0 0,0-1 0 0 0,0 0 0 0 0,1 1 0 0 0,-1-1 0 0 0,0 1 0 0 0,0-1 0 0 0,1 1 0 0 0,-1-1 0 0 0,0 0 0 0 0,1 1 0 0 0,11 35 54 0 0,-1 0-44 0 0,-9-30 3 0 0,-1 0-1 0 0,0-1 1 0 0,0 1-1 0 0,-1 0 1 0 0,0 4-13 0 0,0-6 1 0 0,0-1-1 0 0,1 0 0 0 0,-1 0 0 0 0,1 0 0 0 0,-1 0 0 0 0,1 0 0 0 0,0-1 0 0 0,1 3 0 0 0,2 7 0 0 0,-4-9 0 0 0,0-3 0 0 0,0 1 0 0 0,0 0 0 0 0,0 0 0 0 0,0-1 0 0 0,1 1 0 0 0,-1 0 0 0 0,0-1 0 0 0,0 1 0 0 0,1-1 0 0 0,-1 1 0 0 0,0 0 0 0 0,1-1 0 0 0,-1 1 0 0 0,1-1 0 0 0,-1 1 0 0 0,1-1 0 0 0,-1 1 0 0 0,1-1 0 0 0,-1 1 0 0 0,1-1 0 0 0,3 7 0 0 0,-4 0 0 0 0,-1 4 0 0 0,1-10 3 0 0,0 0 0 0 0,0-1-1 0 0,0 1 1 0 0,0 0 0 0 0,0-1 0 0 0,0 1 0 0 0,0-1 0 0 0,0 1 0 0 0,0 0 0 0 0,0-1 0 0 0,1 1 0 0 0,-1 0 0 0 0,0-1 0 0 0,0 1 0 0 0,1-1 0 0 0,-1 1 0 0 0,0-1 0 0 0,1 1 0 0 0,-1-1-1 0 0,1 1 1 0 0,-1-1 0 0 0,1 1-3 0 0,2 5 11 0 0,-2-4 32 0 0,0 5-22 0 0,2 0 22 0 0,-3-1-18 0 0,0-4 44 0 0,0-1-1 0 0,0 3-2 0 0,0 3 112 0 0,0-6-6380 0 0,0-1-551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29.470"/>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17 67 5472 0 0,'0'0'248'0'0,"0"0"-6"0"0,0-4-140 0 0,-7-24 2278 0 0,3 5-616 0 0,3 18-2967 0 0,0 0 4054 0 0,1 4 881 0 0,-1 2-717 0 0,0 4-2491 0 0,0-2-497 0 0,1 0-1 0 0,0-1 0 0 0,0 1 0 0 0,0 0 0 0 0,0-1 0 0 0,0 1 0 0 0,1-1 0 0 0,-1 1 1 0 0,1 0-1 0 0,0-1 0 0 0,0 1 0 0 0,0-1 0 0 0,0 0 0 0 0,1 3-26 0 0,2 4 153 0 0,5 10-122 0 0,0-1 1 0 0,1 0-1 0 0,1 0 0 0 0,0-1 1 0 0,2-1-32 0 0,-8-9 144 0 0,-3-4-71 0 0,1 0 0 0 0,-1 0-1 0 0,1 0 1 0 0,0-1-1 0 0,0 1 1 0 0,0-1 0 0 0,0 0-1 0 0,0 0 1 0 0,4 2-73 0 0,-2-1 8 0 0,0 0 1 0 0,0 0-1 0 0,0 1 1 0 0,0 0-1 0 0,0 0 0 0 0,2 3-8 0 0,2 2 54 0 0,8 4-48 0 0,30 23 112 0 0,-40-27-108 0 0,-6-5-8 0 0,13 16 56 0 0,-1-6-14 0 0,-9-12-34 0 0,16 18 12 0 0,-15-14-22 0 0,9 4 0 0 0,12 6 0 0 0,-15-10 5 0 0,-9-6-13 0 0,2 2 11 0 0,19 16 61 0 0,-15-10-64 0 0,1 2 0 0 0,-2-2 0 0 0,1 8-3 0 0,-6-15 12 0 0,12 11 49 0 0,-6-3-47 0 0,-6-6 32 0 0,-2 7-33 0 0,0 1-22 0 0,0-8-86 0 0,0-3-172 0 0,0 0-55 0 0,0 0-855 0 0,0 0-3553 0 0,0 0-1528 0 0</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30.302"/>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0 572 456 0 0,'0'0'1615'0'0,"0"0"194"0"0,0 0 81 0 0,0 0-147 0 0,0 0-698 0 0,0 0-306 0 0,0 0-60 0 0,0 0-34 0 0,0 0-112 0 0,1-2-49 0 0,7-3-4 0 0,6-5 495 0 0,-13 9-935 0 0,-1 1-1 0 0,0 0 1 0 0,1-1 0 0 0,-1 1-1 0 0,1-1 1 0 0,-1 1 0 0 0,0-1-1 0 0,1 0 1 0 0,-1 1 0 0 0,0-1-1 0 0,0 1 1 0 0,1-1-1 0 0,-1 1 1 0 0,0-1 0 0 0,0 0-1 0 0,0 1 1 0 0,0-1 0 0 0,0 1-1 0 0,0-1 1 0 0,0 0 0 0 0,0 1-1 0 0,0-1 1 0 0,0 0-40 0 0,-1-2 101 0 0,1-1 0 0 0,0 1 0 0 0,-1 0 0 0 0,1-1 0 0 0,1 1 0 0 0,-1-1 0 0 0,0 1 0 0 0,1 0 0 0 0,0-1 0 0 0,-1 1 0 0 0,1 0 0 0 0,1 0 0 0 0,-1-1 0 0 0,0 1 0 0 0,1 0 0 0 0,-1 0 0 0 0,1 0 0 0 0,0 1 0 0 0,2-3-101 0 0,7-14 212 0 0,3-12 104 0 0,-12 24-272 0 0,1 0 0 0 0,0 1 0 0 0,0-1 0 0 0,0 1 0 0 0,1 0 0 0 0,2-3-45 0 0,14-18 195 0 0,12-13 46 0 0,-20 26-154 0 0,0-1 1 0 0,5-10-87 0 0,-7 10 35 0 0,2 0-1 0 0,3-4-34 0 0,-10 14 0 0 0,0-1 0 0 0,0 0 0 0 0,-1 0 0 0 0,1 0 0 0 0,-1 0 0 0 0,-1-1 0 0 0,1 0 0 0 0,-1 1 0 0 0,0-1 0 0 0,0-3 0 0 0,-1 3 13 0 0,0 0-1 0 0,1 0 0 0 0,0 0 0 0 0,2-3-12 0 0,8-21 15 0 0,-1-16 140 0 0,-7 30 108 0 0,-5 16-127 0 0,0 1 6 0 0,0 0 5 0 0,0 0 12 0 0,0 0 7 0 0,0 0 2 0 0,0 0-9 0 0,0 0-40 0 0,0 0-21 0 0,0 0-2 0 0,0 0-4 0 0,0 0-17 0 0,0 0-42 0 0,0 0-141 0 0,0 0-82 0 0,0 0-1256 0 0,0 0-4929 0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35.243"/>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106 0 456 0 0,'0'0'1381'0'0,"0"0"157"0"0,0 0 66 0 0,0 0-126 0 0,0 0-597 0 0,0 0-265 0 0,0 0-52 0 0,0 0-17 0 0,0 0-31 0 0,0 0-17 0 0,0 0-3 0 0,0 0-35 0 0,0 0-146 0 0,0 0-69 0 0,0 0-12 0 0,0 0-2 0 0,0 0 0 0 0,0 0 0 0 0,7 13 398 0 0,-7-11-607 0 0,0-1 8 0 0,0 0 0 0 0,0 0 0 0 0,0 1 0 0 0,0-1 0 0 0,0 0 0 0 0,1 0 0 0 0,-1 1 0 0 0,0-1-1 0 0,1 0 1 0 0,-1 0 0 0 0,0 0 0 0 0,1 0 0 0 0,0 1 0 0 0,0 0-31 0 0,-1 0 120 0 0,1 1 1 0 0,-1-1-1 0 0,1 1 0 0 0,-1-1 0 0 0,0 1 0 0 0,0-1 0 0 0,0 1 1 0 0,0-1-1 0 0,0 1 0 0 0,-1 1-120 0 0,0 9 230 0 0,-4 31 500 0 0,4-30-553 0 0,0-12-154 0 0,1 0-1 0 0,0 0 1 0 0,0-1-1 0 0,0 1 1 0 0,0 0-1 0 0,0 0 1 0 0,0 0-1 0 0,0 0 1 0 0,1 0-1 0 0,-1 0 1 0 0,0 0 0 0 0,1 1-23 0 0,0 0 30 0 0,0 0 1 0 0,0 0 0 0 0,-1 0-1 0 0,1 0 1 0 0,-1 0 0 0 0,0 0-1 0 0,0 0 1 0 0,0 1 0 0 0,0-1-1 0 0,-1 0-30 0 0,1 1 38 0 0,0 0 0 0 0,0 0 0 0 0,0 0 0 0 0,0 0-1 0 0,1 3-37 0 0,-1-5 18 0 0,1 0-1 0 0,-1 0 0 0 0,0 0 0 0 0,0 0 1 0 0,0 1-1 0 0,-1-1 0 0 0,1 0 0 0 0,-1 2-17 0 0,1-3 10 0 0,-1 1-1 0 0,1 0 0 0 0,0-1 1 0 0,0 1-1 0 0,0 0 1 0 0,0 0-1 0 0,0-1 0 0 0,0 1 1 0 0,0 0-1 0 0,1-1 1 0 0,-1 1-1 0 0,0 0 0 0 0,1 0 1 0 0,0 0-10 0 0,0 2 26 0 0,0 1 1 0 0,-1 0-1 0 0,1-1 1 0 0,-1 1-1 0 0,0 0 1 0 0,0-1-1 0 0,-1 1 1 0 0,0 4-27 0 0,0 10 118 0 0,0 1-31 0 0,0 0-1 0 0,-1-1 0 0 0,-1 5-86 0 0,1-10-1 0 0,2 1-1 0 0,0 0 1 0 0,2 13 1 0 0,0 27-21 0 0,2-16 393 0 0,-3-32-359 0 0,0 0 0 0 0,-1 0 1 0 0,0 1-1 0 0,0-1 0 0 0,-1 0 1 0 0,0 0-1 0 0,0 0 0 0 0,-1 2-13 0 0,4 3 7 0 0,-2-11-14 0 0,1 0 0 0 0,-1 0 1 0 0,0 0-1 0 0,1 0 0 0 0,-1 0 1 0 0,0 0-1 0 0,0 0 1 0 0,0 0-1 0 0,0 0 0 0 0,0 0 1 0 0,0 0-1 0 0,0 0 0 0 0,0 0 1 0 0,0 0-1 0 0,0 0 0 0 0,-1 0 1 0 0,1 0 6 0 0,-6 27-377 0 0,1 0 716 0 0,5-26-316 0 0,0 1-1 0 0,0-1 1 0 0,0 0-1 0 0,0 1 1 0 0,0-1-1 0 0,1 1 1 0 0,-1-1-1 0 0,1 2-22 0 0,1 9-4 0 0,-1 13-436 0 0,-2-21 470 0 0,1 0-1 0 0,0 0 0 0 0,0 0 0 0 0,1 0 0 0 0,-1 0 0 0 0,2 2-29 0 0,-1-2 38 0 0,-1-1 0 0 0,1 1 0 0 0,-1 0 0 0 0,0 0 0 0 0,0-1 0 0 0,0 1-1 0 0,-1 4-37 0 0,0 0-71 0 0,0 0-1 0 0,0-1 1 0 0,1 1-1 0 0,0-1 1 0 0,1 8 71 0 0,0 27 443 0 0,-1 12-761 0 0,0-53 126 0 0,1-2 198 0 0,-1 0-1 0 0,0 1 0 0 0,1-1 0 0 0,-1 0 0 0 0,0 1 0 0 0,0-1 0 0 0,1 0 0 0 0,-1 1 0 0 0,0-1 0 0 0,0 0 0 0 0,1 1 0 0 0,-1-1 0 0 0,0 1 0 0 0,0-1 0 0 0,0 0 0 0 0,0 1 0 0 0,1-1 0 0 0,-1 1 0 0 0,0-1 0 0 0,0 0 1 0 0,0 1-1 0 0,0-1 0 0 0,0 1 0 0 0,0-1 0 0 0,0 1 0 0 0,0-1-5 0 0,0 16 407 0 0,0-13-406 0 0,1 12 52 0 0,0-12-48 0 0,-1-1 0 0 0,0 1 1 0 0,1-1-1 0 0,-1 1 0 0 0,0-1 0 0 0,0 1 1 0 0,-1-1-1 0 0,1 0 0 0 0,0 1 1 0 0,-1-1-1 0 0,0 3-5 0 0,0-3 7 0 0,0 0-1 0 0,0 0 1 0 0,0 1 0 0 0,1-1-1 0 0,-1 0 1 0 0,1 1 0 0 0,0-1-1 0 0,-1 1-6 0 0,-2 12 54 0 0,1-8-32 0 0,4 5 77 0 0,-1-9-84 0 0,-1 17 7 0 0,-1-5 44 0 0,0-14-63 0 0,1 0 1 0 0,0 1 0 0 0,0-1-1 0 0,0 0 1 0 0,0 1 0 0 0,0-1 0 0 0,0 0-1 0 0,0 1 1 0 0,0-1 0 0 0,1 0-1 0 0,-1 0 1 0 0,0 1 0 0 0,1 0-4 0 0,1 18 10 0 0,-1-4 44 0 0,-1 30-33 0 0,0-45-12 0 0,0 0 0 0 0,0 0 0 0 0,0 0 1 0 0,0 0-1 0 0,0 0 0 0 0,0 0 0 0 0,-1 0 0 0 0,1-1 0 0 0,0 1 0 0 0,-1 0 0 0 0,1 0 0 0 0,0 0 1 0 0,-1 0-1 0 0,0 0-9 0 0,1 0 16 0 0,-1-1 0 0 0,1 1 1 0 0,0 0-1 0 0,-1 0 1 0 0,1 0-1 0 0,0 0 1 0 0,-1-1-1 0 0,1 1 0 0 0,0 0 1 0 0,0 0-1 0 0,0 0 1 0 0,0 0-1 0 0,0 0 0 0 0,0 0-16 0 0,3 16 224 0 0,-2-15-257 0 0,0 0 0 0 0,-1 0-1 0 0,1 0 1 0 0,-1 0 0 0 0,1 0 0 0 0,-1 1 0 0 0,0-1 0 0 0,0 0 0 0 0,0 0 0 0 0,0 0 0 0 0,0 0 0 0 0,-1 1 0 0 0,1-1 33 0 0,-1 0-2 0 0,0 0 1 0 0,0 0-1 0 0,1 0 1 0 0,-1 0-1 0 0,1 1 1 0 0,-1-1-1 0 0,1 0 1 0 0,0 0-1 0 0,0 1 1 0 0,0-1-1 0 0,0 0 1 0 0,0 0-1 0 0,1 0 1 0 0,-1 1-1 0 0,1-1 1 0 0,-1 0-1 0 0,1 0 2 0 0,-1 0 0 0 0,1-1 0 0 0,-1 0 0 0 0,0 1 0 0 0,0-1 0 0 0,0 0 0 0 0,0 1 0 0 0,0-1 0 0 0,0 1 0 0 0,0-1 0 0 0,0 0 0 0 0,0 1 0 0 0,-1-1 0 0 0,1 0-1 0 0,-1 1 1 0 0,1 0 0 0 0,-1-1 1 0 0,1 0 1 0 0,-1 1-1 0 0,1-1 0 0 0,0 1 0 0 0,-1-1 0 0 0,1 1 0 0 0,0-1 0 0 0,0 1 0 0 0,0-1 0 0 0,0 1 0 0 0,0-1-1 0 0,1 2 5 0 0,0-1-1 0 0,-1 0 0 0 0,0 0 1 0 0,0 0-1 0 0,1 1 1 0 0,-1-1-1 0 0,0 0 1 0 0,-1 0-1 0 0,1 1 1 0 0,0-1-1 0 0,-1 0 0 0 0,0 1-4 0 0,1 0 0 0 0,0 0 0 0 0,0 0 0 0 0,0 0 0 0 0,0 0 0 0 0,1 0 0 0 0,-1 0 0 0 0,1 1 0 0 0,1 14 0 0 0,-6 58 118 0 0,2-65-107 0 0,1-9-11 0 0,1 1 0 0 0,-1-1 0 0 0,1 0 0 0 0,0 0 0 0 0,0 1 0 0 0,0-1 0 0 0,0 0 0 0 0,0 0 0 0 0,1 1 0 0 0,-1-1 0 0 0,0 0-1 0 0,1 0 1 0 0,0 1 0 0 0,0 18 0 0 0,-1-6-20 0 0,-1-4 111 0 0,1 0 0 0 0,1-1 0 0 0,0 1 0 0 0,1 7-91 0 0,0-7-60 0 0,-2-1-1 0 0,1 1 1 0 0,-2 10 60 0 0,0-10 101 0 0,0-9-47 0 0,-2 3-57 0 0,3-4-1 0 0,0 0 0 0 0,-1 0 0 0 0,1 0 0 0 0,0-1 0 0 0,-1 1 0 0 0,1 0 0 0 0,0 0 0 0 0,0 0 0 0 0,0 0 0 0 0,0 0-1 0 0,0 0 1 0 0,0 0 0 0 0,0 0 0 0 0,0 0 0 0 0,0-1 0 0 0,0 1 0 0 0,0 0 4 0 0,2 20 2 0 0,-2-15-2 0 0,3 15 0 0 0,-3-6 0 0 0,0-14 0 0 0,-1 1 0 0 0,1-1 0 0 0,0 0 0 0 0,0 1 0 0 0,0-1 0 0 0,0 0 0 0 0,0 1 0 0 0,0-1 0 0 0,0 1 0 0 0,0-1 0 0 0,1 0 0 0 0,-1 1 0 0 0,0-1 0 0 0,1 1 0 0 0,1 19 0 0 0,-1-7 0 0 0,3 23 0 0 0,-3-30 0 0 0,0 0 0 0 0,-1 1 0 0 0,1-1 0 0 0,-2 1 0 0 0,1 2 0 0 0,-1 11 11 0 0,-4 23 42 0 0,4-1 11 0 0,2-23-64 0 0,0-15 0 0 0,0 1 0 0 0,-1 0 0 0 0,0-1 0 0 0,0 1 0 0 0,-1 0 0 0 0,1 0 0 0 0,-1-1 0 0 0,-2 6 0 0 0,-2 24 11 0 0,5-34-7 0 0,-1 0-1 0 0,1 0 1 0 0,0 0-1 0 0,-1 0 1 0 0,1 0-1 0 0,0 0 1 0 0,0 0-1 0 0,0 0 1 0 0,0 0-1 0 0,0 0 1 0 0,0 0-1 0 0,0 0 1 0 0,0 0-1 0 0,0 0 1 0 0,0 0 0 0 0,1-1-5 0 0,-1 2 2 0 0,0-1 0 0 0,0 0-1 0 0,0 0 1 0 0,0 0-1 0 0,1 0 1 0 0,-1 0-1 0 0,-1 0 1 0 0,1 0-1 0 0,0 0 1 0 0,0 0-1 0 0,0 0 1 0 0,-1 1-1 0 0,1-1 1 0 0,0 0-1 0 0,-1 0 0 0 0,1 6 33 0 0,2 14-13 0 0,-2-13-20 0 0,1 10 0 0 0,3 10 0 0 0,-3-26-6 0 0,-1-1 0 0 0,1 0-1 0 0,-1 0 1 0 0,0 1-1 0 0,1-1 1 0 0,-1 0 0 0 0,0 1-1 0 0,0-1 1 0 0,0 0-1 0 0,0 1 1 0 0,0-1 0 0 0,0 0-1 0 0,0 0 1 0 0,-1 2 6 0 0,0 1 7 0 0,-3 23 103 0 0,-4 13 56 0 0,4-23-152 0 0,4-12-36 0 0,-1 1-1 0 0,0-1 1 0 0,1 0-1 0 0,0 0 1 0 0,0 1-1 0 0,1-1 1 0 0,0 0-1 0 0,-1 0 1 0 0,2 1-1 0 0,0 2 23 0 0,-1-3 58 0 0,0 0 1 0 0,-1 0-1 0 0,1 0 0 0 0,-1 0 0 0 0,0 0 0 0 0,-1 0 1 0 0,0 5-59 0 0,0 6 39 0 0,-3 76 230 0 0,-1-6-60 0 0,1-35-143 0 0,4-45-51 0 0,1 1 0 0 0,0-1 0 0 0,0 1-1 0 0,1-1 1 0 0,1 5-15 0 0,-3-9 13 0 0,0 0-1 0 0,0 1 1 0 0,0-1-1 0 0,0 1 1 0 0,0-1-1 0 0,-1 1 1 0 0,1-1-1 0 0,-1 1-12 0 0,-1 11 308 0 0,-2 45-501 0 0,2-41 162 0 0,4 38 31 0 0,-3-45 0 0 0,-5 44 0 0 0,5-50 0 0 0,0 0 0 0 0,0 0 0 0 0,1 0 0 0 0,-1 0 0 0 0,1 0 0 0 0,1 0 0 0 0,-1 0 0 0 0,1 4 0 0 0,0-6 0 0 0,-1-1 0 0 0,0 0 0 0 0,0 0 0 0 0,0 0 0 0 0,0 0 0 0 0,-1 1 0 0 0,1-1 0 0 0,-1 2 0 0 0,-1 11 0 0 0,2 0 0 0 0,0 8 0 0 0,-1 1 0 0 0,-1-1 0 0 0,5 19 0 0 0,-2-23 0 0 0,0-15 0 0 0,-1 0 0 0 0,0-1 0 0 0,0 1 0 0 0,0-1 0 0 0,0 1 0 0 0,0 0 0 0 0,-2 2 0 0 0,4 6 0 0 0,-2-12 0 0 0,1 1 0 0 0,-1 0 0 0 0,0 0 0 0 0,0 0 0 0 0,1 1 0 0 0,-1-1 0 0 0,0 0 0 0 0,0 0 0 0 0,0 0 0 0 0,0 0 0 0 0,0 0 0 0 0,-1 0 0 0 0,0 4 2 0 0,-1 16 50 0 0,-6 18-42 0 0,6-23 48 0 0,1-13-57 0 0,1 0-1 0 0,-1 0 1 0 0,1 0 0 0 0,-1 0-1 0 0,1 0 1 0 0,0 0 0 0 0,0 0 0 0 0,0 0-1 0 0,1 1 0 0 0,-1 3 0 0 0,0 2 0 0 0,0 0 0 0 0,-1 0 0 0 0,0-1 0 0 0,-1 7 0 0 0,2-6 0 0 0,2-5 0 0 0,1 4 0 0 0,-5 12 0 0 0,0-14 4 0 0,1 0 0 0 0,0 0 1 0 0,0 0-1 0 0,1 0 0 0 0,0 0 0 0 0,0 6-4 0 0,1 15 39 0 0,-1-20-39 0 0,-1-1 0 0 0,1-1 0 0 0,0 0 0 0 0,0 0 0 0 0,1 0 0 0 0,-1 2 0 0 0,1-3 0 0 0,0 0 0 0 0,-1 0 0 0 0,1 0 0 0 0,-1 1 0 0 0,0-1 0 0 0,0 0 0 0 0,-1 0 0 0 0,0 3 0 0 0,0 11 54 0 0,1-6-36 0 0,-1 0 1 0 0,0 0 0 0 0,-1-1-1 0 0,-1 4-18 0 0,0 20 76 0 0,3-29-66 0 0,0 1 0 0 0,0-1 0 0 0,-1 0 0 0 0,0 0 0 0 0,0 0 0 0 0,-1 1-10 0 0,1-3 8 0 0,0 0-1 0 0,1-1 1 0 0,0 1-1 0 0,0 0 0 0 0,0-1 1 0 0,0 1-1 0 0,0 0 0 0 0,1 1-7 0 0,0 15 5 0 0,0 13 59 0 0,-1-2-53 0 0,-1-18 42 0 0,1-10-53 0 0,0 1 0 0 0,0-1 0 0 0,-1 1 0 0 0,1-1 0 0 0,-1 0 0 0 0,1 1 0 0 0,-2 0 0 0 0,-3 27 0 0 0,5-17 37 0 0,-2 3-9 0 0,0-11-29 0 0,2-3 5 0 0,-1 1 1 0 0,0 0 0 0 0,0 0 0 0 0,0 0 0 0 0,1 0 0 0 0,0 0 0 0 0,0 0 0 0 0,0 0 0 0 0,0 0 0 0 0,1 0 0 0 0,-1 0 0 0 0,1 0 0 0 0,1 3-5 0 0,6 29 11 0 0,-7-20 37 0 0,-1-14-57 0 0,-5 52 111 0 0,2 0-38 0 0,5-3-67 0 0,-1-29 25 0 0,0-1 1 0 0,-2 1-1 0 0,-1 11-22 0 0,-3 3 0 0 0,1 10 0 0 0,3-32 0 0 0,1-12 0 0 0,0 1 0 0 0,0-1 0 0 0,0 0 0 0 0,0 1 0 0 0,0-1 0 0 0,-1 1 0 0 0,1-1 0 0 0,-1 0 0 0 0,0 1 0 0 0,0 0 0 0 0,1-2 0 0 0,0 1 0 0 0,-1-1-1 0 0,1 1 1 0 0,0 0-1 0 0,0-1 1 0 0,0 1 0 0 0,0-1-1 0 0,0 1 1 0 0,0-1-1 0 0,0 1 1 0 0,1 0 0 0 0,-1-1-1 0 0,1 1 1 0 0,2 26 59 0 0,2 23-49 0 0,-5-48-10 0 0,-2 8 0 0 0,-2 0 0 0 0,1-3 0 0 0,1-1 0 0 0,1-6 0 0 0,4 22 0 0 0,-2-9 64 0 0,-1-13-63 0 0,1-1 0 0 0,-1 1-1 0 0,0 0 1 0 0,0 0 0 0 0,0 0-1 0 0,0-1 1 0 0,0 1 0 0 0,0 0 0 0 0,0 0-1 0 0,0 0 1 0 0,0-1 0 0 0,-1 1 0 0 0,1 0-1 0 0,0 0 1 0 0,-1 0-1 0 0,0 6 56 0 0,1-6-56 0 0,0 0-1 0 0,1 0 1 0 0,-1 0 0 0 0,0 0 0 0 0,0 0 0 0 0,0 0 0 0 0,1 0-1 0 0,-1 0 1 0 0,0 0 0 0 0,-1 0 0 0 0,1 0 0 0 0,0 0 0 0 0,0 1-1 0 0,0-1 1 0 0,-1 0 0 0 0,1 0 26 0 0,0 0-1 0 0,0 0 1 0 0,0 0 0 0 0,0 0-1 0 0,0-1 1 0 0,-1 1-1 0 0,1 0 1 0 0,0 0-1 0 0,-1 0 1 0 0,1-1-1 0 0,0 1 1 0 0,-1 0 0 0 0,1 0-1 0 0,-1-1 1 0 0,0 1-26 0 0,-1 0-1430 0 0,1-2-3467 0 0,1 1 4030 0 0,-6-5-5690 0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4:12:35.843"/>
    </inkml:context>
    <inkml:brush xml:id="br0">
      <inkml:brushProperty name="width" value="0.2" units="cm"/>
      <inkml:brushProperty name="height" value="0.4" units="cm"/>
      <inkml:brushProperty name="color" value="#E6E6E6"/>
      <inkml:brushProperty name="tip" value="rectangle"/>
      <inkml:brushProperty name="rasterOp" value="maskPen"/>
    </inkml:brush>
  </inkml:definitions>
  <inkml:trace contextRef="#ctx0" brushRef="#br0">1 1 8208 0 0,'7'13'227'0'0,"-6"-11"-191"0"0,-1-1 1 0 0,1 1-1 0 0,0-1 1 0 0,0 1-1 0 0,0 0 1 0 0,-1-1-1 0 0,1 1 1 0 0,-1 0-1 0 0,0-1 1 0 0,1 1-1 0 0,-1 0 1 0 0,0 0 0 0 0,0-1-1 0 0,0 1 1 0 0,0 0-1 0 0,0 0 1 0 0,0 0-37 0 0,0-1 42 0 0,0 1 0 0 0,0-1 0 0 0,0 0 1 0 0,0 1-1 0 0,0-1 0 0 0,0 0 0 0 0,1 1 0 0 0,-1-1 0 0 0,0 0 1 0 0,1 1-43 0 0,2 12 580 0 0,-3 8 388 0 0,-1-11-36 0 0,1 0 0 0 0,0 0 0 0 0,2 9-932 0 0,-1-13 198 0 0,-1 0 0 0 0,0 0 0 0 0,0 1 0 0 0,0-1 0 0 0,-1 0 0 0 0,0 0-198 0 0,0-2 33 0 0,0 1-1 0 0,0-1 1 0 0,1 1-1 0 0,0-1 1 0 0,0 1-1 0 0,0-1 1 0 0,1 0-1 0 0,0 1 1 0 0,0-1 0 0 0,1 4-33 0 0,0-1 126 0 0,0 0 1 0 0,0 1 0 0 0,-1-1-1 0 0,0 0 1 0 0,-1 1 0 0 0,0 0-1 0 0,0-1 1 0 0,-2 8-127 0 0,0 21 422 0 0,1-12-222 0 0,1-14-84 0 0,-1 0 0 0 0,2 0 0 0 0,0 6-116 0 0,2 9 16 0 0,-2 1 0 0 0,0 6-16 0 0,-1-24 0 0 0,1-1 0 0 0,0 1 0 0 0,3 7 0 0 0,-2-8 0 0 0,-1 0 0 0 0,0 0 0 0 0,1 9 0 0 0,-1 32 0 0 0,0-14 0 0 0,-3 22 0 0 0,3-38 0 0 0,-1-15 0 0 0,0-1 0 0 0,0 1 0 0 0,0-1 0 0 0,0 1 0 0 0,0-1 0 0 0,-2 4 0 0 0,2-4 0 0 0,-1-1 0 0 0,1 0 0 0 0,-1 1 0 0 0,1 0 0 0 0,0-1 0 0 0,0 1 0 0 0,0-1 0 0 0,0 1 0 0 0,0-1 0 0 0,0 1 0 0 0,1-1 0 0 0,-1 1 0 0 0,1 1 0 0 0,0 2 0 0 0,0 0 0 0 0,-1 0 0 0 0,0 0 0 0 0,0 0 0 0 0,0 0 0 0 0,-1 1 0 0 0,0-1 0 0 0,0 0 0 0 0,-1 0 0 0 0,2 4 0 0 0,1-2 0 0 0,-6 3 0 0 0,4-9-4 0 0,0 0 14 0 0,2 11-96 0 0,-1-11-335 0 0,0-2-171 0 0,0 0-44 0 0,0 0-1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22.541"/>
    </inkml:context>
    <inkml:brush xml:id="br0">
      <inkml:brushProperty name="width" value="0.1" units="cm"/>
      <inkml:brushProperty name="height" value="0.1" units="cm"/>
    </inkml:brush>
  </inkml:definitions>
  <inkml:trace contextRef="#ctx0" brushRef="#br0">33 470 920 0 0,'0'0'143'0'0,"0"0"263"0"0,0 0 118 0 0,0 0 20 0 0,0 0-37 0 0,0 0-186 0 0,0 0-86 0 0,0 0-12 0 0,0 0-15 0 0,0 0-42 0 0,0 0-19 0 0,0 0-3 0 0,0 0-9 0 0,0 0-41 0 0,0 0-19 0 0,0 0-3 0 0,0 0-1 0 0,0 0-1 0 0,2-1 16 0 0,4-5-17 0 0,-5 5-5 0 0,-1 1 9 0 0,0 0 39 0 0,0 0 15 0 0,0 0 1 0 0,0 0 26 0 0,0 0 113 0 0,0 0 48 0 0,0 0 6 0 0,0 0-6 0 0,0 0-49 0 0,0 0-18 0 0,0 0-6 0 0,0 0-16 0 0,0 0-54 0 0,0 0-20 0 0,0 0-6 0 0,0 0-16 0 0,0 0-51 0 0,0 0-10 0 0,-1 3-5 0 0,1-2-58 0 0,-1-1-1 0 0,1 0 0 0 0,-1 0 1 0 0,1 0-1 0 0,0 1 0 0 0,-1-1 1 0 0,1 0-1 0 0,0 1 0 0 0,-1-1 1 0 0,1 0-1 0 0,0 1 0 0 0,-1-1 1 0 0,1 0-1 0 0,0 1 0 0 0,-1-1 1 0 0,1 0-1 0 0,0 1 0 0 0,0-1 1 0 0,0 1-1 0 0,-1-1 0 0 0,1 1 1 0 0,0-1-1 0 0,0 1 0 0 0,0-1 1 0 0,0 1-1 0 0,0-1 0 0 0,0 0 1 0 0,0 1-1 0 0,0-1-5 0 0,-1 4 38 0 0,1-3-25 0 0,-1 0-1 0 0,1-1 1 0 0,0 1 0 0 0,0 0 0 0 0,0-1-1 0 0,-1 1 1 0 0,1 0 0 0 0,0-1 0 0 0,-1 1-1 0 0,1 0 1 0 0,-1-1 0 0 0,1 1 0 0 0,-1-1-1 0 0,1 1 1 0 0,-1-1 0 0 0,1 1 0 0 0,-1-1-13 0 0,-1 1 741 0 0,2 0-690 0 0,-1-1-1 0 0,0 0 0 0 0,1 1 1 0 0,-1-1-1 0 0,1 0 0 0 0,-1 1 1 0 0,1-1-1 0 0,-1 1 0 0 0,1-1 1 0 0,0 1-1 0 0,-1-1 0 0 0,1 1 1 0 0,0-1-1 0 0,-1 1 0 0 0,1 0 1 0 0,0-1-1 0 0,-1 1 0 0 0,1-1 1 0 0,0 1-1 0 0,0 0 1 0 0,0-1-1 0 0,0 1 0 0 0,0 0 1 0 0,0-1-1 0 0,0 1 0 0 0,0 0 1 0 0,0-1-1 0 0,0 1 0 0 0,0-1 1 0 0,0 1-51 0 0,0 0 86 0 0,0-1 10 0 0,-6 4 4001 0 0,1-4-1081 0 0,4-5-3822 0 0,-3-41 2024 0 0,4 45-1106 0 0,0 1 2 0 0,4-22 871 0 0,-4 21-884 0 0,0-19 251 0 0,1 19-332 0 0,0 0 0 0 0,0 0 0 0 0,0-1 0 0 0,0 1 0 0 0,0 0 0 0 0,-1-1 0 0 0,1 1 0 0 0,0 0 0 0 0,-1-1 0 0 0,0 1 0 0 0,1-1 0 0 0,-1 1 0 0 0,0-1 0 0 0,1 1 0 0 0,-1-1 0 0 0,0 1 0 0 0,0-1 0 0 0,0 1 0 0 0,0-1-20 0 0,-1 1 6 0 0,1 0 1 0 0,0 0-1 0 0,0 0 1 0 0,0 0-1 0 0,0 0 0 0 0,0 0 1 0 0,1 0-1 0 0,-1 0 0 0 0,0 0 1 0 0,0 1-1 0 0,1-1 1 0 0,-1 0-1 0 0,0 0-6 0 0,1-2 75 0 0,-1-2 19 0 0,0 0-8 0 0,0 4-82 0 0,2-1 20 0 0,0 0 0 0 0,-1 0 0 0 0,1 0-1 0 0,-1 0 1 0 0,0 0 0 0 0,0 0 0 0 0,0 0 0 0 0,0 0-1 0 0,1-2-23 0 0,5-11-76 0 0,0-1 0 0 0,4-16 76 0 0,-3 14 534 0 0,-2 9-486 0 0,0 2-3 0 0,11-8 60 0 0,-14 13-89 0 0,0-1 0 0 0,0 1 1 0 0,0-1-1 0 0,0 0 0 0 0,0 0 0 0 0,-1 0 0 0 0,1 0 1 0 0,-1 0-17 0 0,0-1 16 0 0,8-6 28 0 0,-4 5 30 0 0,19-11 10 0 0,-17 13-73 0 0,-5 3 12 0 0,0-1-1 0 0,0 1 1 0 0,-1-1-1 0 0,1 0 1 0 0,0 0-1 0 0,0 0 1 0 0,0 0-1 0 0,0 0 1 0 0,-1-1 0 0 0,1 0-1 0 0,-1 1 1 0 0,2-2-23 0 0,-3 2 160 0 0,0 1-135 0 0,1-1 1 0 0,0 0 0 0 0,-1 0 0 0 0,1 0 0 0 0,0 0-1 0 0,-1 0 1 0 0,1 0 0 0 0,-1 0 0 0 0,1-1-26 0 0,-2 2-2 0 0,15-10-220 0 0,0-2-12 0 0,-13 11 234 0 0,-1 0 0 0 0,1 0 0 0 0,0 0 0 0 0,-1 0 0 0 0,1 0 0 0 0,0 0 0 0 0,0 1 0 0 0,-1-1 0 0 0,2 1 0 0 0,5-1 0 0 0,0-2 11 0 0,-3 2 32 0 0,6-4-31 0 0,-10 3-14 0 0,2 0 3 0 0,0 0 1 0 0,-1 0-1 0 0,1 0 0 0 0,0 0 0 0 0,0 0 0 0 0,1 1 1 0 0,-1-1-1 0 0,0 1 0 0 0,2 0-1 0 0,-2 0 43 0 0,3 0-33 0 0,0-5-10 0 0,2 1 0 0 0,17-6 0 0 0,-16 8 0 0 0,2 3 0 0 0,1 0 0 0 0,1 0 8 0 0,-11 0 12 0 0,2-3 5 0 0,20-3-14 0 0,-15 3-11 0 0,0-1 0 0 0,2 1 0 0 0,-1-1 0 0 0,2 0 0 0 0,0 0 0 0 0,-2 1 0 0 0,2 2 0 0 0,0-1 0 0 0,-5 1 11 0 0,-4 1 32 0 0,8-4-33 0 0,1 0-10 0 0,-2 0 0 0 0,7-1 0 0 0,-13 6 0 0 0,0 0 0 0 0,6 1 11 0 0,-6-1 32 0 0,4-2-33 0 0,3 0-10 0 0,-2 2 0 0 0,15-4 0 0 0,-22 3 0 0 0,-1 0 0 0 0,1-1 0 0 0,-1 1 0 0 0,1 0 0 0 0,-1 0 0 0 0,1 0 0 0 0,0 0 0 0 0,-1 0 0 0 0,1 1 0 0 0,-1-1 0 0 0,1 0 0 0 0,1 1 0 0 0,13 4 65 0 0,-14-3-39 0 0,0-1 49 0 0,-2-1-76 0 0,0 0 0 0 0,0 0 0 0 0,0 1 0 0 0,0-1 0 0 0,0 0 0 0 0,0 0 0 0 0,0 1 0 0 0,0-1 0 0 0,0 0 1 0 0,1 0-1 0 0,-1 1 0 0 0,0-1 0 0 0,0 0 0 0 0,0 0 0 0 0,0 1 0 0 0,0-1 0 0 0,0 0 0 0 0,1 0 0 0 0,-1 1 0 0 0,0-1 1 0 0,0 0-1 0 0,0 0 0 0 0,0 0 0 0 0,1 0 0 0 0,-1 1 0 0 0,0-1 0 0 0,0 0 0 0 0,0 0 0 0 0,1 0 0 0 0,-1 0 1 0 0,0 0-1 0 0,0 0 0 0 0,1 0 0 0 0,-1 1 0 0 0,0-1 0 0 0,0 0 0 0 0,1 0 0 0 0,-1 0 0 0 0,0 0 0 0 0,1 0 0 0 0,-1 0 1 0 0,0 0-1 0 0,0 0 1 0 0,18 6-39 0 0,-12-4 39 0 0,-4-1 0 0 0,0 0 0 0 0,0-1 0 0 0,0 1 0 0 0,0-1 0 0 0,0 0 0 0 0,0 1 0 0 0,1-1 0 0 0,-1 0 0 0 0,0 0 0 0 0,0 0 0 0 0,2-1 0 0 0,-2 1 0 0 0,27 0 11 0 0,-21 0 44 0 0,-5 0-47 0 0,0 0 0 0 0,0 1 0 0 0,0-1 0 0 0,1 1 0 0 0,-1 0 0 0 0,0-1 0 0 0,1 2-8 0 0,4 0 52 0 0,6-1-106 0 0,-12-1 41 0 0,0 0-1 0 0,0 0 1 0 0,0 0 0 0 0,0 0-1 0 0,0 1 1 0 0,0-1 0 0 0,0 1 0 0 0,0-1-1 0 0,1 1 14 0 0,-1 1 0 0 0,15-1 0 0 0,-15-2 0 0 0,15 10 0 0 0,3-1 0 0 0,-19-6 0 0 0,11 3 0 0 0,10 0 0 0 0,-11-2 0 0 0,-2 1 0 0 0,-2 0 0 0 0,-1 0 0 0 0,2 2 0 0 0,-1-2 11 0 0,-4-3 32 0 0,3 3-33 0 0,3 0-10 0 0,-2 1 11 0 0,-4-2 32 0 0,8 3-33 0 0,1-2-10 0 0,-3 3 0 0 0,0-3 0 0 0,2 3 11 0 0,-1 1 32 0 0,0 1-29 0 0,-8-10-20 0 0,1 2 13 0 0,13 15 63 0 0,-12-13-27 0 0,11 5-30 0 0,-14-8-16 0 0,0 1 0 0 0,-1 0-1 0 0,1 0 1 0 0,-1 0 0 0 0,1 0-1 0 0,0-1 1 0 0,0 1-1 0 0,0 0 1 0 0,-1-1 0 0 0,1 1-1 0 0,0-1 1 0 0,0 1 0 0 0,0-1-1 0 0,0 1 1 0 0,0-1 0 0 0,1 1 3 0 0,1 2 65 0 0,4 3-4 0 0,2 2-38 0 0,-1-1 30 0 0,-1 2 11 0 0,11 15 0 0 0,-13-16-64 0 0,3 0 0 0 0,-1 1-24 0 0,-6-7-92 0 0,-1-2-6 0 0,6 9 210 0 0,-4-6 2 0 0,-1-2-79 0 0,0 1 0 0 0,0-1 0 0 0,0 1 0 0 0,0-1 0 0 0,0 0 0 0 0,0 0 0 0 0,1 1 0 0 0,-1-1 0 0 0,0 0 0 0 0,1 0 0 0 0,-1 0 0 0 0,1 0 0 0 0,0 0-11 0 0,1 0 16 0 0,14 17-11 0 0,-11-11-5 0 0,1-2 0 0 0,-2 2 0 0 0,-5-7-13 0 0,0 1 0 0 0,1 0 0 0 0,-1 0 0 0 0,1 0 0 0 0,-1 0 0 0 0,1-1 0 0 0,-1 1 1 0 0,1 0-1 0 0,-1-1 0 0 0,1 1 0 0 0,0 0 0 0 0,-1-1 0 0 0,1 1 0 0 0,0 0 0 0 0,-1-1 0 0 0,1 1 0 0 0,0-1 0 0 0,0 0 13 0 0,3 5-7 0 0,-4-5 16 0 0,0 1 0 0 0,1-1 0 0 0,-1 1 0 0 0,0-1 0 0 0,0 1 0 0 0,0-1 0 0 0,1 1 0 0 0,-1-1 0 0 0,0 0 0 0 0,1 1 0 0 0,-1-1 0 0 0,0 0 0 0 0,1 1 0 0 0,-1-1 0 0 0,0 0 0 0 0,1 1 0 0 0,-1-1 0 0 0,1 0 0 0 0,-1 0 0 0 0,1 1 0 0 0,-1-1-9 0 0,7 5-142 0 0,2 17 391 0 0,-9-21-267 0 0,1 1-1 0 0,-1-1 1 0 0,0 0-1 0 0,0 0 1 0 0,1 0-1 0 0,-1 0 1 0 0,1-1-1 0 0,-1 1 1 0 0,1 0-1 0 0,-1 0 1 0 0,1 0-1 0 0,0 0 1 0 0,-1 0-1 0 0,1-1 1 0 0,0 1-1 0 0,0 0 1 0 0,-1 0-1 0 0,1-1 19 0 0,2 2-27 0 0,-2 0-69 0 0,1-1 142 0 0,-1 0-1 0 0,0 1 1 0 0,0-1-1 0 0,0 0 1 0 0,0 1 0 0 0,0-1-1 0 0,0 1 1 0 0,-1 0 0 0 0,1-1-1 0 0,0 2-45 0 0,3 6-4 0 0,-2-8 19 0 0,1 0-244 0 0,16 21 245 0 0,-18-21-166 0 0,-1-1 40 0 0,4 3 214 0 0,-4-3-91 0 0,0 0-1 0 0,0 0 1 0 0,1 1-1 0 0,-1-1 1 0 0,0 0-1 0 0,0 0 1 0 0,0 0-1 0 0,1 1 0 0 0,-1-1 1 0 0,0 0-1 0 0,0 0 1 0 0,1 0-1 0 0,-1 1 1 0 0,0-1-1 0 0,0 0 1 0 0,1 0-1 0 0,-1 0 1 0 0,0 0-1 0 0,0 0 1 0 0,1 0-1 0 0,-1 0 1 0 0,0 0-1 0 0,1 0 0 0 0,-1 0 1 0 0,0 0-1 0 0,0 0 1 0 0,1 0-1 0 0,-1 0 1 0 0,0 0-1 0 0,1 0-12 0 0,-1 0-86 0 0,0 0-46 0 0,0 0-18 0 0,0 0 40 0 0,0 0 171 0 0,2 2-22 0 0,-1-1 0 0 0,1 0 1 0 0,0 1-1 0 0,0-1 0 0 0,-1 0 1 0 0,1 0-1 0 0,0 0 0 0 0,0-1 0 0 0,0 1 1 0 0,0 0-1 0 0,1 0-39 0 0,-2-2-54 0 0,9 2-396 0 0,-5 2-673 0 0,-5-3-6992 0 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7:46.399"/>
    </inkml:context>
    <inkml:brush xml:id="br0">
      <inkml:brushProperty name="width" value="0.1" units="cm"/>
      <inkml:brushProperty name="height" value="0.1" units="cm"/>
    </inkml:brush>
  </inkml:definitions>
  <inkml:trace contextRef="#ctx0" brushRef="#br0">424 5942 1840 0 0,'0'0'263'0'0,"0"0"430"0"0,0 0 188 0 0,0 0 42 0 0,0 0-58 0 0,0 0-262 0 0,0 0-113 0 0,0 0-18 0 0,0 0-17 0 0,0 0-47 0 0,0 0-21 0 0,0 0-3 0 0,0 0-22 0 0,0 0-88 0 0,0 0-40 0 0,0 0-8 0 0,0 0-4 0 0,0 0-6 0 0,0 0-6 0 0,0 0-2 0 0,-8 6 304 0 0,2-2-436 0 0,0 0 1 0 0,0 0 0 0 0,0 1 0 0 0,1 0-1 0 0,-1 0 1 0 0,1 0 0 0 0,-1 3-77 0 0,-7 5-224 0 0,-4 3 543 0 0,-12 14-7 0 0,-13 16-312 0 0,3-8 0 0 0,36-35 0 0 0,-8 8 0 0 0,2 0 0 0 0,-1 1 0 0 0,2 0 0 0 0,0 1 0 0 0,-5 8 0 0 0,1 4 0 0 0,2 1 0 0 0,0 0 0 0 0,-2 11 0 0 0,3-8 0 0 0,6-18 5 0 0,1 0 1 0 0,0-1-1 0 0,0 12-5 0 0,1-14-52 0 0,0 0 1 0 0,0 0-1 0 0,-1 0 0 0 0,0 1 0 0 0,0-1 0 0 0,0-1 0 0 0,-1 1 52 0 0,-1 1-23 0 0,0 0 0 0 0,1 0 1 0 0,1 1-1 0 0,-1 3 23 0 0,1-3 21 0 0,-1-1 0 0 0,1 1 0 0 0,-2-1 0 0 0,-1 4-21 0 0,3-9-28 0 0,1 1 0 0 0,0-1 0 0 0,0 1 0 0 0,0 0-1 0 0,0-1 1 0 0,1 1 0 0 0,0 0 0 0 0,0 0 28 0 0,-4 30 512 0 0,0-12-501 0 0,0 1 0 0 0,2 0-1 0 0,1 0 1 0 0,1 15-11 0 0,0-36 2 0 0,-6 82 254 0 0,-4-57-122 0 0,0 53 159 0 0,4-4-282 0 0,1 5-11 0 0,6-49 0 0 0,3 0 0 0 0,1 0 0 0 0,4 15 0 0 0,3 12 0 0 0,-10-23 0 0 0,-2-29 0 0 0,1 0 0 0 0,0 1 0 0 0,0-1 0 0 0,1 4 0 0 0,10 49 0 0 0,-11-57 0 0 0,0 0 0 0 0,0-1 0 0 0,0 1 0 0 0,1-1 0 0 0,-1 1 0 0 0,1-1 0 0 0,2 2 0 0 0,9 23 0 0 0,-9-14 0 0 0,0 0 0 0 0,1-1 0 0 0,1 0 0 0 0,0 0 0 0 0,1 0 0 0 0,7 8 0 0 0,-10-14 0 0 0,-1 0 0 0 0,1 1 0 0 0,-1-1 0 0 0,-1 1 0 0 0,1 1 0 0 0,8 20 0 0 0,12 17 0 0 0,-5-2 0 0 0,-11-27 0 0 0,-5-12 0 0 0,0 0 0 0 0,1 0 0 0 0,-1 0 0 0 0,1-1 0 0 0,0 1 0 0 0,2 2 0 0 0,3 3 18 0 0,0 0 1 0 0,-1 0-1 0 0,-1 0 1 0 0,6 12-19 0 0,21 29 54 0 0,-14-24-54 0 0,-14-19 0 0 0,1-1 0 0 0,-1 1 0 0 0,1-1 0 0 0,1 0 0 0 0,-1-1 0 0 0,1 0 0 0 0,7 6 0 0 0,-10-9 0 0 0,0 1 0 0 0,-1 0 0 0 0,1 0 0 0 0,-1 0 0 0 0,0 0 0 0 0,0 1 0 0 0,-1-1 0 0 0,1 1 0 0 0,-1-1 0 0 0,0 1 0 0 0,0 0 0 0 0,0 2 0 0 0,15 29 0 0 0,15 12 0 0 0,-32-47 0 0 0,1 1 0 0 0,0-1 0 0 0,0 1 0 0 0,0-1 0 0 0,0 1 0 0 0,0-1 0 0 0,0 0 0 0 0,0 0 0 0 0,0 1 0 0 0,0-1 0 0 0,1 0 0 0 0,-1 0 0 0 0,0 0 0 0 0,1 0 0 0 0,3 3 0 0 0,9 10 0 0 0,1 0 0 0 0,6 5 0 0 0,-1-1 0 0 0,18 16 0 0 0,-7-13 0 0 0,-28-17 0 0 0,16 10 0 0 0,1 1 0 0 0,-13-10 0 0 0,-1 0 0 0 0,1 0 0 0 0,0-1 0 0 0,0 0 0 0 0,4 1 0 0 0,45 29 0 0 0,-42-25 0 0 0,-5-4 0 0 0,11 8 0 0 0,3-1 0 0 0,4 0 0 0 0,59 12 0 0 0,-83-21 0 0 0,-2-3 0 0 0,-1 1 0 0 0,1-1 0 0 0,-1 1 0 0 0,1-1 0 0 0,0 1 0 0 0,-1-1 0 0 0,1 0 0 0 0,-1 1 0 0 0,1-1 0 0 0,0 0 0 0 0,-1 1 0 0 0,1-1 0 0 0,0 0 0 0 0,0 0 0 0 0,-1 0 0 0 0,1 1 0 0 0,0-1 0 0 0,-1 0 0 0 0,1 0 0 0 0,0 0 0 0 0,0 0 0 0 0,5-1 0 0 0,-4 1 0 0 0,0 0 0 0 0,-1 0 0 0 0,1 0 0 0 0,0 0 0 0 0,-1 0 0 0 0,1 0 0 0 0,-1 0 0 0 0,1 0 0 0 0,0 1 0 0 0,-1-1 0 0 0,1 1 0 0 0,-1-1 0 0 0,1 1 0 0 0,0 0 0 0 0,-1 0 0 0 0,0 0 0 0 0,1 0 0 0 0,16 7 0 0 0,-12-6 0 0 0,30 7 0 0 0,-23-3 0 0 0,17 7 0 0 0,-13-7 0 0 0,-8-2 0 0 0,1-1 0 0 0,-1 0 0 0 0,1-1 0 0 0,3 0 0 0 0,24 11 0 0 0,-34-12-4 0 0,-1 1 1 0 0,1-1-1 0 0,0 1 1 0 0,-1-1-1 0 0,0 1 1 0 0,1 0-1 0 0,-1 0 1 0 0,0 0-1 0 0,0 0 1 0 0,1 2 3 0 0,-1-2-3 0 0,0 0 0 0 0,0 0 0 0 0,-1-1 0 0 0,1 1 0 0 0,0 0 0 0 0,1-1 0 0 0,-1 0 0 0 0,0 1 1 0 0,0-1-1 0 0,1 0 3 0 0,12 7-24 0 0,-10-5 16 0 0,0-1 0 0 0,0 1 0 0 0,1-1 0 0 0,-1 0 0 0 0,1 0 0 0 0,1 0 8 0 0,8 3 0 0 0,-12-3 0 0 0,0-1 0 0 0,1 0 0 0 0,0 0 0 0 0,-1 0 0 0 0,1 0 0 0 0,0 0 0 0 0,-1-1 0 0 0,2 1 0 0 0,15 0 0 0 0,-15 2 0 0 0,-4-2 0 0 0,1 0 0 0 0,-1 0 0 0 0,0 0 0 0 0,1-1 0 0 0,-1 1 0 0 0,0 0 0 0 0,1-1 0 0 0,-1 1 0 0 0,1-1 0 0 0,-1 1 0 0 0,1-1 0 0 0,-1 0 0 0 0,1 1 0 0 0,-1-1 0 0 0,1 0 0 0 0,-1 0 0 0 0,2 0 0 0 0,9 0 0 0 0,-11 0 0 0 0,-1 0 0 0 0,1 0 0 0 0,0 0 0 0 0,0 0 0 0 0,0-1 0 0 0,0 1 0 0 0,0 0 0 0 0,0 0 0 0 0,-1 1 0 0 0,1-1 0 0 0,0 0 0 0 0,0 0 0 0 0,0 0 0 0 0,0 0 0 0 0,0 1 0 0 0,-1-1 0 0 0,1 0 0 0 0,0 1 0 0 0,1 0 0 0 0,-1 0 0 0 0,0-1 0 0 0,0 1 0 0 0,0 0 0 0 0,0 0 0 0 0,1-1 0 0 0,-1 1 0 0 0,0-1 0 0 0,0 1 0 0 0,1-1 0 0 0,-1 0 0 0 0,1 0 0 0 0,-1 1 0 0 0,0-1 0 0 0,1 0 0 0 0,-1 0 0 0 0,0 0 0 0 0,1 0 0 0 0,13 1 0 0 0,-14-3 0 0 0,7 4 0 0 0,17 8 0 0 0,-13-6 0 0 0,35 10 0 0 0,-32-12 0 0 0,-3 0 0 0 0,36 4-64 0 0,-32-3 64 0 0,-13-4 0 0 0,3 0 0 0 0,34 10 0 0 0,-14 5 0 0 0,17 0 0 0 0,-33-13 0 0 0,44 2 0 0 0,-37-3 0 0 0,-13 0 0 0 0,12 5 0 0 0,49 14 0 0 0,-23-17 180 0 0,-38-2-149 0 0,0 0 0 0 0,0 0 0 0 0,0 0 1 0 0,0 0-1 0 0,0 1 0 0 0,0 0 0 0 0,0-1 0 0 0,1 2-31 0 0,0 0-133 0 0,22 0-395 0 0,-25-2 528 0 0,51-6-153 0 0,-20 2 20 0 0,41-10-727 0 0,-68 13 715 0 0,0 0 0 0 0,0-1 0 0 0,0 1-1 0 0,-1-1 1 0 0,5-2 145 0 0,8-2-272 0 0,16 0-240 0 0</inkml:trace>
  <inkml:trace contextRef="#ctx0" brushRef="#br0" timeOffset="1539.578">879 6080 1376 0 0,'0'11'311'0'0,"-1"-2"1054"0"0,0 0 1 0 0,-1-1 0 0 0,0 1 0 0 0,0 0 0 0 0,-2 3-1366 0 0,-5 17 1418 0 0,-1 8 417 0 0,8-31-1558 0 0,0 0-1 0 0,1-1 1 0 0,0 1 0 0 0,0 0-1 0 0,0 5-276 0 0,-3 17 430 0 0,3-19-382 0 0,0 0 0 0 0,1 0-1 0 0,0 0 1 0 0,0 0 0 0 0,1 0-1 0 0,0 0 1 0 0,0 1-48 0 0,3 35-279 0 0,6 26-1441 0 0,-10-55 979 0 0</inkml:trace>
  <inkml:trace contextRef="#ctx0" brushRef="#br0" timeOffset="1877.851">879 6822 1840 0 0,'0'0'80'0'0,"0"0"16"0"0,0 10-96 0 0,0 0 0 0 0,6 0 0 0 0,-6 0 0 0 0,4 3 272 0 0,-4 1 32 0 0,0 0 8 0 0</inkml:trace>
  <inkml:trace contextRef="#ctx0" brushRef="#br0" timeOffset="2231.498">889 7295 3680 0 0,'0'0'284'0'0,"0"10"829"0"0,0-1 41 0 0,0 0-1 0 0,1 0 1 0 0,0 0 0 0 0,2 8-1154 0 0,-2-14 135 0 0,0-1 1 0 0,0 1 0 0 0,-1 0-1 0 0,1 0 1 0 0,-1 0 0 0 0,1 0-1 0 0,-1-1 1 0 0,0 3-136 0 0,2 17 319 0 0,0-4-102 0 0,-2-10-37 0 0,1 1 1 0 0,0-1 0 0 0,1 1 0 0 0,1 4-181 0 0,-2 10 39 0 0,-1-20-39 0 0,0-1 1 0 0,0 1 0 0 0,0 0-1 0 0,0-1 1 0 0,0 1 0 0 0,1 0-1 0 0,0-1 1 0 0,-1 1 0 0 0,1-1 0 0 0,0 1-1 0 0,1 1 0 0 0,-1 1 6 0 0,1 0 0 0 0,0 1-1 0 0,-1 0 1 0 0,0-1-1 0 0,-1 1 1 0 0,1-1 0 0 0,-1 1-1 0 0,0 0 1 0 0,0 0 0 0 0,-1 0-6 0 0,1 0-78 0 0,-1 0 0 0 0,1 0 0 0 0,0 0 0 0 0,1 0 0 0 0,-1 0-1 0 0,1 0 1 0 0,1-1 0 0 0,-1 1 0 0 0,1 0 0 0 0,0 1 78 0 0,13 30-68 0 0,-11-22-826 0 0,1-1-1 0 0,1 1 0 0 0,0-1 1 0 0,1-1-1 0 0,3 5 895 0 0,-9-16-519 0 0,16 37-1902 0 0,-6-10 2354 0 0,1 0 0 0 0,10 14 67 0 0,-9-18 1 0 0,3 24-1 0 0,-15-48 0 0 0,0 1 0 0 0,0 0 0 0 0,0 0 0 0 0,-1-1 0 0 0,1 1 0 0 0,0 0 0 0 0,-1 0 0 0 0,1 0 0 0 0,-1 0 0 0 0,0 0 0 0 0,0 1 0 0 0,3 8 0 0 0,6 7 10 0 0,-6-15 19 0 0,1 0 16 0 0,16 28 270 0 0,-9-16-116 0 0,2 5-136 0 0,-3-7-79 0 0,-5-2-117 0 0</inkml:trace>
  <inkml:trace contextRef="#ctx0" brushRef="#br0" timeOffset="2600.105">1227 8246 1376 0 0,'0'0'64'0'0,"0"0"8"0"0,0 0-72 0 0,10 8 0 0 0,-4-2 0 0 0,0 4 0 0 0,-2-6 968 0 0,8 0 184 0 0,-8 6 32 0 0,8-4 0 0 0,-7-2-848 0 0</inkml:trace>
  <inkml:trace contextRef="#ctx0" brushRef="#br0" timeOffset="2601.105">1601 8470 4032 0 0,'0'0'183'0'0,"2"1"-10"0"0,9 3-103 0 0,-1 0 1 0 0,1 1-1 0 0,-1 0 1 0 0,0 1-1 0 0,-1 0 1 0 0,4 4-71 0 0,29 15-466 0 0,-34-17 246 0 0,1 0 0 0 0,1-1-1 0 0,-1 0 1 0 0,1-1 0 0 0,9 4 220 0 0,33 30 188 0 0,-2-12-388 0 0,-34-18-32 0 0</inkml:trace>
  <inkml:trace contextRef="#ctx0" brushRef="#br0" timeOffset="3341.432">2009 5910 1376 0 0,'0'0'285'0'0,"0"0"662"0"0,0 0 292 0 0,0 0 59 0 0,0 0-75 0 0,0 0-369 0 0,0 0-159 0 0,0 0-30 0 0,0 0-33 0 0,0 0-108 0 0,0 0-48 0 0,0 0-10 0 0,0 0-14 0 0,0 0-50 0 0,-8 10 701 0 0,5-7-1024 0 0,1-2-43 0 0,1 1-1 0 0,-1-1 1 0 0,0 1 0 0 0,1 0-1 0 0,0-1 1 0 0,0 1 0 0 0,-1 0 0 0 0,1 0-1 0 0,0 0 1 0 0,0 0 0 0 0,0 0-1 0 0,1 0 1 0 0,-1 0 0 0 0,0 2-36 0 0,-10 31 73 0 0,8-29-98 0 0,1-1 0 0 0,0 1 1 0 0,0 0-1 0 0,0 0 0 0 0,1 1 0 0 0,0-1 1 0 0,0 2 24 0 0,0 4-856 0 0,-4 5-308 0 0</inkml:trace>
  <inkml:trace contextRef="#ctx0" brushRef="#br0" timeOffset="3695.082">1918 6513 920 0 0,'0'11'80'0'0,"0"19"2184"0"0,0 3 60 0 0,-1-1 0 0 0,-3 24-2324 0 0,3-49 47 0 0,1-1 0 0 0,0 0 0 0 0,0 0 1 0 0,1 1-1 0 0,1 3-47 0 0,1 21 40 0 0,6 72-1262 0 0,-9-84 648 0 0</inkml:trace>
  <inkml:trace contextRef="#ctx0" brushRef="#br0" timeOffset="5417.946">2153 1085 2760 0 0,'0'0'367'0'0,"2"2"497"0"0,12 16 1768 0 0,1-1 1 0 0,1 0 0 0 0,16 12-2633 0 0,-16-21 399 0 0,-3-3-254 0 0,24 22-50 0 0,-2 2-2421 0 0,-2 1 1 0 0,-1 2 0 0 0,7 11 2325 0 0,9-5-2996 0 0,0 10 3323 0 0,-38-40-295 0 0,2-3 21 0 0</inkml:trace>
  <inkml:trace contextRef="#ctx0" brushRef="#br0" timeOffset="5856.383">2655 1684 1840 0 0,'0'0'160'0'0,"0"0"-160"0"0,0 0 0 0 0,0 0 0 0 0,6 18 560 0 0,0-2 80 0 0,-6-16 8 0 0,10 8 8 0 0,-10-8-464 0 0,12 16-96 0 0,-2-2-24 0 0,-4-4 0 0 0,-6-10-168 0 0</inkml:trace>
  <inkml:trace contextRef="#ctx0" brushRef="#br0" timeOffset="6216.986">2758 2017 920 0 0,'1'10'80'0'0,"-1"-7"90"0"0,1-1 0 0 0,0 1 0 0 0,0 0 0 0 0,-1-1 1 0 0,1 0-1 0 0,1 1 0 0 0,-1-1 0 0 0,0 0 0 0 0,1 1 0 0 0,0 0-170 0 0,12 23 2396 0 0,-8-10-1960 0 0,-1 1 0 0 0,-1 0-1 0 0,1 8-435 0 0,-3-18 111 0 0,-1-1 0 0 0,-1 0 0 0 0,1 1 0 0 0,-1-1 0 0 0,-1 1 0 0 0,1-1 0 0 0,-1 1 0 0 0,0-1 0 0 0,0 0 0 0 0,-1 0 0 0 0,0 2-111 0 0,0-4 152 0 0,1 0-1 0 0,0 0 1 0 0,0 1-1 0 0,0-1 1 0 0,1 0-1 0 0,-1 4-151 0 0,-3 19 410 0 0,0-15-268 0 0,-5 12 787 0 0,1 1 0 0 0,-4 24-929 0 0,9-36 45 0 0,-1 0 0 0 0,-1 1 1 0 0,-4 7-46 0 0,-2 6 32 0 0,9-23-26 0 0,0 1-1 0 0,0-1 1 0 0,-1 0 0 0 0,0 1 0 0 0,-3 3-6 0 0,4-5 5 0 0,-1 1 0 0 0,0 0 0 0 0,1 0 0 0 0,0 0 0 0 0,0 0 0 0 0,0 0 0 0 0,0 3-5 0 0,-1 1-143 0 0,-1-1 1 0 0,0 1-1 0 0,0-1 1 0 0,-1 0-1 0 0,0 0 1 0 0,0 0-1 0 0,-1 0 143 0 0,4-5-154 0 0,-9 12-3462 0 0</inkml:trace>
  <inkml:trace contextRef="#ctx0" brushRef="#br0" timeOffset="6570.311">2191 1174 920 0 0,'0'0'224'0'0,"0"0"605"0"0,0 0 267 0 0,0 3 51 0 0,0 3-807 0 0,1 0 0 0 0,0 0 0 0 0,0 0-1 0 0,1 0 1 0 0,-1 0 0 0 0,2-1 0 0 0,-1 1 0 0 0,0 0 0 0 0,1-1 0 0 0,0 0 0 0 0,0 1 0 0 0,1-1 0 0 0,0 0-1 0 0,0-1 1 0 0,0 1-340 0 0,65 66 272 0 0,-56-59-248 0 0,-9-9-19 0 0,-1 1 0 0 0,1-1 0 0 0,-1 1 0 0 0,0 0 0 0 0,0 0 0 0 0,1 1-5 0 0,12 19 17 0 0,-9-15-5 0 0,-2 0-1 0 0,1 0 1 0 0,-1 0 0 0 0,3 8-12 0 0,6 38 0 0 0,-12-43 0 0 0,1 0 0 0 0,0 0 0 0 0,1-1 0 0 0,0 1 0 0 0,3 6 0 0 0,-3-10-10 0 0,-1 1 1 0 0,0-1 0 0 0,0 1 0 0 0,-1 0-1 0 0,0 0 1 0 0,0 9 9 0 0,3 12-27 0 0,15 75-297 0 0,-18-79 192 0 0,0 0 0 0 0,-2 0-1 0 0,-2 13 133 0 0,1 15-135 0 0,1 141-270 0 0,9-119-685 0 0,-9-60 594 0 0,0 1-86 0 0</inkml:trace>
  <inkml:trace contextRef="#ctx0" brushRef="#br0" timeOffset="-14194.298">440 2687 920 0 0,'0'0'211'0'0,"0"0"547"0"0,0 0 238 0 0,0 0 48 0 0,0 0-58 0 0,0 0-292 0 0,0 0-129 0 0,0 0-21 0 0,0 0-20 0 0,0 0-56 0 0,0 0-20 0 0,0 0-6 0 0,0 0-22 0 0,0 0-86 0 0,0 0-40 0 0,0 0-6 0 0,0 0 0 0 0,0 0 0 0 0,0 0 0 0 0,0 0 0 0 0,0 0-6 0 0,0 0-20 0 0,0 0-8 0 0,0 0-4 0 0,0 0-1 0 0,0 0 6 0 0,0 0 1 0 0,0 0 0 0 0,0 0-14 0 0,0 0-55 0 0,0 0-24 0 0,0 0-3 0 0,0 0 0 0 0,0 0-2 0 0,0 0-4 0 0,0 0-2 0 0,0 0-2 0 0,0 0-4 0 0,0 0-2 0 0,0 0 0 0 0,0 0-3 0 0,0 0-10 0 0,0 0-3 0 0,-24 0 824 0 0,-12-17-257 0 0,36 17-693 0 0,0 0 0 0 0,0 0-1 0 0,0 0 1 0 0,0 0-1 0 0,0 0 1 0 0,0 0-1 0 0,0 0 1 0 0,0 0 0 0 0,0 1-1 0 0,0-1 1 0 0,0 0-1 0 0,0 0 1 0 0,0 0-1 0 0,0 0 1 0 0,0 0 0 0 0,0 0-1 0 0,0 0 1 0 0,0 0-1 0 0,0 0 1 0 0,0 0-1 0 0,0 0 1 0 0,0 0-1 0 0,0 1 1 0 0,0-1 0 0 0,-1 0-1 0 0,1 0 1 0 0,0 0-1 0 0,0 0 1 0 0,0 0-1 0 0,0 0 1 0 0,0 0 0 0 0,0 0-1 0 0,0 0 1 0 0,0 0-1 0 0,0 0 1 0 0,0 0-1 0 0,-1 0 1 0 0,1 0-1 0 0,0 0 1 0 0,0 0 0 0 0,0 0-1 0 0,0 0 1 0 0,0 0-1 0 0,0 0 1 0 0,0 0-1 0 0,0 0 1 0 0,0 0 0 0 0,-1 0-1 0 0,1 0 1 0 0,0 0-1 0 0,0 0 1 0 0,0 0-1 0 0,0 0 1 0 0,0 0 0 0 0,0-1-1 0 0,0 1 1 0 0,0 0-1 0 0,0 0 1 0 0,0 0-1 0 0,0 0 1 0 0,0 0-1 0 0,0 0-1 0 0,-3 0-3 0 0,-22-12 133 0 0,-11-6 1168 0 0,20-2-1046 0 0,10 13-223 0 0,4 4 24 0 0,-2-1 11 0 0,-1 0 0 0 0,5 3 0 0 0,-4-1-46 0 0,1 0-1 0 0,-1-1 1 0 0,1 1-1 0 0,0-1 1 0 0,0 0-1 0 0,0 0 1 0 0,1 0-1 0 0,-1 0-17 0 0,0-5 60 0 0,1 5 0 0 0,-4-4-36 0 0,4 6-11 0 0,0-1-1 0 0,1 1 0 0 0,-1-1 1 0 0,0 1-1 0 0,0-1 0 0 0,1 0 0 0 0,-1 0 1 0 0,1 1-1 0 0,0-1 0 0 0,-1 0 1 0 0,1 0-1 0 0,0-1 0 0 0,0 1 0 0 0,0 0 1 0 0,0 0-1 0 0,1-1-12 0 0,-7-16 198 0 0,1-7-55 0 0,5 15-75 0 0,0 6-46 0 0,0-1 0 0 0,-1 1 0 0 0,1 0 0 0 0,-1 0 1 0 0,0 0-1 0 0,-1 0 0 0 0,0 0 0 0 0,-1-2-22 0 0,-4-9 99 0 0,4-6-80 0 0,4 21-16 0 0,0-1 57 0 0,0-7 12 0 0,-6-48 102 0 0,6 55-162 0 0,0 1 0 0 0,0-1 0 0 0,0 0 0 0 0,0 0 0 0 0,0 0 1 0 0,0 0-1 0 0,-1 1 0 0 0,1-1 0 0 0,-1 0 0 0 0,1 0 0 0 0,-1 0-12 0 0,-2-19 57 0 0,3-37 9 0 0,-2 53-55 0 0,0-12-1 0 0,0 12 42 0 0,-1 2-53 0 0,2-10 63 0 0,-2-1-50 0 0,1 5 12 0 0,0 1-1 0 0,1-1 1 0 0,0 0-1 0 0,0 0 1 0 0,1 0-24 0 0,-1 2 10 0 0,1 7-10 0 0,0-1 0 0 0,0 1 0 0 0,0-1 0 0 0,0 1 0 0 0,0 0 0 0 0,0-1 0 0 0,0 1 0 0 0,0 0 0 0 0,-1-1 0 0 0,1 1 0 0 0,0 0 0 0 0,0 0 0 0 0,0-1 0 0 0,0 1 0 0 0,-1 0 0 0 0,1-1-1 0 0,0 1 1 0 0,0 0 0 0 0,0 0 0 0 0,-1-1 0 0 0,1 1 0 0 0,0 0 0 0 0,-1 0 0 0 0,1 0 0 0 0,0-1 0 0 0,0 1 0 0 0,-1 0 0 0 0,1 0 0 0 0,0 0 0 0 0,-1 0 0 0 0,1 0 0 0 0,0 0 0 0 0,-1-1 0 0 0,1 1 0 0 0,0 0 0 0 0,-1 0-1 0 0,1 0 2 0 0,-2-2 4 0 0,1-22 55 0 0,6-13-60 0 0,-3 32 6 0 0,-1 0 0 0 0,1 1-1 0 0,-1-1 1 0 0,-1 0 0 0 0,1 0-1 0 0,0 1 1 0 0,-1-1 0 0 0,0 0-1 0 0,0-1-5 0 0,-1-17 13 0 0,4 2-13 0 0,0 9 0 0 0,-8-22 0 0 0,4 31 3 0 0,1 2-8 0 0,3-13 71 0 0,3-25-66 0 0,-9 31 0 0 0,3 7 0 0 0,0 0 0 0 0,-1 0 0 0 0,1 0 0 0 0,0 0 0 0 0,0 0 0 0 0,0 0 0 0 0,0 0 0 0 0,1 1 0 0 0,-1-1 0 0 0,0 0 0 0 0,0 0 0 0 0,0 0 0 0 0,1 0 0 0 0,-1 0 0 0 0,0 1 0 0 0,1-1 0 0 0,-1 0 0 0 0,1-1 0 0 0,1-1 0 0 0,0-1 0 0 0,4-15 0 0 0,-5 9 0 0 0,-1 9 0 0 0,0-1 0 0 0,0 0 0 0 0,0 0 0 0 0,0 0 0 0 0,0 0 1 0 0,0 0-1 0 0,1 0 0 0 0,-1 0 0 0 0,1 0 0 0 0,0 0 0 0 0,0-1 0 0 0,1-4 10 0 0,-1 4 33 0 0,-1 3-43 0 0,1-1 1 0 0,0 0-1 0 0,-1 1 0 0 0,1-1 1 0 0,-1 0-1 0 0,1 0 1 0 0,-1 0-1 0 0,1 1 0 0 0,-1-1 1 0 0,0 0-1 0 0,1 0 1 0 0,-1 0-1 0 0,0 0 1 0 0,0 1-1 0 0,0-1 0 0 0,0 0 1 0 0,0 0-1 0 0,1 0 1 0 0,-2 0-1 0 0,1 0 1 0 0,0 0-1 0 0,0 0 0 0 0,0 0 1 0 0,0 0-1 0 0,-1-5 0 0 0,11-26 66 0 0,-5 21-68 0 0,-4 1 2 0 0,-1 1 0 0 0,-1 8 0 0 0,1-1 0 0 0,0 1 0 0 0,0-1 0 0 0,0 0 0 0 0,1 1 0 0 0,-1-1 0 0 0,0 1 0 0 0,1-1 0 0 0,-1 0 0 0 0,1 1 0 0 0,-1-1 0 0 0,1 1 0 0 0,0-1 0 0 0,0 0 0 0 0,3-7 0 0 0,2-54 0 0 0,9 22 0 0 0,-15 37 0 0 0,2-12 0 0 0,3-3 0 0 0,-4 9 0 0 0,1 8 0 0 0,-2 2 0 0 0,1 0 0 0 0,-1-1 0 0 0,0 1 0 0 0,1 0 0 0 0,-1 0 0 0 0,1 0 0 0 0,-1-1 0 0 0,0 1 0 0 0,0 0 0 0 0,1 0 0 0 0,-1-1 0 0 0,0 1 0 0 0,1 0 0 0 0,-1-1 0 0 0,0 1 0 0 0,0 0 0 0 0,0-1 0 0 0,1 1 0 0 0,-1 0 0 0 0,0-1 0 0 0,0 1 0 0 0,0-1 0 0 0,0 1 0 0 0,0 0 0 0 0,0-1 0 0 0,1 1 0 0 0,-1-1 0 0 0,0 1 0 0 0,0-1 0 0 0,0 1 0 0 0,-1 0 0 0 0,1-1 0 0 0,0 1 0 0 0,0-7 0 0 0,1 2 0 0 0,11-17 0 0 0,-2-1 0 0 0,12-21 0 0 0,-13 29 0 0 0,-1-1 0 0 0,-1-1 0 0 0,0 1 0 0 0,0-1 0 0 0,-1-3 0 0 0,-5 16 0 0 0,1 0 0 0 0,-1-1 0 0 0,1 1 0 0 0,0 0 0 0 0,1 1 0 0 0,1-4 0 0 0,7-13 0 0 0,-7 10 0 0 0,1 0 0 0 0,12-17 0 0 0,-11 22 0 0 0,-5 4 0 0 0,0 0 0 0 0,0 0 0 0 0,0 0 0 0 0,0 0 0 0 0,0-1 0 0 0,0 1 0 0 0,0 0 0 0 0,0-1 0 0 0,0 1 0 0 0,-1-1 0 0 0,1 1 0 0 0,0-1 0 0 0,0 0 0 0 0,0-1 0 0 0,0 1 0 0 0,0-1 0 0 0,0 1 0 0 0,1 0 0 0 0,-1 0 0 0 0,1-1 0 0 0,0 1 0 0 0,-1 0 0 0 0,2 0 0 0 0,5-9 0 0 0,-1 2 0 0 0,-7 8 0 0 0,1 1 0 0 0,0-1 0 0 0,-1 0 0 0 0,1 1 0 0 0,-1-1 0 0 0,1 0 0 0 0,0 0 0 0 0,-1 0 0 0 0,0 0 0 0 0,1 1 0 0 0,-1-1 0 0 0,0 0 0 0 0,1 0 0 0 0,-1 0 0 0 0,0 0 0 0 0,0 0 0 0 0,0 0 0 0 0,0 0 0 0 0,0 0 0 0 0,0 0 0 0 0,0 0 0 0 0,0 0 0 0 0,0 0 0 0 0,0 0 0 0 0,0 1 0 0 0,-1-1 0 0 0,1-1 0 0 0,0-8 0 0 0,1 5 0 0 0,0 0 0 0 0,-1 0 0 0 0,1 0 0 0 0,-1-1 0 0 0,0 1 0 0 0,0-2 0 0 0,0-5 0 0 0,2 6 0 0 0,10-7 0 0 0,-9 8 0 0 0,1-10 0 0 0,13-32 0 0 0,-17 46 0 0 0,1 0 0 0 0,-1 0 0 0 0,0 0 0 0 0,0 0 0 0 0,0 0 0 0 0,1 0 0 0 0,-1 1 0 0 0,0-1 0 0 0,1 0 0 0 0,-1 0 0 0 0,1 0 0 0 0,-1 0 0 0 0,1 1 0 0 0,-1-1 0 0 0,1 0 0 0 0,-1 1 0 0 0,1-1 0 0 0,0 0 0 0 0,-1 1 0 0 0,1-1 0 0 0,1 0 0 0 0,2-3 0 0 0,-3-1 0 0 0,11-17 0 0 0,-10 17 0 0 0,21-22 0 0 0,-11 18 0 0 0,-9 7 0 0 0,-1 0 0 0 0,1 0 0 0 0,-1 0 0 0 0,0 0 0 0 0,1-1 0 0 0,-1 1 0 0 0,0-1 0 0 0,-1 1 0 0 0,1-1 0 0 0,0 0 0 0 0,0 0 0 0 0,-2 0 0 0 0,1 2 0 0 0,-1 1 0 0 0,0-1 0 0 0,1 0 0 0 0,-1 0 0 0 0,1 1 0 0 0,-1-1 0 0 0,1 0 0 0 0,-1 1 0 0 0,1-1 0 0 0,0 0 0 0 0,-1 1 0 0 0,1-1 0 0 0,0 1 0 0 0,-1-1 0 0 0,1 1 0 0 0,0-1 0 0 0,0 1 0 0 0,-1 0 0 0 0,1-1 0 0 0,0 1 0 0 0,1 0 0 0 0,-1-1 0 0 0,0 1 0 0 0,0-1 0 0 0,0 0 0 0 0,0 1 0 0 0,0-1 0 0 0,0 0 0 0 0,0 0 0 0 0,0 0 0 0 0,0 0 0 0 0,-1 0 0 0 0,1 0 0 0 0,0 0 0 0 0,0 0 0 0 0,15-20 0 0 0,15-9 0 0 0,-27 23 0 0 0,1 0 0 0 0,1 1 0 0 0,-1 0 0 0 0,1 0 0 0 0,0 0 0 0 0,4-3 0 0 0,-4 5 0 0 0,0-4 0 0 0,6-3 0 0 0,-11 10 0 0 0,0 0 0 0 0,0 1 0 0 0,1-1 0 0 0,-1 0 0 0 0,0 0 0 0 0,0 0 0 0 0,0 0 0 0 0,0 0 0 0 0,0 0 0 0 0,0 0 0 0 0,0-1 0 0 0,0 1 0 0 0,0 0 0 0 0,-1 0 0 0 0,0 1 0 0 0,1-1 0 0 0,-1 0 0 0 0,0 1 0 0 0,1-1 0 0 0,-1 1 0 0 0,1-1 0 0 0,-1 0 0 0 0,1 1 0 0 0,-1-1 0 0 0,1 1 0 0 0,0 0 0 0 0,-1-1 0 0 0,1 1 0 0 0,-1-1 0 0 0,1 1 0 0 0,0 0 0 0 0,0-1 0 0 0,-1 1 0 0 0,1 0 0 0 0,0 0 0 0 0,-1 0 0 0 0,2-1 0 0 0,5-3 0 0 0,-4 0 4 0 0,6-5 15 0 0,-1 2 22 0 0,9-6-41 0 0,-10 9 0 0 0,-2 1 0 0 0,-1 0 0 0 0,0 0 0 0 0,-1 0 0 0 0,1 0 0 0 0,0-1 0 0 0,-1 1 0 0 0,0-1 0 0 0,3-3 0 0 0,-2 3 0 0 0,1 0 0 0 0,0 0 0 0 0,1 0 0 0 0,-1 1-1 0 0,2-1 1 0 0,-4 2 2 0 0,1 0 0 0 0,-1 0 0 0 0,1 0 0 0 0,-1-1 0 0 0,0 0 0 0 0,3-2-2 0 0,11-2 53 0 0,-14 6-53 0 0,10-11 0 0 0,-13 9 0 0 0,1 3 0 0 0,-1-1 0 0 0,0 0 0 0 0,0 1 0 0 0,1-1 0 0 0,-1 1 0 0 0,1-1 0 0 0,-1 0 0 0 0,0 1 0 0 0,1-1 0 0 0,-1 1 0 0 0,1-1 0 0 0,-1 1 0 0 0,1-1 0 0 0,-1 1 0 0 0,1 0 0 0 0,0-1 0 0 0,-1 1 0 0 0,1 0 0 0 0,-1-1 0 0 0,1 1 0 0 0,0 0 0 0 0,0-1 0 0 0,7-3 0 0 0,-6 3 0 0 0,-1 0 0 0 0,1 0 0 0 0,-1 1 0 0 0,0-1 0 0 0,1 0 0 0 0,-1 0 0 0 0,0 0 0 0 0,0-1 0 0 0,0 1 0 0 0,0 0 0 0 0,0 0 0 0 0,0-1 0 0 0,0 1 0 0 0,0-1 0 0 0,1 0 0 0 0,-1 0 0 0 0,1 1 0 0 0,-1-1 0 0 0,1 0 0 0 0,0 1 0 0 0,0-1 0 0 0,0 1 0 0 0,0-1 0 0 0,0 1 0 0 0,0 0 0 0 0,1 0 0 0 0,-1-1 0 0 0,25-15 0 0 0,-26 17 0 0 0,-1-1 0 0 0,1 0 0 0 0,0 0 0 0 0,0 1 0 0 0,0-1 0 0 0,0 0 0 0 0,0 1 0 0 0,0-1 0 0 0,0 1 0 0 0,0-1 0 0 0,0 1 0 0 0,0 0 0 0 0,0-1 0 0 0,0 1 0 0 0,0 0 0 0 0,0 0 0 0 0,6-2 0 0 0,98-59 246 0 0,-102 60-285 0 0,9-11-96 0 0,-11 11 119 0 0,44-32 0 0 0,-14 12 352 0 0,-4-2-600 0 0,-19 15 254 0 0,1 0 0 0 0,0 1 0 0 0,1 0 0 0 0,-1 0 0 0 0,1 1 0 0 0,1 1 0 0 0,-1 0 0 0 0,10-4 10 0 0,13-9 0 0 0,-19 11 4 0 0,-13 5-10 0 0,1-2 13 0 0,23-8 52 0 0,-17 7-59 0 0,29-14 11 0 0,-12 14 42 0 0,-15 1-53 0 0,-6 2 0 0 0,-1 0 0 0 0,1 0 0 0 0,0 0 0 0 0,0 1 0 0 0,-1 0 0 0 0,1-1 0 0 0,0 1 0 0 0,0 1 0 0 0,0-1 0 0 0,40-15 54 0 0,-39 16-45 0 0,-2 0-8 0 0,-1-1-1 0 0,0 1 0 0 0,0 0 0 0 0,1-1 0 0 0,-1 0 0 0 0,0 1 0 0 0,0-1 0 0 0,0 0 0 0 0,0 0 0 0 0,0 0 0 0 0,1-1 0 0 0,7-1 0 0 0,0 2 0 0 0,1 0 0 0 0,11 0 0 0 0,-18 1 0 0 0,-1 0 0 0 0,0 0 0 0 0,0 0 0 0 0,1 0 0 0 0,-1-1 0 0 0,0 0 0 0 0,0 1 0 0 0,0-1 0 0 0,0 0 0 0 0,3-2 0 0 0,14 0 0 0 0,2-4 0 0 0,21-6 0 0 0,-39 12 0 0 0,-2 3 0 0 0,24-5 0 0 0,-24 3 0 0 0,0 0 0 0 0,0-1 0 0 0,0 1 0 0 0,-1-1 0 0 0,1 1 0 0 0,0-1 0 0 0,0 0 0 0 0,0 1 0 0 0,0-1 0 0 0,-1 0 0 0 0,1 0 0 0 0,-1 0 0 0 0,1-1 0 0 0,-1 2 0 0 0,-1-1 0 0 0,1 1 0 0 0,-1 0 0 0 0,1-1 0 0 0,0 1 0 0 0,-1 0 0 0 0,1 0 0 0 0,-1-1 0 0 0,1 1 0 0 0,0 0 0 0 0,-1 0 0 0 0,1 0 0 0 0,0 0 0 0 0,-1-1 0 0 0,1 1 0 0 0,0 0 0 0 0,-1 0 0 0 0,1 0 0 0 0,-1 1 0 0 0,1-1 0 0 0,41-5 118 0 0,-34 1-110 0 0,-6 4-11 0 0,-1-1 0 0 0,1 0 0 0 0,-1 1-1 0 0,1-1 1 0 0,0 1 0 0 0,-1 0 0 0 0,1-1 0 0 0,0 1 0 0 0,-1 0 0 0 0,1 0 0 0 0,0 0 0 0 0,-1 0 0 0 0,1 0 0 0 0,0 1 0 0 0,-1-1 0 0 0,1 0 0 0 0,0 1-1 0 0,-1-1 1 0 0,1 1 0 0 0,0 0 3 0 0,3 2 0 0 0,-3-3 0 0 0,-1 1 0 0 0,1 0 0 0 0,0 0 0 0 0,-1-1 0 0 0,1 1 0 0 0,-1-1 0 0 0,1 0 0 0 0,0 1 0 0 0,0-1 0 0 0,-1 0 0 0 0,1 0 0 0 0,0 0 0 0 0,0 0 0 0 0,-1 0 0 0 0,2-1 0 0 0,7-1 0 0 0,8-3 0 0 0,7 4 11 0 0,-9-2 43 0 0,-12 2-54 0 0,-1 0 0 0 0,0 0 0 0 0,1 0-1 0 0,-1 1 1 0 0,0-1 0 0 0,1 1 0 0 0,-1 0 0 0 0,2 0 0 0 0,-2 1 0 0 0,0 2 0 0 0,13 0 0 0 0,-1-2 0 0 0,1 0 0 0 0,-3 3 0 0 0,2-3 0 0 0,0 2 0 0 0,-9-2 3 0 0,6 0-8 0 0,13-2 61 0 0,-20 2-48 0 0,23-3 58 0 0,-23 1-66 0 0,21-1 0 0 0,-14 2 0 0 0,7 3 0 0 0,10-1 38 0 0,3 2 60 0 0,-18 0-98 0 0,-1 1 11 0 0,9 4 43 0 0,-17-8-52 0 0,11-2 49 0 0,-2 1-41 0 0,-2 1-10 0 0,6 0 0 0 0,0 6 11 0 0,-18-6-9 0 0,1-1 0 0 0,-1 0 0 0 0,0 0-1 0 0,0 0 1 0 0,1 0 0 0 0,-1 1 0 0 0,0-1 0 0 0,1 0 0 0 0,-1 0-1 0 0,0 0 1 0 0,0 0 0 0 0,1 0 0 0 0,-1 0 0 0 0,0 0 0 0 0,1 0-1 0 0,-1 0 1 0 0,0 0 0 0 0,1 0 0 0 0,-1 0 0 0 0,0 0 0 0 0,1 0 0 0 0,-1 0-1 0 0,0 0 1 0 0,0 0 0 0 0,1 0 0 0 0,-1-1 0 0 0,0 1 0 0 0,1 0-1 0 0,-1 0 1 0 0,0 0-2 0 0,6-2-3 0 0,7 9 4 0 0,18 12-1 0 0,-20-10 0 0 0,6 0 0 0 0,-13-7 0 0 0,1 0 0 0 0,12 0 0 0 0,2 4 0 0 0,-15-4 0 0 0,0-1 0 0 0,1 0 0 0 0,-1 0 0 0 0,0 0 0 0 0,1 0 0 0 0,-1-1 0 0 0,1 1 0 0 0,-1-1 0 0 0,3 0 0 0 0,19 9 0 0 0,-7 0 0 0 0,-10-6 0 0 0,6 0 0 0 0,33 7 54 0 0,-15 0-44 0 0,5-7-10 0 0,-28-1 0 0 0,5 5 0 0 0,-12-5 0 0 0,0-3 0 0 0,7 3 0 0 0,-2 5 0 0 0,5-1 0 0 0,-1 2 0 0 0,3 2 0 0 0,-13-9 0 0 0,4-1 0 0 0,30 9 0 0 0,-21-5 0 0 0,-2 1 0 0 0,2-1 0 0 0,1-3 0 0 0,0 0 0 0 0,0 3 0 0 0,58 25 0 0 0,-62-24 0 0 0,4 3 0 0 0,-1-2 0 0 0,-3 2 0 0 0,2-4 0 0 0,0-2 0 0 0,1 2 0 0 0,0 2 0 0 0,-4 1 11 0 0,1-1 32 0 0,2-1-33 0 0,-3 0-10 0 0,2 0 0 0 0,1-1 0 0 0,4 1 0 0 0,-14-3 0 0 0,12 5 0 0 0,-12-6 0 0 0,24 17 0 0 0,-7-8 0 0 0,-17-8 0 0 0,-3-1 0 0 0,11 10 0 0 0,5-2 0 0 0,9 2 0 0 0,-1 7 0 0 0,-2 1 0 0 0,4-1 0 0 0,-21-14 0 0 0,-4-4 0 0 0,-1 1 0 0 0,1 0 0 0 0,-1-1 0 0 0,0 1 0 0 0,1 0 0 0 0,-1 0 0 0 0,0 0 0 0 0,1 0 0 0 0,-1 0 0 0 0,0 0 0 0 0,0 0 0 0 0,0 0 0 0 0,0 1 0 0 0,0-1 0 0 0,0 1 0 0 0,8 6 0 0 0,-5-7 0 0 0,14 13 0 0 0,-1 1 0 0 0,-15-13 0 0 0,8 8 4 0 0,1-1-1 0 0,0 0 1 0 0,2 0-4 0 0,-10-7 43 0 0,0 5-33 0 0,4 6-10 0 0,-5-11 0 0 0,10 7 0 0 0,-5 1 0 0 0,46 80 0 0 0,-47-80 0 0 0,-2 1 0 0 0,2 1 0 0 0,0-2 0 0 0,4 0 0 0 0,9 13 0 0 0,-17-18 0 0 0,4 6 0 0 0,-3-3 0 0 0,4 5 0 0 0,6 3 0 0 0,11 22 0 0 0,-18-27 0 0 0,20 31 0 0 0,-15-23 0 0 0,-11-12 0 0 0,0-6 0 0 0,0 1 0 0 0,0-1 0 0 0,0 1 0 0 0,0-1 0 0 0,0 1 0 0 0,0-1 0 0 0,0 1 0 0 0,1-1 0 0 0,-1 1 0 0 0,1-1 0 0 0,-1 0 0 0 0,1 1 0 0 0,-1-1 0 0 0,1 1 0 0 0,0-1 0 0 0,0 1 0 0 0,10 21 0 0 0,5 7 0 0 0,-6-2 0 0 0,7 7 0 0 0,-16-31 0 0 0,9 18 0 0 0,-5-11 0 0 0,-4 2 0 0 0,3 1 0 0 0,1-3 0 0 0,1 1 0 0 0,-1 0 0 0 0,0 0 0 0 0,1-1 0 0 0,-5-9 0 0 0,7 17 0 0 0,-6 3 0 0 0,-1-16 0 0 0,1 3 0 0 0,1 0 0 0 0,-1 0 0 0 0,2-1 0 0 0,-1 1 0 0 0,1-1 0 0 0,4 6 0 0 0,-6-10 0 0 0,5 20 0 0 0,-5-18 0 0 0,-1-2 0 0 0,4 11 0 0 0,4-2 0 0 0,-7-11 0 0 0,1 1 0 0 0,2 15 0 0 0,1 18 0 0 0,4 14 0 0 0,-4-26 0 0 0,-5-22 0 0 0,1 7 0 0 0,-1 1 0 0 0,0-1 0 0 0,0 1 0 0 0,-1-1 0 0 0,-1 10 0 0 0,1-15 0 0 0,1 2 0 0 0,3 10 0 0 0,-3-4 0 0 0,0 0 0 0 0,-1-1 0 0 0,-1 6 0 0 0,1-11 0 0 0,0 99 0 0 0,0-19 64 0 0,0-73-64 0 0,0 26 0 0 0,-1-29 0 0 0,-3 4 0 0 0,3 0 0 0 0,1-3 0 0 0,0 36 0 0 0,0-38 0 0 0,-2 12 0 0 0,-11 30 0 0 0,12-27 0 0 0,0-11 0 0 0,-4 1 0 0 0,3-12 0 0 0,0 27 0 0 0,2-27 0 0 0,-5 22 0 0 0,-1 14 0 0 0,-3-8 0 0 0,2-7 0 0 0,-4 30 0 0 0,-4-6 0 0 0,0-5 0 0 0,10-33 0 0 0,-2 10 0 0 0,6-11 0 0 0,-9 18 0 0 0,-10 23 0 0 0,19-43 0 0 0,1-5 0 0 0,1 0 0 0 0,-1 0 0 0 0,0 1 0 0 0,0-1 0 0 0,0 0 0 0 0,0 0 0 0 0,-1 0 0 0 0,1 0 0 0 0,0 0 0 0 0,0 0 0 0 0,-1 0 0 0 0,1 0 0 0 0,0 0 0 0 0,-1 0 0 0 0,1 0 0 0 0,-1 0 0 0 0,0 0 0 0 0,1 0 0 0 0,-1 0 0 0 0,0 0 0 0 0,-3 7 0 0 0,2-4 0 0 0,2 0 0 0 0,-5 18 0 0 0,-22 25 0 0 0,24-43 0 0 0,-12 20 0 0 0,7-9 0 0 0,-7 1 54 0 0,-23 43-44 0 0,-6-14 54 0 0,8-13 0 0 0,26-22-63 0 0,9-7 1 0 0,0 0 6 0 0,-58 53 45 0 0,33-36-53 0 0,17-8 4 0 0,-3 3 46 0 0,8-12-21 0 0,0 1-1 0 0,1-1 1 0 0,0 1 0 0 0,0 0 0 0 0,0 0 0 0 0,0 0 0 0 0,-2 3-29 0 0,3-4 11 0 0,1 0 1 0 0,-1 1-1 0 0,-1-1 1 0 0,1-1-1 0 0,0 1 0 0 0,-1 0 1 0 0,1-1-1 0 0,-1 1 1 0 0,0-1-1 0 0,0 0 1 0 0,-1 1-12 0 0,4-3-11 0 0,-1 1 0 0 0,1-1 0 0 0,-1 0 0 0 0,0 1 0 0 0,1-1 0 0 0,-1 1 0 0 0,1-1 0 0 0,-1 1 0 0 0,1-1 0 0 0,-1 1 0 0 0,1-1 0 0 0,0 1 0 0 0,-1 0 0 0 0,1-1 0 0 0,0 1 0 0 0,-1 0 0 0 0,1-1 0 0 0,0 1 0 0 0,0 0 11 0 0,-7 10 147 0 0,-9 4 46 0 0,-14 16-514 0 0,24-24 321 0 0,-3 2 0 0 0,-8 0 0 0 0,14-8 0 0 0,-14 16 0 0 0,8-9 0 0 0,-32 20 0 0 0,21-5 0 0 0,19-21 0 0 0,-35 27 64 0 0,20-16-44 0 0,4 2 23 0 0,7-9-42 0 0,-2 2 26 0 0,-22 13 10 0 0,-10 17-37 0 0,1-7 0 0 0,38-30 0 0 0,0-1 0 0 0,-1 1 0 0 0,1-1 0 0 0,-1 0 0 0 0,1 1 0 0 0,-1-1 0 0 0,1 1 0 0 0,-1-1 0 0 0,1 0 0 0 0,-1 0 0 0 0,1 1 0 0 0,-1-1 0 0 0,1 0 0 0 0,-1 0 0 0 0,1 0 0 0 0,-1 1 0 0 0,0-1 0 0 0,1 0 0 0 0,-1 0 0 0 0,1 0 0 0 0,-1 0 0 0 0,0 0 0 0 0,1 0 0 0 0,-2 0 0 0 0,-20 10 0 0 0,11-4 29 0 0,8-4-5 0 0,-12 3-13 0 0,13-5-11 0 0,1-1 0 0 0,1 1 0 0 0,-1 0 0 0 0,1 0 0 0 0,-1 0 0 0 0,1 0 0 0 0,-1 0 0 0 0,1 0 0 0 0,-1 0 0 0 0,1 0 0 0 0,-1 1 0 0 0,0-1 0 0 0,1 0 0 0 0,-1 0 0 0 0,1 0 0 0 0,0 0 0 0 0,-1 1 0 0 0,1-1 0 0 0,-1 0 0 0 0,1 1 0 0 0,-1-1 0 0 0,1 0 0 0 0,0 1 0 0 0,-1-1 0 0 0,1 0 0 0 0,-1 1 0 0 0,1-1 0 0 0,0 1 0 0 0,-7 7 0 0 0,-5-2 0 0 0,10-6 0 0 0,-4 1 2 0 0,-1 0 0 0 0,0 0 0 0 0,1-1 0 0 0,-1-1 0 0 0,-4 1-2 0 0,6-1 44 0 0,1 1-43 0 0,0 1 0 0 0,0-1 1 0 0,1 0-1 0 0,-1 1 0 0 0,0 0 1 0 0,1 0-1 0 0,-1 0 0 0 0,-3 2-1 0 0,-40 7 0 0 0,14-1 0 0 0,-9-3 0 0 0,39-5 0 0 0,1 0 0 0 0,-1-1 0 0 0,1 1 0 0 0,-1-1 0 0 0,1 0 0 0 0,-1 0 0 0 0,1 0 0 0 0,-1 0 0 0 0,0 0 0 0 0,1 0 0 0 0,-1 0 0 0 0,1-1 0 0 0,-1 0 0 0 0,1 1 0 0 0,-1-1 0 0 0,1 0 0 0 0,-1 0 0 0 0,0-1 0 0 0,3 2 0 0 0,-1 0 0 0 0,1 0 0 0 0,0 0 0 0 0,-1-1 0 0 0,1 1 0 0 0,-1 0 0 0 0,1 0 0 0 0,0 0 0 0 0,-1 0 0 0 0,1 0 0 0 0,-1 0 0 0 0,1 0 0 0 0,0 0 0 0 0,-1 0 0 0 0,1 1 0 0 0,-1-1 0 0 0,1 0 0 0 0,0 0 0 0 0,-1 0 0 0 0,1 0 0 0 0,0 0 0 0 0,-1 1 0 0 0,1-1 0 0 0,0 0 0 0 0,-1 0 0 0 0,1 1 0 0 0,0-1 0 0 0,0 0 0 0 0,-1 1 0 0 0,1-1 0 0 0,0 0 0 0 0,-1 1 0 0 0,-42 13 0 0 0,38-12-92 0 0,1-1-1 0 0,0 0 0 0 0,-1 0 0 0 0,1 0 0 0 0,-1 0 1 0 0,1 0-1 0 0,-3-1 93 0 0,-8 2-777 0 0,-10-1-2186 0 0,12 3-4039 0 0</inkml:trace>
  <inkml:trace contextRef="#ctx0" brushRef="#br0" timeOffset="-12490.927">418 2707 1376 0 0,'0'0'220'0'0,"0"0"388"0"0,0 0 175 0 0,0 0 31 0 0,0 1-235 0 0,0 1 0 0 0,1-1 0 0 0,-1 0 0 0 0,0 0 0 0 0,1 0 0 0 0,-1 0 0 0 0,1 0 0 0 0,-1 1 0 0 0,1-1 0 0 0,0 0 0 0 0,-1 0 0 0 0,2 0-579 0 0,3 4 189 0 0,1 0 1 0 0,-1 1-1 0 0,0-1 0 0 0,0 1 1 0 0,-1 0-1 0 0,2 2-189 0 0,-6-8 3 0 0,0 0 1 0 0,0 1-1 0 0,0-1 0 0 0,0 0 1 0 0,0 0-1 0 0,0 0 0 0 0,0 1 1 0 0,0-1-1 0 0,1 0 0 0 0,-1 0 1 0 0,0 0-1 0 0,0 0 1 0 0,0 0-1 0 0,0 1 0 0 0,1-1 1 0 0,-1 0-1 0 0,0 0 0 0 0,0 0 1 0 0,0 0-1 0 0,1 0 0 0 0,-1 0 1 0 0,0 0-1 0 0,0 0 0 0 0,0 1 1 0 0,1-1-1 0 0,-1 0 0 0 0,0 0 1 0 0,0 0-1 0 0,1 0 0 0 0,-1 0 1 0 0,0 0-1 0 0,0 0 1 0 0,0 0-4 0 0,1 0 3 0 0,-1-1 0 0 0,0 1 1 0 0,0 0-1 0 0,1 0 0 0 0,-1 0 1 0 0,0 0-1 0 0,0 1 1 0 0,0-1-1 0 0,1 0 0 0 0,-1 0 1 0 0,0 0-1 0 0,0 0 1 0 0,1 0-1 0 0,-1 0 0 0 0,0 0 1 0 0,0 0-1 0 0,0 0 1 0 0,0 0-1 0 0,1 1 0 0 0,-1-1 1 0 0,0 0-1 0 0,0 0 1 0 0,0 0-1 0 0,0 0 0 0 0,1 1 1 0 0,-1-1-1 0 0,0 0 1 0 0,0 0-1 0 0,0 0 0 0 0,0 1 1 0 0,0-1-1 0 0,0 0 1 0 0,0 0-4 0 0,2 3 56 0 0,0 0 0 0 0,1-1 0 0 0,-1 1 0 0 0,0-1 0 0 0,1 1 0 0 0,0-1 0 0 0,-1 0 0 0 0,1 0 0 0 0,0 0 0 0 0,0 0-56 0 0,10 7 124 0 0,-11-8-23 0 0,14 6 70 0 0,-12-4-143 0 0,1 0-13 0 0,17 1 182 0 0,-19-4-182 0 0,-1 1 0 0 0,0-1 0 0 0,0 1 1 0 0,1 0-1 0 0,-1 0 0 0 0,0 0 1 0 0,0 0-1 0 0,0 0 0 0 0,0 0 0 0 0,0 0 1 0 0,0 1-16 0 0,0 0 88 0 0,1-3-66 0 0,0 1 0 0 0,0 0 1 0 0,-1 0-1 0 0,1 0 1 0 0,0 0-1 0 0,0 0 1 0 0,0 1-1 0 0,0-1 0 0 0,-1 1 1 0 0,1-1-1 0 0,0 1 1 0 0,0 0-1 0 0,-1 0 0 0 0,1 1 1 0 0,1 0-23 0 0,-2-1 16 0 0,13 5 10 0 0,1 2 17 0 0,-4-3-22 0 0,-1 4 22 0 0,3 1-32 0 0,-3-1-1 0 0,-7-7 33 0 0,10 1-32 0 0,1 3-11 0 0,1-3 0 0 0,46 2-704 0 0,-52-3 837 0 0,-6 1-74 0 0,16-2 355 0 0,-14-1-330 0 0,-1-1-181 0 0,-1 1-1 0 0,1 0 1 0 0,-1 0-1 0 0,1 0 1 0 0,0 1 0 0 0,-1-1-1 0 0,1 1 1 0 0,-1 0-1 0 0,1 1 1 0 0,0 0 97 0 0,-3-1-79 0 0,-1 0-9 0 0,1 0 0 0 0,0 0 0 0 0,-1 0 0 0 0,1 0 0 0 0,0 0 1 0 0,0 0-1 0 0,-1 0 0 0 0,1-1 0 0 0,0 1 0 0 0,0 0 0 0 0,0-1 0 0 0,0 0 0 0 0,0 1 0 0 0,0-1 0 0 0,0 0 0 0 0,0 0 0 0 0,0 0 88 0 0,0 1-469 0 0,6 4-316 0 0</inkml:trace>
  <inkml:trace contextRef="#ctx0" brushRef="#br0" timeOffset="-10598.692">1051 2907 4976 0 0,'0'0'231'0'0,"0"0"46"0"0,0 0 89 0 0,0 0 33 0 0,0 0 8 0 0,-13-11 3718 0 0,9 8-3872 0 0,0-1 0 0 0,-1 0 0 0 0,2-1 0 0 0,-1 1 0 0 0,0-1 1 0 0,1 0-1 0 0,0 0 0 0 0,0-1-253 0 0,-11-14 490 0 0,10 15-358 0 0,1-1 0 0 0,-1 0 0 0 0,1 1 0 0 0,0-1 0 0 0,1 0 0 0 0,-1 0 1 0 0,0-4-133 0 0,-8-16 539 0 0,5-3-326 0 0,0 3-83 0 0,6 23-118 0 0,0 0-1 0 0,-1 0 1 0 0,1 0-1 0 0,-1 0 1 0 0,0 0-1 0 0,0 1 1 0 0,0-1-1 0 0,0 0 1 0 0,0 0-1 0 0,-2-1-11 0 0,-3-21 114 0 0,5 15-103 0 0,1 9-7 0 0,0 0-1 0 0,0 0 1 0 0,0 0-1 0 0,0 0 1 0 0,0 0 0 0 0,0 0-1 0 0,0 0 1 0 0,-1 1-1 0 0,1-1 1 0 0,0 0 0 0 0,-1 0-1 0 0,1 0 1 0 0,0 0-1 0 0,-1 0 1 0 0,0 0-4 0 0,-1-3 9 0 0,0 0 1 0 0,0-1-1 0 0,1 1 1 0 0,0-1-1 0 0,-1 0 1 0 0,2 1-1 0 0,-1-1 0 0 0,0-1-9 0 0,-3-18 0 0 0,1-8 30 0 0,1 6-140 0 0,1 15 177 0 0,1 0-1 0 0,-1-1 1 0 0,2 1 0 0 0,1-12-67 0 0,1-17-3 0 0,-4 16-5 0 0,1 13-8 0 0,-1 0-1 0 0,2 0 0 0 0,-1 0 0 0 0,2 0 0 0 0,-1 0 1 0 0,2 0 16 0 0,8-60 897 0 0,-4 38-764 0 0,-8 22-131 0 0,0 10 2 0 0,1 0-1 0 0,0 0 1 0 0,0 0-1 0 0,0 0 1 0 0,-1 0-1 0 0,1 0 1 0 0,0 0-1 0 0,0 0 1 0 0,0 0-1 0 0,0 0 1 0 0,1 0-1 0 0,-1 0 1 0 0,0 0-1 0 0,0 0 1 0 0,1 0-1 0 0,-1 0 1 0 0,0 0-5 0 0,5-36 137 0 0,-5 36-135 0 0,0 0-1 0 0,0 1 1 0 0,0-1-1 0 0,0 0 1 0 0,0 0-1 0 0,0 0 1 0 0,0 0-1 0 0,0 0 1 0 0,0 0-1 0 0,0 0 1 0 0,0 0-1 0 0,1 0 1 0 0,-1 0-1 0 0,0 0 1 0 0,1 0-1 0 0,-1 1 1 0 0,1-1-1 0 0,-1 0 1 0 0,1 0-1 0 0,-1 0 1 0 0,1 0-1 0 0,0 0 2 0 0,0 1 1 0 0,-1-1 0 0 0,1 0-1 0 0,-1 0 1 0 0,1 1-1 0 0,-1-1 1 0 0,0 0-1 0 0,1 0 1 0 0,-1 0-1 0 0,0 0 1 0 0,0 0 0 0 0,1 1-1 0 0,-1-1 1 0 0,0 0-1 0 0,0 0 1 0 0,0 0-1 0 0,0 0 1 0 0,0 0-1 0 0,0 0 1 0 0,0 0-1 0 0,-1-1-2 0 0,6-26 64 0 0,-4 27-64 0 0,-1-1 0 0 0,1 1 0 0 0,-1 0 0 0 0,1 0 0 0 0,-1-1 0 0 0,0 1 0 0 0,0 0 0 0 0,0 0 0 0 0,1-1 0 0 0,-1 1 0 0 0,0 0 0 0 0,-1-1 0 0 0,1 1 0 0 0,0 0 0 0 0,0 0 0 0 0,0-1 0 0 0,-1 1 0 0 0,1 0 0 0 0,-1-1 0 0 0,1 1 0 0 0,-1 0 0 0 0,1 0 0 0 0,0 0 0 0 0,-1 0 0 0 0,1 0 0 0 0,0 0 0 0 0,0 0 0 0 0,0 1 0 0 0,0-1 0 0 0,0 0 0 0 0,0 0 0 0 0,0 0 0 0 0,0 0 0 0 0,0 0 0 0 0,1 0 0 0 0,-1 0 0 0 0,0 0 0 0 0,1 0 0 0 0,-1 0 0 0 0,0 0 0 0 0,1 0 0 0 0,19-56 64 0 0,-20 53-64 0 0,-1 3 0 0 0,1 0 0 0 0,0 1 0 0 0,0-1 0 0 0,0 0 0 0 0,0 1 0 0 0,0-1 0 0 0,0 0 0 0 0,0 1 0 0 0,0-1 0 0 0,0 0 0 0 0,0 0 0 0 0,0 1 0 0 0,0-1 0 0 0,0 0 0 0 0,1 1 0 0 0,-1-1 0 0 0,0 0 0 0 0,0 1 0 0 0,1-1 0 0 0,-1 0 0 0 0,0 1 0 0 0,1-1 0 0 0,7-27 0 0 0,-1 3 0 0 0,-5 18 0 0 0,0-1 0 0 0,0 1 0 0 0,0-1 0 0 0,-1 1 0 0 0,0-2 0 0 0,-2 7 5 0 0,1 0-1 0 0,0 0 0 0 0,1-1 0 0 0,-1 1 0 0 0,0 0 0 0 0,0 0 0 0 0,1 0 0 0 0,0 0 0 0 0,-1 0 1 0 0,1 0-1 0 0,0 0 0 0 0,0 0 0 0 0,1-1-4 0 0,2-5 10 0 0,6-18-10 0 0,-9 24 0 0 0,0 0 0 0 0,0-1 0 0 0,0 1 0 0 0,-1-1 0 0 0,1 1 0 0 0,0-1 0 0 0,-1 1 0 0 0,0-1 0 0 0,0 0 0 0 0,0 1 0 0 0,0-2 0 0 0,21-50 0 0 0,-13 22 0 0 0,-8 31 0 0 0,0 0 0 0 0,0 0 0 0 0,0 0 0 0 0,0 0 0 0 0,1 0 0 0 0,-1 0 0 0 0,0 0 0 0 0,1 0 0 0 0,-1 0 0 0 0,1 1 0 0 0,-1-1 0 0 0,1 0 0 0 0,-1 0 0 0 0,1 0 0 0 0,-1 0 0 0 0,1 0 0 0 0,0 1 0 0 0,0-1 0 0 0,-1 0 0 0 0,2 0 0 0 0,3-4 0 0 0,4-16 0 0 0,-5 14 0 0 0,-1 0 0 0 0,1 0 0 0 0,-2 0 0 0 0,1 0 0 0 0,-1 0 0 0 0,0 0 0 0 0,1-8 0 0 0,-3 12 0 0 0,0 1 0 0 0,0-1 0 0 0,1 1 0 0 0,-1-1 0 0 0,1 1 0 0 0,-1-1 0 0 0,1 1 0 0 0,0 0 0 0 0,0-1 0 0 0,3-6 0 0 0,0-5-3 0 0,1 1 0 0 0,0 0 0 0 0,1 0 0 0 0,0 0 0 0 0,1 1 0 0 0,1 0 0 0 0,1 0 3 0 0,1-5-1 0 0,0 0 0 0 0,0 0 0 0 0,1-6 1 0 0,6 4 0 0 0,-7 10 0 0 0,0-6 0 0 0,-9 14 0 0 0,-1 1 0 0 0,0 0 0 0 0,0 0 0 0 0,0-1 0 0 0,1 1 0 0 0,-1-1 0 0 0,0 1 0 0 0,0 0 0 0 0,0-1 0 0 0,0 1 0 0 0,0 0 0 0 0,0-1 0 0 0,0 1 0 0 0,0-1 0 0 0,0 1 0 0 0,0 0 0 0 0,0-1 0 0 0,0 1 0 0 0,0-1 0 0 0,0 1 0 0 0,0 0 0 0 0,0-1 0 0 0,0 1 0 0 0,0 0 0 0 0,0-1 0 0 0,-1 1 0 0 0,1-1 0 0 0,0 1 0 0 0,0 0 0 0 0,0-1 0 0 0,-1 1 0 0 0,1 0 0 0 0,0 0 0 0 0,-1-1 0 0 0,1 1 0 0 0,0 0 0 0 0,-1-1 0 0 0,0-2 0 0 0,1 1 0 0 0,0 0 0 0 0,0-1 0 0 0,0 1 0 0 0,0-1 0 0 0,1 1 0 0 0,-1-1 0 0 0,1 1 0 0 0,-1-1 0 0 0,1 1 0 0 0,0 0 0 0 0,0-1 0 0 0,0 1 0 0 0,0 0 0 0 0,0 0 0 0 0,1 0 0 0 0,-1-1 0 0 0,1 2 0 0 0,-1-1 0 0 0,1 0 0 0 0,1-1 0 0 0,-2 2 0 0 0,-1 1 0 0 0,1-1 0 0 0,-1 1 0 0 0,1-1 0 0 0,-1 1 0 0 0,1-1 0 0 0,-1 0 0 0 0,0 1 0 0 0,1-1 0 0 0,-1 1 0 0 0,0-1 0 0 0,0 0 0 0 0,1 1 0 0 0,-1-1 0 0 0,0 0 0 0 0,0 1 0 0 0,0-1 0 0 0,0 0 0 0 0,0 1 0 0 0,0-2 0 0 0,1 1 0 0 0,-1-1 0 0 0,0 1 0 0 0,0 0 0 0 0,1-1 0 0 0,-1 1 0 0 0,0 0 0 0 0,1-1 0 0 0,0 1 0 0 0,-1 0 0 0 0,1 0 0 0 0,0 0 0 0 0,-1-1 0 0 0,1 1 0 0 0,0 0 0 0 0,0 0 0 0 0,0 0 0 0 0,0 0 0 0 0,0 0 0 0 0,0 1 0 0 0,0-1 0 0 0,1 0 0 0 0,0 0 0 0 0,41-52 0 0 0,-20 27 0 0 0,-4 1 0 0 0,2 1 0 0 0,-18 20 5 0 0,0-1 0 0 0,0 0 0 0 0,1 1-1 0 0,0 0 1 0 0,0 0 0 0 0,0 0-1 0 0,0 0 1 0 0,4-1-5 0 0,3-4 37 0 0,-6-1 6 0 0,-3 7-40 0 0,0 0 0 0 0,0 0 0 0 0,0 0 0 0 0,1 0 0 0 0,-1 1 1 0 0,1-1-1 0 0,-1 1 0 0 0,1-1 0 0 0,1 1-3 0 0,15-17 46 0 0,27-25 29 0 0,-32 32-19 0 0,1 1-59 0 0,-8 6 3 0 0,0 0 0 0 0,0 0 0 0 0,0 1 0 0 0,7-3 0 0 0,34-20 0 0 0,-15 5 0 0 0,35-27 0 0 0,7-6 90 0 0,-59 52 180 0 0,-10-1-284 0 0,1 1 0 0 0,-1 0 0 0 0,1 1 0 0 0,0 0 0 0 0,0 0 0 0 0,2 0 14 0 0,-5 1-54 0 0,18-12 30 0 0,-5 3 42 0 0,96-47 361 0 0,-97 52-494 0 0,-15 5 112 0 0,0 0 0 0 0,-1 0 0 0 0,1 0-1 0 0,-1 0 1 0 0,1 0 0 0 0,0 0 0 0 0,-1-1 0 0 0,1 1-1 0 0,-1 0 1 0 0,1 0 0 0 0,-1 0 0 0 0,1-1-1 0 0,-1 1 1 0 0,1 0 0 0 0,-1 0 0 0 0,1-1-1 0 0,-1 1 1 0 0,1 0 0 0 0,-1-1 0 0 0,1 1-1 0 0,-1-1 1 0 0,1 1 0 0 0,-1-1 0 0 0,0 1-1 0 0,1-1 1 0 0,-1 1 0 0 0,0-1 0 0 0,1 1-1 0 0,-1-1 1 0 0,0 1 0 0 0,0-1 0 0 0,0 1 3 0 0,1-3-14 0 0,20-8 3 0 0,8-8 11 0 0,-21 17 0 0 0,12-4 0 0 0,0-2 0 0 0,0 0 0 0 0,1-1 0 0 0,12-11 0 0 0,-19 13 0 0 0,-3 1 0 0 0,1-2 0 0 0,7 3-3 0 0,10-14 70 0 0,-24 15-67 0 0,28-7 0 0 0,-19 5 0 0 0,28-11 240 0 0,-40 16-314 0 0,-2 1 4 0 0,3-1 17 0 0,9-3 42 0 0,-1-1 11 0 0,0 0 0 0 0,0 1 0 0 0,0 4 0 0 0,0-1 0 0 0,3-2 0 0 0,-1 3 0 0 0,-3 0 11 0 0,0-1 42 0 0,2-3 1 0 0,2 2-57 0 0,-2-1-50 0 0,7 1 38 0 0,-1 4 27 0 0,1-3 18 0 0,-10 1-114 0 0,-1 0 0 0 0,1 0-1 0 0,-1 0 1 0 0,1 1 0 0 0,0 0 0 0 0,-1 1-1 0 0,0 0 1 0 0,7 2 84 0 0,-7-1-128 0 0,0-1 1 0 0,-1 0-1 0 0,1-1 0 0 0,0 0 0 0 0,0 0 0 0 0,1 0 128 0 0,16 1-497 0 0,1 0-9 0 0,10 2-549 0 0,-24 1 402 0 0</inkml:trace>
  <inkml:trace contextRef="#ctx0" brushRef="#br0" timeOffset="-9046.584">1233 2903 2760 0 0,'0'0'248'0'0,"0"0"-248"0"0,0 0 0 0 0,0 0 0 0 0,0 0 768 0 0,0 0 96 0 0,10-6 32 0 0,-10 6 0 0 0,0 0-648 0 0,6 0-128 0 0,-6 0-24 0 0,0 0-8 0 0,10-4-240 0 0,-4 4-40 0 0,4 0-16 0 0</inkml:trace>
  <inkml:trace contextRef="#ctx0" brushRef="#br0" timeOffset="-8691.972">1415 2826 920 0 0,'0'0'80'0'0,"0"0"-80"0"0,0 0 0 0 0,0 0 0 0 0,10 0 512 0 0,0-4 96 0 0,-10 4 8 0 0,12 0 8 0 0,-2-6-496 0 0,1 2-128 0 0,-1 4 0 0 0</inkml:trace>
  <inkml:trace contextRef="#ctx0" brushRef="#br0" timeOffset="-8690.972">1617 2778 4720 0 0,'0'0'216'0'0,"0"0"48"0"0,0 0 77 0 0,0 0 38 0 0,0 0 5 0 0,2 0-38 0 0,55-10 172 0 0,-55 10-533 0 0,0 0 0 0 0,0-1 0 0 0,0 1 0 0 0,0 0 0 0 0,0-1 0 0 0,0 1 0 0 0,0-1 0 0 0,0 0 0 0 0,0 0 0 0 0,0 1 0 0 0,0-2 15 0 0,6-1-219 0 0,10 1-246 0 0,-14 1 277 0 0,1 1 0 0 0,-1-1 1 0 0,0 1-1 0 0,0-1 0 0 0,0-1 0 0 0,0 1 0 0 0,0 0 0 0 0,3-2 188 0 0,-6 2-480 0 0,85-3 393 0 0,-53-1 638 0 0,-9 1-344 0 0,-17 4-166 0 0,15-1-125 0 0,-12 1-48 0 0</inkml:trace>
  <inkml:trace contextRef="#ctx0" brushRef="#br0" timeOffset="-8338.795">2303 2683 920 0 0,'2'2'200'0'0,"20"10"3681"0"0,-20-12-3686 0 0,0 1-40 0 0,1 1-107 0 0,30 9 30 0 0,-20-6-168 0 0,-11-4-9 0 0</inkml:trace>
  <inkml:trace contextRef="#ctx0" brushRef="#br0" timeOffset="-8001.048">2543 2774 1376 0 0,'0'0'65'0'0,"0"0"203"0"0,0 0 831 0 0,0 0 364 0 0,0 0 68 0 0,0 0-144 0 0,2 2-680 0 0,29 24 706 0 0,-7-12-1481 0 0,-2-1-653 0 0,-20-12 205 0 0,-2-1-116 0 0,0 0-28 0 0</inkml:trace>
  <inkml:trace contextRef="#ctx0" brushRef="#br0" timeOffset="-3011.356">2849 4197 3224 0 0,'0'0'432'0'0,"0"0"604"0"0,0 0 262 0 0,0 0 57 0 0,0 0-90 0 0,0 0-423 0 0,0 0-188 0 0,0 0-40 0 0,0 0-34 0 0,0 0-119 0 0,0 0-56 0 0,0 12 797 0 0,0-3-1012 0 0,0-6-22 0 0,1-3-73 0 0,11 13 79 0 0,-10-11-210 0 0,0 1 0 0 0,0-1-1 0 0,0 0 1 0 0,0 0 0 0 0,0-1 0 0 0,0 1-1 0 0,1 0 1 0 0,-1-1 0 0 0,0 1-1 0 0,1-1 1 0 0,-1 0 0 0 0,1 0 0 0 0,0 1 36 0 0,0-2 222 0 0,-3 0 24 0 0,0 0-28 0 0,0 0-118 0 0,2 2-95 0 0,7 7 48 0 0,1 0-1 0 0,0-1 1 0 0,0 0 0 0 0,1 0 0 0 0,0-1 0 0 0,2 0-53 0 0,-8-4 0 0 0,2 0 0 0 0,0 0 0 0 0,-1 1 0 0 0,1 0 0 0 0,-1 0 0 0 0,1 2 0 0 0,45 28 0 0 0,-26-21 0 0 0,-8-1 53 0 0,5-2 11 0 0,-20-9-65 0 0,48 35 223 0 0,-44-27-179 0 0,2 1-22 0 0,1 0 22 0 0,-3 3-22 0 0,4-3 22 0 0,-1-1-32 0 0,0 0-1 0 0,2 1 33 0 0,3 0-32 0 0,-4 0-11 0 0,0 0 0 0 0,0-3 0 0 0,3 0 0 0 0,-1 3 0 0 0,-2 3 0 0 0,2-4 0 0 0,-1-1 10 0 0,-11-8-5 0 0,0 1-1 0 0,0 0 1 0 0,1-1 0 0 0,-1 1 0 0 0,0 0-1 0 0,0 0 1 0 0,0 0 0 0 0,-1 0 0 0 0,1 0-1 0 0,0 0 1 0 0,0 0 0 0 0,0 0 0 0 0,0 1-5 0 0,12 17 2 0 0,-12-17-8 0 0,0-1 5 0 0,-1 0 1 0 0,0-1 0 0 0,1 1 0 0 0,-1 0 0 0 0,1-1-1 0 0,-1 1 1 0 0,1 0 0 0 0,-1-1 0 0 0,1 1 0 0 0,0-1 0 0 0,-1 1-1 0 0,1-1 1 0 0,-1 0 0 0 0,1 1 0 0 0,0-1 0 0 0,0 0-1 0 0,-1 1 1 0 0,1-1 0 0 0,0 0 0 0 0,0 0 0 0 0,-1 1 0 0 0,1-1 0 0 0,6 5 0 0 0,0 4 0 0 0,1 0 0 0 0,14 8 153 0 0,-19-15-142 0 0,0 0 0 0 0,0 0-1 0 0,-1 1 1 0 0,1-1-1 0 0,-1 0 1 0 0,1 1 0 0 0,-1 0-11 0 0,-1-1-68 0 0,2-1 14 0 0,-2-1 62 0 0,1 1-1 0 0,-1-1 1 0 0,1 1 0 0 0,-1-1-1 0 0,0 1 1 0 0,1 0 0 0 0,-1-1-1 0 0,0 1 1 0 0,0 0-1 0 0,0 0 1 0 0,1 0 0 0 0,-1 0-1 0 0,0 0 1 0 0,0 0 0 0 0,0 0-1 0 0,0 0 1 0 0,-1 0-1 0 0,1 0 1 0 0,0 1 0 0 0,0-1-1 0 0,-1 0 1 0 0,1 1-8 0 0,5 7 703 0 0,3 3-449 0 0,1-1-1 0 0,-1 1 1 0 0,4 8-254 0 0,-12-19 53 0 0,-1 0-48 0 0,1 0-1 0 0,0-1 1 0 0,-1 1 0 0 0,1 0-1 0 0,0-1 1 0 0,0 1-1 0 0,0-1 1 0 0,0 1-1 0 0,0-1 1 0 0,0 1-1 0 0,0-1 1 0 0,0 0-1 0 0,1 1-4 0 0,-1-1 5 0 0,2 2-1 0 0,1 0 0 0 0,-1 0-1 0 0,0 1 1 0 0,0-1-1 0 0,0 1 1 0 0,0-1-1 0 0,-1 1 1 0 0,1 0 0 0 0,-1 0-1 0 0,0 0 1 0 0,1 0-1 0 0,-2 1 1 0 0,1-1-1 0 0,1 2-3 0 0,1 3 4 0 0,0-1-1 0 0,1 0 1 0 0,-1 1-1 0 0,3 0-3 0 0,5 9 0 0 0,-5-10 0 0 0,12 9 0 0 0,-4 2 0 0 0,-7 0 0 0 0,-7-15 0 0 0,0-1 0 0 0,0 1 0 0 0,1-1 0 0 0,-1 0 0 0 0,1 1 0 0 0,-1-1 0 0 0,1 0 0 0 0,0 0 0 0 0,0 0-1 0 0,0 0 1 0 0,2 1 0 0 0,13 13 55 0 0,-11-2-45 0 0,2-2-10 0 0,-5-11 0 0 0,0 1 0 0 0,10 11 0 0 0,-5-8 0 0 0,8 14 0 0 0,-12-14 0 0 0,25 27 0 0 0,-14-8 0 0 0,54 58-80 0 0,-66-78 54 0 0,0 0 0 0 0,0 0 0 0 0,-1 0-1 0 0,1 1 1 0 0,1 4 26 0 0,0 0-13 0 0,1 2 3 0 0,12 15-44 0 0,-9-9 54 0 0,-5-13-3 0 0,9 9-58 0 0,-9-11 61 0 0,9 14-64 0 0,-7-6 54 0 0,0 0-33 0 0,1 1 22 0 0,0 2-22 0 0,3 0 32 0 0,-3-2 11 0 0,-5-7-6 0 0,1-1-1 0 0,-1 1 0 0 0,1 0 1 0 0,0-1-1 0 0,0 0 0 0 0,0 1 0 0 0,2 1 7 0 0,12 21-17 0 0,-9-15 17 0 0,1 3 0 0 0,-1-1 0 0 0,2 1 0 0 0,-2 0 0 0 0,-1 2 0 0 0,3-2-10 0 0,6 10-47 0 0,-2 3 50 0 0,13 26-110 0 0,-19-29 117 0 0,13 19 0 0 0,-18-36 0 0 0,-2-4 0 0 0,1-1 0 0 0,0 1 0 0 0,-1 0 0 0 0,1-1 0 0 0,1 1 0 0 0,-1 0 0 0 0,0-1 0 0 0,1 1 0 0 0,-1-1 0 0 0,1 0 0 0 0,0 1-1 0 0,1-1 2 0 0,5 24-1 0 0,7 8 0 0 0,-12-30 0 0 0,-2 1 0 0 0,6 23 0 0 0,3 7 0 0 0,-10-31 0 0 0,12 29 0 0 0,-7-20 0 0 0,1-2 0 0 0,-1 2 0 0 0,-4-3 0 0 0,3 0 0 0 0,0 0 0 0 0,-1-1 0 0 0,1 2 0 0 0,6 7 0 0 0,-3 0 0 0 0,1-2 0 0 0,14 25-968 0 0,-21-39 1072 0 0,6 8 626 0 0,8 26-684 0 0,0-3 17 0 0,-14-31-63 0 0,0 0 0 0 0,0-1 0 0 0,0 1 0 0 0,0-1 0 0 0,-1 1 0 0 0,1 0 0 0 0,-1 0 0 0 0,1-1 0 0 0,-1 1 0 0 0,0 0 0 0 0,1 0 0 0 0,-1 0 1 0 0,3 9-2 0 0,1-1 1 0 0,-3 2 0 0 0,5 47 0 0 0,-5-46 0 0 0,4-2 0 0 0,-2 3 0 0 0,-1-4 0 0 0,3 3 0 0 0,-2-7 0 0 0,-1-1 0 0 0,1 0 0 0 0,-1 1 0 0 0,-1-1 0 0 0,1 1 0 0 0,-1 0 0 0 0,0-1 0 0 0,0 1 0 0 0,0 0 0 0 0,-1 0 0 0 0,0 0 0 0 0,0-1 0 0 0,-1 1 1 0 0,1 12-2 0 0,0-14 3 0 0,0 0 0 0 0,0-1-1 0 0,0 1 1 0 0,1-1 0 0 0,-1 1-1 0 0,1-1 1 0 0,0 0-1 0 0,0 1-1 0 0,-1-3 4 0 0,1 0 0 0 0,-1 0-1 0 0,0-1 1 0 0,0 1-1 0 0,1 0 1 0 0,-1 0 0 0 0,0 0-1 0 0,0 0 1 0 0,0 0-1 0 0,0-1 1 0 0,0 1-1 0 0,0 0 1 0 0,-1 0 0 0 0,1 0-1 0 0,0 0-3 0 0,-3 8 30 0 0,3-8-23 0 0,-1 1 0 0 0,1 0 0 0 0,0 0 0 0 0,-1-1 0 0 0,1 1 0 0 0,0 0 0 0 0,0 0 0 0 0,0 0 0 0 0,1-1 0 0 0,-1 1 0 0 0,0 0 0 0 0,1 0 0 0 0,-1-1 0 0 0,1 1 0 0 0,-1 0-1 0 0,2 0-6 0 0,7 35 64 0 0,-6-26-64 0 0,1 2 0 0 0,-3-2 0 0 0,-1 1 0 0 0,0 50 0 0 0,-1-61 0 0 0,1 1 0 0 0,0 0 0 0 0,0 0 0 0 0,0 0 0 0 0,1 0 0 0 0,-1-1 0 0 0,0 1 0 0 0,1 0 0 0 0,-1 0 0 0 0,1 0 0 0 0,-1-1 0 0 0,1 1 0 0 0,2 10 0 0 0,-3-12 0 0 0,1 19 0 0 0,-1-19 0 0 0,1 1 0 0 0,0 0 0 0 0,-1 0 0 0 0,1-1 0 0 0,0 1 0 0 0,-1 0 0 0 0,1 0 0 0 0,-1 0 0 0 0,1 0 0 0 0,-1 0 0 0 0,0-1 0 0 0,1 1 0 0 0,-1 0 0 0 0,0 0 0 0 0,0 0 0 0 0,0 0 0 0 0,0 0 0 0 0,0 0 0 0 0,0 1 0 0 0,6 18 0 0 0,-6-8 0 0 0,-1-4 0 0 0,-8 19 0 0 0,7-23 0 0 0,0 16 0 0 0,1-7 0 0 0,-2-2 0 0 0,2-10 0 0 0,1 1 0 0 0,0-1 0 0 0,0 0 0 0 0,-1 1 0 0 0,1-1 0 0 0,0 1 0 0 0,0-1 0 0 0,1 0 0 0 0,-1 1 0 0 0,0-1 0 0 0,0 0 0 0 0,1 0 0 0 0,-1 1 0 0 0,1-1 0 0 0,-1 0 0 0 0,1 0 0 0 0,-1 1 0 0 0,2 2 0 0 0,-2 31 0 0 0,0 3 0 0 0,-1-12 0 0 0,-2-18 0 0 0,5 4 0 0 0,-6 22 0 0 0,4-32 0 0 0,0 0 0 0 0,0 0 0 0 0,0 0 0 0 0,0 0 0 0 0,-1 0 0 0 0,1 0 0 0 0,0 0 0 0 0,-1 0 0 0 0,0 0 0 0 0,1 0 0 0 0,-1 0 0 0 0,-1 7 0 0 0,2 20 64 0 0,0 17-64 0 0,0-30 0 0 0,0-16 0 0 0,-3 3 0 0 0,-9 36 0 0 0,10-28 0 0 0,-1 4 0 0 0,6-11 0 0 0,-1-2 0 0 0,-4 11 0 0 0,-7 31 288 0 0,3-21-218 0 0,5-19-220 0 0,-3 4 24 0 0,1 15 100 0 0,-2-11 26 0 0,5-9 0 0 0,2-1 0 0 0,-6 9 0 0 0,-8 14 0 0 0,5 1 0 0 0,2-10 0 0 0,-4 18 0 0 0,7-30 0 0 0,1 1 0 0 0,-1-1 0 0 0,0 0 0 0 0,0 0 0 0 0,0 0 0 0 0,-1 0 0 0 0,1 0 0 0 0,-3 2 0 0 0,5-6 0 0 0,-5 8 0 0 0,3 2 0 0 0,-3 3 0 0 0,-2 4 0 0 0,-5 5 0 0 0,5-11 0 0 0,1-3 0 0 0,-4 4 0 0 0,9-8 0 0 0,1-3 0 0 0,1 0 0 0 0,-1 0 0 0 0,0 0 0 0 0,0 0 0 0 0,0 0 0 0 0,0-1 0 0 0,-1 1 0 0 0,1 0 0 0 0,0 0 0 0 0,0 0 0 0 0,0 0 0 0 0,-1 0 0 0 0,1 0 0 0 0,0-1 0 0 0,-1 1 0 0 0,1 0 0 0 0,-1 0 0 0 0,1-1 0 0 0,-1 1 0 0 0,0 0 0 0 0,-6 16 0 0 0,-12 19 0 0 0,14-28 0 0 0,-5 9 0 0 0,4 0 0 0 0,-6 3 0 0 0,10-13 11 0 0,-2-1 0 0 0,1 0-1 0 0,-1 0 1 0 0,0 0 0 0 0,-4 6-11 0 0,6-11 5 0 0,1 1 1 0 0,-1-1-1 0 0,1 1 1 0 0,0 0-1 0 0,-1 0 1 0 0,1 0-1 0 0,0 0 1 0 0,0 0-1 0 0,0 0 1 0 0,1 0-1 0 0,-1 0 1 0 0,0 0-1 0 0,1 0 1 0 0,-1 0-1 0 0,1 1 1 0 0,0-1-1 0 0,0 0 1 0 0,0 1-6 0 0,0-1 5 0 0,-1-2-1 0 0,1 1 1 0 0,-1 0 0 0 0,1-1-1 0 0,-1 1 1 0 0,1-1 0 0 0,-1 1-1 0 0,0-1 1 0 0,1 1-1 0 0,-1-1 1 0 0,1 1 0 0 0,-1-1-1 0 0,0 0 1 0 0,0 1 0 0 0,1-1-1 0 0,-2 0-4 0 0,2 1 8 0 0,-5 6 30 0 0,5-6-36 0 0,-1 0 0 0 0,1 1 0 0 0,-1-1 0 0 0,0 0 0 0 0,0 0-1 0 0,1 0 1 0 0,-1 1 0 0 0,0-1 0 0 0,0 0 0 0 0,0 0 0 0 0,0 0-1 0 0,0-1 1 0 0,0 1 0 0 0,-1 0-2 0 0,0 1 11 0 0,-2 0 5 0 0,0 13 10 0 0,-1-4-26 0 0,5-10 0 0 0,0 0 0 0 0,0-1 0 0 0,-1 1 0 0 0,1-1 0 0 0,0 1 0 0 0,-1 0 0 0 0,1-1 0 0 0,0 1 0 0 0,-1-1 0 0 0,1 1 0 0 0,0-1 0 0 0,-1 1 0 0 0,1-1 0 0 0,-1 0 0 0 0,1 1 0 0 0,-1-1 0 0 0,1 1 0 0 0,-1-1 0 0 0,1 0 0 0 0,-1 0 0 0 0,1 1 0 0 0,-1-1 0 0 0,0 0 0 0 0,1 0 0 0 0,-1 0 0 0 0,0 1 0 0 0,-2 0 0 0 0,1 2 0 0 0,-7 11 0 0 0,-8 21 0 0 0,11-27 11 0 0,1-5-4 0 0,0 0-1 0 0,0 0 1 0 0,1 0 0 0 0,-1 0-1 0 0,1 1 1 0 0,0 0 0 0 0,0 0-1 0 0,-2 2-6 0 0,-22 14 0 0 0,17-9 0 0 0,-10 15 0 0 0,0-6 0 0 0,21-19 0 0 0,-1-1 0 0 0,0 1 0 0 0,1 0 0 0 0,-1-1 0 0 0,0 1 0 0 0,1 0 0 0 0,-1-1 0 0 0,0 1 0 0 0,0-1 0 0 0,1 1 0 0 0,-1-1 0 0 0,0 1 0 0 0,0-1 0 0 0,0 0 0 0 0,0 1 0 0 0,0-1 0 0 0,0 0 0 0 0,0 0 0 0 0,-1 1 0 0 0,-3 1 17 0 0,0 1-1 0 0,0 0 1 0 0,-1 0-1 0 0,2 0 1 0 0,-1 1-1 0 0,0-1 0 0 0,0 2-16 0 0,-17 11 97 0 0,1 4 54 0 0,10-11-98 0 0,10-7-46 0 0,-1 0 0 0 0,1 0 1 0 0,-1 0-1 0 0,0-1 0 0 0,1 1 0 0 0,-1 0 1 0 0,0-1-1 0 0,0 0 0 0 0,0 1 0 0 0,-2 0-7 0 0,-2 1 43 0 0,1 1 0 0 0,0 0 0 0 0,0 0 0 0 0,0 0 0 0 0,0 1 0 0 0,0 0 0 0 0,-2 3-43 0 0,5-5 8 0 0,0 0 0 0 0,-1-1 0 0 0,1 1 0 0 0,-1-1 0 0 0,1 0 0 0 0,-1 0-1 0 0,-2 1-7 0 0,5-2 3 0 0,-1-1 0 0 0,1 0 0 0 0,-1 0 0 0 0,0 1 0 0 0,1-1 0 0 0,-1 0-1 0 0,1 1 1 0 0,-1-1 0 0 0,1 0 0 0 0,-1 1 0 0 0,1-1 0 0 0,-1 1 0 0 0,1-1-1 0 0,-1 1 1 0 0,1-1 0 0 0,0 1 0 0 0,-1 0 0 0 0,1-1 0 0 0,0 1 0 0 0,0-1-1 0 0,-1 1-2 0 0,-1 3 0 0 0,-39 19 203 0 0,40-23-189 0 0,0 1 1 0 0,0 0-1 0 0,1-1 1 0 0,-1 1-1 0 0,0 0 0 0 0,1-1 1 0 0,-1 1-1 0 0,1 0 0 0 0,-1 0 1 0 0,1 0-1 0 0,-1-1 0 0 0,1 1 1 0 0,0 0-1 0 0,-1 0 1 0 0,1 0-1 0 0,0 0 0 0 0,-1 0 1 0 0,1 0-1 0 0,0 0-14 0 0,0 0 8 0 0,0 0 0 0 0,0-1 1 0 0,0 1-1 0 0,-1 0 0 0 0,1 0 0 0 0,0-1 1 0 0,0 1-1 0 0,-1 0 0 0 0,1 0 0 0 0,0-1 0 0 0,-1 1 1 0 0,1 0-1 0 0,-1-1 0 0 0,1 1 0 0 0,-1-1 1 0 0,1 1-1 0 0,-1-1 0 0 0,0 1 0 0 0,1-1 0 0 0,-1 1-8 0 0,-35 34 384 0 0,35-35-375 0 0,0 1-1 0 0,0 0 0 0 0,0 0 0 0 0,0 0 1 0 0,0-1-1 0 0,0 1 0 0 0,0 0 0 0 0,0 0 1 0 0,1 1-1 0 0,-1-1 0 0 0,0 0 0 0 0,0 0 1 0 0,1 0-1 0 0,-1 0 0 0 0,1 2-8 0 0,-4 3 15 0 0,-4 1 71 0 0,0 0 1 0 0,0-1-1 0 0,-1 0 1 0 0,1-1-1 0 0,-3 1-86 0 0,10-6 3 0 0,0 1 1 0 0,0-1-1 0 0,1 0 0 0 0,-1 1 1 0 0,0-1-1 0 0,1 1 0 0 0,-1-1 0 0 0,0 0 1 0 0,1 1-1 0 0,-1-1 0 0 0,1 1 1 0 0,-1 0-1 0 0,1-1 0 0 0,-1 1 0 0 0,1-1 1 0 0,-1 1-1 0 0,1 0 0 0 0,0-1 1 0 0,-1 1-1 0 0,1 0 0 0 0,0 0 1 0 0,-1 0-4 0 0,-4 6-4 0 0,-24 16-166 0 0,24-19 219 0 0,1 1-1 0 0,-1-2 1 0 0,1 1 0 0 0,-1 0-1 0 0,0-1 1 0 0,0 0-1 0 0,-1 0 1 0 0,0 0-49 0 0,4-3 15 0 0,-7 11 83 0 0,-17 11-3 0 0,5-6 34 0 0,-12 8 6 0 0,-11 0-18 0 0,31-18-117 0 0,10-3 0 0 0,-2 2 0 0 0,-20 13 146 0 0,24-17-140 0 0,1 0-1 0 0,-1 1 1 0 0,0-1 0 0 0,0 0 0 0 0,0 0 0 0 0,0 1 0 0 0,0-1-1 0 0,0 0 1 0 0,0 0 0 0 0,0 0 0 0 0,-1 0 0 0 0,1 0 0 0 0,0-1-1 0 0,0 1 1 0 0,-1 0 0 0 0,1-1 0 0 0,-1 1 0 0 0,1 0 0 0 0,0-1 0 0 0,-1 0-1 0 0,1 1 1 0 0,-1-1 0 0 0,0 0-6 0 0,-12 5 35 0 0,5 3 17 0 0,7-7-52 0 0,1 1 0 0 0,-1 0 1 0 0,1-1-1 0 0,-1 1 0 0 0,0-1 0 0 0,1 0 0 0 0,-1 0 0 0 0,0 1 0 0 0,-1-1 0 0 0,-12 6 0 0 0,9-3 0 0 0,5-4 3 0 0,0 1 0 0 0,0-1 0 0 0,1 0 0 0 0,-1 0 0 0 0,0 1 0 0 0,0-1 0 0 0,1 0 0 0 0,-1 1 0 0 0,0-1 0 0 0,1 1 0 0 0,-1-1 0 0 0,0 1 0 0 0,1-1 0 0 0,-1 1 0 0 0,1-1-1 0 0,-1 1 1 0 0,1 0 0 0 0,-1-1 0 0 0,1 1 0 0 0,-1 0 0 0 0,1 0-3 0 0,-4 3 2 0 0,-39 20 62 0 0,22-16-60 0 0,17-6 2 0 0,0-1 1 0 0,0 0 0 0 0,0 1 0 0 0,1 0-1 0 0,-1 0 1 0 0,0 0 0 0 0,1 0 0 0 0,0 0-1 0 0,-1 2-6 0 0,-21 11 0 0 0,20-12 0 0 0,-1 0 0 0 0,1 0 0 0 0,1 0 0 0 0,-1 0 0 0 0,-3 5 0 0 0,4-6 8 0 0,0 1 1 0 0,1-1-1 0 0,-1 0 0 0 0,0 0 0 0 0,0 0 0 0 0,-3 1-8 0 0,-17 10 15 0 0,23-12-15 0 0,-1 0 0 0 0,0 1 0 0 0,0-1 0 0 0,0 0 0 0 0,0 0 0 0 0,0 0 0 0 0,0 0-1 0 0,0 0 1 0 0,0 0 0 0 0,-13 7 12 0 0,-11 8 45 0 0,21-14-57 0 0,1 1-1 0 0,-1 0 0 0 0,1-1 1 0 0,0 1-1 0 0,0 1 0 0 0,-1 0 1 0 0,-35 30 0 0 0,21-20 0 0 0,16-11 0 0 0,0-1 0 0 0,0 0 0 0 0,-1-1 0 0 0,1 1 0 0 0,-1 0 0 0 0,1-1 0 0 0,-1 0 0 0 0,0 0 0 0 0,0 0 0 0 0,-2 1 0 0 0,0 0 0 0 0,0 0 0 0 0,0 0 0 0 0,0 1 0 0 0,-5 3 0 0 0,4-2 0 0 0,4-1 0 0 0,0-1 0 0 0,0 0 0 0 0,0 0 0 0 0,-1 0 0 0 0,1 0 0 0 0,-1-1 0 0 0,0 0 0 0 0,1 1 0 0 0,-1-1 0 0 0,-3 0 0 0 0,-44 9 0 0 0,-15-4 0 0 0,-31-6 0 0 0,95 0 0 0 0,1 0 0 0 0,-1 0 0 0 0,0 0 0 0 0,0 1 0 0 0,0-1 0 0 0,1 1 0 0 0,-1-1 0 0 0,0 1 0 0 0,1 0 0 0 0,-2 0 0 0 0,-8 2 0 0 0,-12 3 0 0 0,-18-2 0 0 0,2 2-64 0 0,-93-6-504 0 0,131 0 463 0 0,-1-2 53 0 0,0 1-1 0 0,0 0 0 0 0,1 0 1 0 0,-1 0-1 0 0,0 0 1 0 0,0 1-1 0 0,0-1 1 0 0,0 0-1 0 0,-1 1 1 0 0,0-1 52 0 0,1 0-74 0 0,-47-15-1172 0 0,18 7-2038 0 0,-25-13 3284 0 0,37 16-1827 0 0,6 2-1937 0 0,-2 0-498 0 0</inkml:trace>
  <inkml:trace contextRef="#ctx0" brushRef="#br0" timeOffset="11173.677">2313 3317 1376 0 0,'0'0'285'0'0,"0"0"662"0"0,0 0 292 0 0,0 0 59 0 0,0 0-94 0 0,0 0-447 0 0,0 0-197 0 0,0 0-42 0 0,0 0-21 0 0,0 0-61 0 0,0 0-27 0 0,0 0-7 0 0,0 0-10 0 0,0 0-35 0 0,0 0-18 0 0,-12 0 643 0 0,-6 11-125 0 0,1 1-1 0 0,0 0 1 0 0,-9 10-857 0 0,18-17 44 0 0,-12 13 106 0 0,13-10-87 0 0,-1-1-1 0 0,0-1 0 0 0,-6 5-62 0 0,-13 10 117 0 0,-10 5 47 0 0,28-21-74 0 0,1 0 0 0 0,0 1 1 0 0,-7 7-91 0 0,13-12 92 0 0,-15 19 185 0 0,-56 37-755 0 0,58-42 478 0 0,6-6 0 0 0,0 0 0 0 0,0 0 0 0 0,-5 2 0 0 0,1-2 0 0 0,11-6 0 0 0,2-2 0 0 0,0 1 0 0 0,0-1 0 0 0,-1 0 0 0 0,1 1 0 0 0,-1-1 0 0 0,1 0 0 0 0,-1 0 0 0 0,0 0 0 0 0,1 1 0 0 0,-1-1 0 0 0,0 0 0 0 0,0 0 0 0 0,0 0 0 0 0,0 0 0 0 0,0 0 0 0 0,0 0 0 0 0,-28 29 178 0 0,-23 35-332 0 0,51-64 154 0 0,0-1 0 0 0,0 1 0 0 0,0 0 0 0 0,1-1 0 0 0,-1 1 0 0 0,0 0 0 0 0,0 0 0 0 0,1 0 0 0 0,-1 0 0 0 0,0 0 0 0 0,1 0 0 0 0,-1 0 0 0 0,1 0 0 0 0,-1 0 0 0 0,1 0 0 0 0,0 0 0 0 0,-1 0 0 0 0,1 0 0 0 0,0 0 0 0 0,-2 3 0 0 0,-10 8 0 0 0,8-9 0 0 0,2-2 0 0 0,1 0 0 0 0,-1 0 0 0 0,1 0 0 0 0,0 0 0 0 0,-1 1 0 0 0,1-1 0 0 0,0 0 0 0 0,0 1 0 0 0,0-1 0 0 0,0 1 0 0 0,0 0 0 0 0,0-1 0 0 0,0 2 0 0 0,-22 32 0 0 0,21-30 0 0 0,1-4 0 0 0,0 1 0 0 0,0-1 0 0 0,0 1 0 0 0,0-1 0 0 0,0 1 0 0 0,-1-1 0 0 0,1 0 0 0 0,-1 1 0 0 0,1-1 0 0 0,-1 0 0 0 0,1 0 0 0 0,-1 0 0 0 0,0 0 0 0 0,0 0 0 0 0,0 1 0 0 0,1-1 0 0 0,-1 0 0 0 0,0 1 0 0 0,1-1 0 0 0,-1 1 0 0 0,1 0 0 0 0,0 0 0 0 0,-1 0 0 0 0,1-1 0 0 0,0 1 0 0 0,0 0 0 0 0,0 1 0 0 0,-4 5 0 0 0,3-5-1 0 0,0-1 1 0 0,1 0 0 0 0,-1 1 0 0 0,1 0 0 0 0,0-1 0 0 0,0 1 0 0 0,0 0-1 0 0,0 0 1 0 0,-9 17 134 0 0,-6 4 419 0 0,0 0-518 0 0,6-13-35 0 0,9-6 0 0 0,-2 2 0 0 0,-5 2 0 0 0,1 1 0 0 0,0 0 0 0 0,0 0 0 0 0,1 1 0 0 0,-4 8 0 0 0,-1 1 0 0 0,-11 13 0 0 0,16-24 0 0 0,0-1 0 0 0,1 1 0 0 0,-4 9 0 0 0,-3 1 0 0 0,8-13 0 0 0,0 0 0 0 0,1-1 0 0 0,-1 2 0 0 0,1-1 0 0 0,-1 3 0 0 0,-2 8 0 0 0,2-1 0 0 0,0 22 0 0 0,4-38 0 0 0,0 1 0 0 0,0-1 0 0 0,0 1 0 0 0,0-1 0 0 0,1 1 0 0 0,-1-1 0 0 0,0 1 0 0 0,0-1 0 0 0,0 1 0 0 0,0-1 0 0 0,0 1 0 0 0,0 0 0 0 0,0-1 0 0 0,-1 1 0 0 0,1-1 0 0 0,0 1 0 0 0,0-1 0 0 0,0 1 0 0 0,0-1 0 0 0,-1 1 0 0 0,1-1 0 0 0,0 1 0 0 0,-1-1 0 0 0,1 1 0 0 0,0-1 0 0 0,-1 1 0 0 0,1-1 0 0 0,-2 3 0 0 0,1 12 0 0 0,1 20 0 0 0,1-25 0 0 0,5 10 0 0 0,0-15 0 0 0,-3-3 0 0 0,8 9 0 0 0,-1 1 0 0 0,-2 0 0 0 0,5 0 0 0 0,-3-1 0 0 0,4 8 0 0 0,2-4 0 0 0,14 13-308 0 0,-26-25 233 0 0,-2-1-102 0 0,-2-2 47 0 0,3 2 197 0 0,2 2-14 0 0,1 1 175 0 0,33 17-6 0 0,-30-18-249 0 0,-8-3-106 0 0,2-1-26 0 0,23 9-146 0 0,2-5 577 0 0,-27-4-277 0 0,0 0 0 0 0,-1 0 1 0 0,1 0-1 0 0,0 0 1 0 0,-1 0-1 0 0,1 1 0 0 0,0-1 1 0 0,-1 0-1 0 0,1 0 1 0 0,0 0-1 0 0,-1 1 1 0 0,1-1-1 0 0,-1 0 0 0 0,1 0 1 0 0,0 1-1 0 0,-1-1 1 0 0,1 1-1 0 0,-1-1 0 0 0,1 1 5 0 0,0 0-14 0 0,1 0-1 0 0,-1 0 0 0 0,0 0 0 0 0,1-1 0 0 0,0 1 0 0 0,-1 0 1 0 0,1-1-1 0 0,-1 1 0 0 0,1-1 0 0 0,0 1 0 0 0,-1-1 0 0 0,1 0 1 0 0,0 1 14 0 0,14 1-1 0 0,-16-2-3 0 0,17 9 105 0 0,-9-5-117 0 0,1-1-68 0 0,7-2 88 0 0,-13 0-4 0 0,-1 0 0 0 0,0-1 0 0 0,0 1 0 0 0,0-1 0 0 0,1 0 0 0 0,-1 0 0 0 0,0 0 0 0 0,1 0 0 0 0,-1 0 0 0 0,0 0 0 0 0,3-1 0 0 0,1 0 0 0 0,36-3 0 0 0,-25 2 0 0 0,-6-2 0 0 0,-1-1 0 0 0,6 0 0 0 0,-15 5 0 0 0,0 0 0 0 0,0 0 0 0 0,1 0 0 0 0,-1-1 0 0 0,0 1 0 0 0,0 0 0 0 0,0-1 0 0 0,1 1 0 0 0,-1-1 0 0 0,0 0 0 0 0,0 1 0 0 0,0-1 0 0 0,0 0 0 0 0,0 1 0 0 0,0-1 0 0 0,0 0 0 0 0,0 0 0 0 0,-1 0 0 0 0,1 0 0 0 0,0 0 0 0 0,0 0 0 0 0,-1 0 0 0 0,1-1 0 0 0,0 0 0 0 0,1 0 0 0 0,-1 0 0 0 0,1 1 0 0 0,0-1 0 0 0,-1 0 0 0 0,1 1 0 0 0,0-1 0 0 0,0 1 0 0 0,0-1 0 0 0,0 1 0 0 0,0 0 0 0 0,0 0 0 0 0,0 0 0 0 0,1 0 0 0 0,-1 0 0 0 0,0 0 0 0 0,2 0 0 0 0,27-9 0 0 0,-30 9 0 0 0,0 0 0 0 0,0 1 0 0 0,0-1 0 0 0,1 1 0 0 0,-1-1 0 0 0,0 1 0 0 0,1-1 0 0 0,-1 1 0 0 0,0 0 0 0 0,1 0 0 0 0,-1 0 0 0 0,1 0 0 0 0,-1 0 0 0 0,0 0 0 0 0,2 0 0 0 0,3 1 0 0 0,-6-1 0 0 0,1 0 0 0 0,-1 0 0 0 0,1 0 0 0 0,-1 0 0 0 0,1 0 0 0 0,-1 0 0 0 0,1 0 0 0 0,-1 0 0 0 0,1 0 0 0 0,-1 0 0 0 0,1 0 0 0 0,-1 0 0 0 0,1 0 0 0 0,-1 0 0 0 0,1 0 0 0 0,-1-1 0 0 0,1 1 0 0 0,-1 0 0 0 0,1 0 0 0 0,-1-1 0 0 0,1 1 0 0 0,-1 0 0 0 0,0-1 0 0 0,1 1 0 0 0,-1 0 0 0 0,0-1 0 0 0,1 1 0 0 0,-1-1 0 0 0,0 1 0 0 0,1 0 0 0 0,-1-1 0 0 0,0 1 0 0 0,0-1 0 0 0,1 0 0 0 0,-1 0 0 0 0,54-25 0 0 0,13-20 0 0 0,-54 36 0 0 0,-2-4 0 0 0,26-20 0 0 0,-34 30 0 0 0,-4 5 0 0 0,32-28 0 0 0,-5 6 0 0 0,-9 5 0 0 0,20-31 0 0 0,-28 38 0 0 0,19-21 0 0 0,-17 17 0 0 0,0 4 0 0 0,-6 4 0 0 0,1 1 0 0 0,0-1 0 0 0,-1-1 0 0 0,0 1 0 0 0,-1-1 0 0 0,3-3 0 0 0,-4 6 0 0 0,19-21 0 0 0,-10 14-85 0 0,-1-1 0 0 0,0-1 0 0 0,0 1 0 0 0,-1-2 1 0 0,0-1 84 0 0,11-10 3 0 0,-17 20-12 0 0,0 0-1 0 0,0 0 0 0 0,-1 0 1 0 0,0 0-1 0 0,0-1 0 0 0,0 1 1 0 0,0-2 9 0 0,4-3 0 0 0,7-5-3 0 0,-11 8-19 0 0,10-14-29 0 0,24-28-425 0 0,-36 47 372 0 0,0 0 89 0 0,0 1 0 0 0,1 0 0 0 0,-1-1 1 0 0,0 1-1 0 0,0 0 0 0 0,0-1 1 0 0,0 1-1 0 0,0-1 0 0 0,0 0 0 0 0,0 1 1 0 0,0-1-1 0 0,0 0 0 0 0,-1 0 0 0 0,1 1 1 0 0,0-1-1 0 0,0 0 0 0 0,-1 0 1 0 0,1 0-1 0 0,0 0 0 0 0,-1 0 0 0 0,1 0 1 0 0,-1 0-1 0 0,1 0 0 0 0,-1 0 1 0 0,1-1 14 0 0,24-44-242 0 0,-17 33 342 0 0,-5 9-143 0 0,0 0-1 0 0,0 0 0 0 0,-1 0 1 0 0,0 0-1 0 0,0-1 0 0 0,0 1 1 0 0,0-1-1 0 0,-1 0 44 0 0,-1 4 73 0 0,0 1 42 0 0,0 0 12 0 0,2-2-21 0 0,6-6-90 0 0,-4 4-8 0 0,8-17-10 0 0,-9 17-66 0 0,0 1 0 0 0,0-1 0 0 0,0 1 1 0 0,0-1-1 0 0,0 1 0 0 0,3-1 68 0 0,1-3 337 0 0,-6 7-401 0 0,1-4-126 0 0,-2 4 181 0 0,0-1 1 0 0,0 1 0 0 0,1 0 0 0 0,-1-1 0 0 0,0 1 0 0 0,0 0 0 0 0,0-1-1 0 0,0 1 1 0 0,0 0 0 0 0,0-1 0 0 0,1 1 0 0 0,-1 0 0 0 0,0 0-1 0 0,0-1 1 0 0,0 1 0 0 0,1 0 0 0 0,-1 0 0 0 0,0-1 0 0 0,0 1 0 0 0,1 0-1 0 0,-1 0 1 0 0,0 0 0 0 0,1-1 0 0 0,-1 1 0 0 0,0 0 0 0 0,1 0 8 0 0,1-1-22 0 0,0-1 1 0 0,0 1 0 0 0,0-1 0 0 0,0 0 0 0 0,0 0 0 0 0,0 0 0 0 0,0 0 0 0 0,0 0 0 0 0,-1 0 0 0 0,2-2 21 0 0,-1 0-92 0 0,-1 3 32 0 0,7-4 488 0 0,0 0-4421 0 0,-8 5-31 0 0</inkml:trace>
  <inkml:trace contextRef="#ctx0" brushRef="#br0" timeOffset="11880.99">1714 4068 6648 0 0,'0'0'149'0'0,"0"0"23"0"0,0 0 12 0 0,0 0 65 0 0,0 0 250 0 0,0 0 114 0 0,9 5 630 0 0,-6-2-1037 0 0,0-1 0 0 0,1 0 0 0 0,-1 0 0 0 0,1 0 0 0 0,-1-1 0 0 0,1 1 0 0 0,-1-1 0 0 0,1 0 0 0 0,0 0 0 0 0,0 0 0 0 0,0 0 0 0 0,1-1-206 0 0,10 3 159 0 0,-12-2 102 0 0,7 9 282 0 0,3-1-317 0 0,56 20 222 0 0,-31-16 213 0 0,-22-8-587 0 0,-1 0 1 0 0,0 1-1 0 0,0 1 0 0 0,-1 0 1 0 0,0 1-1 0 0,0 1 1 0 0,9 8-75 0 0,-3 1 6 0 0,-17-15 11 0 0,0 0 1 0 0,0 1-1 0 0,1-1 1 0 0,-1-1-1 0 0,1 1 0 0 0,0-1 1 0 0,0 1-18 0 0,-1-1 9 0 0,1 0 1 0 0,-1 1-1 0 0,0-1 1 0 0,0 1-1 0 0,0 0 1 0 0,0-1-1 0 0,-1 1 1 0 0,1 1-1 0 0,-1-1 1 0 0,0 0-1 0 0,0 1 1 0 0,0-1-1 0 0,1 3-9 0 0,9 13 5 0 0,-9-13-5 0 0,-2 2-1018 0 0,-1-7-4068 0 0</inkml:trace>
  <inkml:trace contextRef="#ctx0" brushRef="#br0" timeOffset="14388.118">1281 3111 1376 0 0,'8'-12'235'0'0,"-7"10"447"0"0,0 2-157 0 0,0 1 0 0 0,0-1 0 0 0,0 1-1 0 0,0 0 1 0 0,-1-1 0 0 0,1 1-1 0 0,0 0 1 0 0,0 0 0 0 0,-1-1 0 0 0,1 1-1 0 0,-1 0 1 0 0,1 0 0 0 0,-1 0 0 0 0,1 0-525 0 0,-5 6 113 0 0,3-5-24 0 0,0 0-30 0 0,-29 43 5 0 0,28-42-63 0 0,0-1 0 0 0,0 0 0 0 0,1 1 0 0 0,-1 0 0 0 0,0-1 0 0 0,1 1 0 0 0,0 0 0 0 0,0 0 1 0 0,0 0-1 0 0,0 0 0 0 0,0 0 0 0 0,0 1-1 0 0,-3 10-2 0 0,2-9 0 0 0,-18 38-88 0 0,19-40 83 0 0,0 1 0 0 0,0-1 0 0 0,0 1 0 0 0,0-1 0 0 0,1 1 0 0 0,0 0 1 0 0,-1-1-1 0 0,1 1 0 0 0,0 0 0 0 0,1-1 0 0 0,-1 2 7 0 0,1 1-21 0 0,-1 1 0 0 0,0 0 0 0 0,-1-1 0 0 0,0 1 0 0 0,0 0-1 0 0,0-1 1 0 0,-1 1 0 0 0,0-1 0 0 0,-1 4 21 0 0,-7 29-100 0 0,-9 28-74 0 0,19-65 169 0 0,0 0 0 0 0,-1 0 0 0 0,1 0 0 0 0,-1-1 0 0 0,1 1 0 0 0,-1 0 0 0 0,0 0-1 0 0,1 0 1 0 0,-1-1 0 0 0,0 1 0 0 0,0 0 0 0 0,0-1 0 0 0,-1 2 5 0 0,1-3-3 0 0,1 1-1 0 0,-1 0 1 0 0,1-1-1 0 0,-1 1 0 0 0,1 0 1 0 0,0-1-1 0 0,-1 1 1 0 0,1 0-1 0 0,0-1 1 0 0,-1 1-1 0 0,1 0 0 0 0,0 0 1 0 0,0-1-1 0 0,0 1 1 0 0,0 0-1 0 0,0 0 1 0 0,0 0-1 0 0,0-1 0 0 0,0 2 4 0 0,-4 21-64 0 0,5-12 64 0 0,2 0 32 0 0,3-1-80 0 0,-1-2-16 0 0,-4-5 91 0 0,2 3-25 0 0,0 0 0 0 0,1 0 0 0 0,-1 0-1 0 0,1-1 1 0 0,0 1 0 0 0,4 3-2 0 0,-6-7 0 0 0,7 9 6 0 0,-6-6 20 0 0,0 7-5 0 0,-3-9-15 0 0,0-2-9 0 0,0 0-1 0 0,0 0 1 0 0,0 0 0 0 0,0-1-1 0 0,0 1 1 0 0,1 0-1 0 0,-1 0 1 0 0,0 0-1 0 0,0-1 1 0 0,1 1-1 0 0,-1 0 1 0 0,0 0 0 0 0,1-1-1 0 0,-1 1 1 0 0,1 0-1 0 0,-1 0 1 0 0,1-1-1 0 0,-1 1 1 0 0,1-1-1 0 0,0 2 4 0 0,6 6-14 0 0,1-2 14 0 0,0 3 0 0 0,4 3 0 0 0,-7-13 0 0 0,-3 1 0 0 0,25 9 0 0 0,17 5 0 0 0,-39-12 0 0 0,17 5 0 0 0,-8-6 10 0 0,8 4 20 0 0,38 4-6 0 0,-41-5-24 0 0,-16-1 0 0 0,2-1 0 0 0,27-1 0 0 0,-1-1 0 0 0,-8 3 0 0 0,39-2 64 0 0,-50 1-64 0 0,-2-4 0 0 0,-4 1 0 0 0,4 0 0 0 0,11 2 0 0 0,-13 0 0 0 0,5-5 0 0 0,10-7 0 0 0,4-9 154 0 0,-23 17 7 0 0,0-1 0 0 0,0 0-1 0 0,0 0 1 0 0,-1-1-1 0 0,0 1 1 0 0,0-1 0 0 0,0 1-1 0 0,1-5-160 0 0,11-14 161 0 0,7-45 239 0 0,-20 55-300 0 0,-2 12-91 0 0,0 0 0 0 0,0-1-1 0 0,0 1 1 0 0,0 0 0 0 0,0 0 0 0 0,0 0-1 0 0,1 0 1 0 0,-1 0 0 0 0,0 0-1 0 0,0 0 1 0 0,1 0 0 0 0,-1 0 0 0 0,1 0-1 0 0,-1 0 1 0 0,1 0 0 0 0,-1 0 0 0 0,1 0-1 0 0,-1 0 1 0 0,1 1 0 0 0,0-1 0 0 0,0-1-9 0 0,1 1 24 0 0,-1-1 0 0 0,0 0 0 0 0,0 0 1 0 0,0 0-1 0 0,0 0 0 0 0,0 0 0 0 0,0 0 1 0 0,-1 0-1 0 0,1 0 0 0 0,-1 0 0 0 0,1 0 1 0 0,-1 0-1 0 0,0 0 0 0 0,0 0 0 0 0,0-1 1 0 0,0-1-25 0 0,4-29 385 0 0,-3 27-302 0 0,0 1-1 0 0,0-1 1 0 0,-1 1-1 0 0,1-1 1 0 0,-1 1-1 0 0,-1-1 1 0 0,1 1-1 0 0,-1-1 1 0 0,0 1-1 0 0,0 0 1 0 0,0-1 0 0 0,-2-2-83 0 0,-9-24 506 0 0,10 27-440 0 0,1 0 1 0 0,-1 0-1 0 0,0 0 0 0 0,-1 0 0 0 0,1 1 0 0 0,-1-1 0 0 0,0 1 0 0 0,0-1 0 0 0,0 1 1 0 0,-4-4-67 0 0,-10-9 207 0 0,14 14-156 0 0,0-1-1 0 0,0 1 0 0 0,-1 0 1 0 0,1 0-1 0 0,-1 0 0 0 0,0 0 1 0 0,-2 0-51 0 0,-22-15 242 0 0,20 13-178 0 0,-1 0 0 0 0,1 0-1 0 0,-1 1 1 0 0,-6-3-64 0 0,-10-1-53 0 0,-1 1 1 0 0,0 0-1 0 0,0 2 0 0 0,0 2 1 0 0,-14-1 52 0 0,-35 2-2572 0 0,53 2-2074 0 0</inkml:trace>
  <inkml:trace contextRef="#ctx0" brushRef="#br0" timeOffset="15893.969">1199 3135 4000 0 0,'0'0'183'0'0,"-23"0"1490"0"0,5-2-581 0 0,1 0-1 0 0,-1-1 1 0 0,-5-2-1092 0 0,-6-1 749 0 0,23 5-547 0 0,0-2 0 0 0,0 1 1 0 0,1 0-1 0 0,-1-1 0 0 0,0 0 1 0 0,1-1-1 0 0,-3-1-202 0 0,4 2 121 0 0,-1-1-1 0 0,0 1 1 0 0,0 1-1 0 0,-1-1 1 0 0,1 1-1 0 0,-1 0 1 0 0,-1 0-121 0 0,3 0 82 0 0,0 1 1 0 0,0-1 0 0 0,0 1 0 0 0,0-1 0 0 0,0 0 0 0 0,1 0 0 0 0,-1-1-1 0 0,0 1-82 0 0,1-1 39 0 0,-1 1 0 0 0,1 0-1 0 0,-1 0 1 0 0,0 0 0 0 0,0 0-1 0 0,0 0 1 0 0,0 1 0 0 0,0 0-39 0 0,-55-9 269 0 0,4-6 150 0 0,43 13-329 0 0,1 0-1 0 0,-1-1 1 0 0,1 0 0 0 0,-1 0 0 0 0,-2-3-90 0 0,-21-8 359 0 0,-32-4 488 0 0,34 11-446 0 0,0 3-220 0 0,28 5-144 0 0,-1 0-1 0 0,1-1 1 0 0,0 0 0 0 0,-1 0 0 0 0,-2-1-37 0 0,-11-3 120 0 0,16 4-104 0 0,0 1 0 0 0,0-1-1 0 0,0 0 1 0 0,0 0 0 0 0,0-1 0 0 0,0 1 0 0 0,-2-2-17 0 0,-16-6 77 0 0,15 7-45 0 0,0-1 0 0 0,0 1 0 0 0,0-1 0 0 0,1 0 0 0 0,-3-2-31 0 0,6 3 43 0 0,-2-2-33 0 0,-6-1-10 0 0,-5-2 0 0 0,-9-1 0 0 0,22 6 0 0 0,1 2 0 0 0,0-1 0 0 0,0 1 0 0 0,1-1 0 0 0,-1 0 0 0 0,0 1 0 0 0,0-1 0 0 0,1 1 0 0 0,-1 0 0 0 0,0-1 0 0 0,0 1 0 0 0,0 0 0 0 0,0 0 0 0 0,0-1 0 0 0,1 1 0 0 0,-1 0 0 0 0,0 0 0 0 0,0 0 0 0 0,0 0 0 0 0,0 0 0 0 0,0 0 0 0 0,0 0 0 0 0,-17-1 0 0 0,14 1 0 0 0,-1 0 0 0 0,1 0 0 0 0,0-1 0 0 0,-1 0 0 0 0,1 1 0 0 0,0-2 0 0 0,0 1 0 0 0,0 0 0 0 0,-4-2 0 0 0,-28-6 64 0 0,24 8-64 0 0,-14 7 0 0 0,15-1 0 0 0,0 3 0 0 0,-3 0 0 0 0,12-7 0 0 0,0 0 0 0 0,0 0 0 0 0,0 1 0 0 0,0-1 0 0 0,0 1 0 0 0,0-1 0 0 0,0 1 0 0 0,1-1 0 0 0,-1 1 0 0 0,1 0 0 0 0,-1 0 0 0 0,1 0 0 0 0,0 0 0 0 0,0 0 0 0 0,-1 0 0 0 0,1 2 0 0 0,-16 25 0 0 0,11-6 0 0 0,1-13 0 0 0,4-9 0 0 0,1 0 0 0 0,-1 0 0 0 0,0 0 0 0 0,0 0 0 0 0,1 0 0 0 0,-1 0 0 0 0,1 0 0 0 0,-1 0 0 0 0,1 0 0 0 0,-1 0 0 0 0,1 1 0 0 0,0-1 0 0 0,0 0 0 0 0,-1 0 0 0 0,1 0 0 0 0,0 1 0 0 0,0-1 0 0 0,0 0 0 0 0,0 0 0 0 0,0 1 0 0 0,1-1 0 0 0,-1 1 0 0 0,1 3 0 0 0,-4 7 0 0 0,-1 12 0 0 0,1 7 0 0 0,3-20 0 0 0,-5 45 0 0 0,4-46 0 0 0,-3 0 0 0 0,3 3 0 0 0,0-3 0 0 0,-3 0 0 0 0,4-9 0 0 0,-1 1 0 0 0,0-1 0 0 0,0 0 0 0 0,1 1 0 0 0,-1-1 0 0 0,1 0 0 0 0,-1 1 0 0 0,1-1 0 0 0,0 1 0 0 0,0-1 0 0 0,-1 1 0 0 0,1-1 0 0 0,0 1 0 0 0,0-1 0 0 0,1 1 0 0 0,-1-1 0 0 0,0 1 0 0 0,0-1 0 0 0,1 0 0 0 0,-1 1 0 0 0,1-1 0 0 0,-1 1 0 0 0,1-1 0 0 0,0 1 0 0 0,0 0 0 0 0,1 8 0 0 0,6-1 0 0 0,-2 1 0 0 0,1-1 0 0 0,24 29 0 0 0,-22-29 0 0 0,4 7 0 0 0,-13-16 0 0 0,0 1 0 0 0,0 0 0 0 0,0-1 0 0 0,1 1 0 0 0,-1 0 0 0 0,0 0 0 0 0,1-1 0 0 0,-1 1 0 0 0,0-1 0 0 0,1 1 0 0 0,-1 0 0 0 0,1-1 0 0 0,-1 1 0 0 0,1-1 0 0 0,-1 1 0 0 0,1-1 0 0 0,0 1 0 0 0,-1-1 0 0 0,1 1 0 0 0,0-1 0 0 0,-1 0 0 0 0,1 1 0 0 0,0-1 0 0 0,-1 0 0 0 0,1 0 0 0 0,0 0 0 0 0,0 1 0 0 0,-1-1 0 0 0,2 0 0 0 0,1 0 0 0 0,36 27 0 0 0,-25-18 0 0 0,-10-5 0 0 0,1-1 0 0 0,0 0 0 0 0,0 0 0 0 0,0 0 0 0 0,5 1 0 0 0,11 8 0 0 0,-14-7 0 0 0,0-1 0 0 0,1 0 0 0 0,-1-1 0 0 0,8 3 0 0 0,-1 0 0 0 0,0 1 0 0 0,0 0 0 0 0,8 6 0 0 0,20 11 0 0 0,-37-21 0 0 0,0-1 0 0 0,0 1 0 0 0,-1 0 0 0 0,1 0 0 0 0,2 2 0 0 0,-3-2 0 0 0,-1 0 0 0 0,1-1 0 0 0,-1 0 0 0 0,1 0 0 0 0,0 0 0 0 0,0 0 0 0 0,0-1 0 0 0,1 1 0 0 0,48 22 64 0 0,-48-22-64 0 0,21 5 0 0 0,-15-6 0 0 0,-7-1 0 0 0,-1 1 0 0 0,1-1 0 0 0,0 1 0 0 0,-1 0 0 0 0,1 0 0 0 0,0 0 0 0 0,-1 0 0 0 0,1 1 0 0 0,24 4 0 0 0,-17-5 0 0 0,-1 1 0 0 0,0 0 0 0 0,-1 0 0 0 0,1 1 0 0 0,0 0 0 0 0,2 2 0 0 0,41 19 0 0 0,-41-19-65 0 0,-1 0-1 0 0,1 1 0 0 0,8 6 66 0 0,-8-4-249 0 0,0-1 0 0 0,1-1 1 0 0,4 2 248 0 0,12 5-1139 0 0,-10-3-3210 0 0,-9-4-147 0 0</inkml:trace>
  <inkml:trace contextRef="#ctx0" brushRef="#br0" timeOffset="17431.645">408 3706 1840 0 0,'0'3'-478'0'0,"-1"14"7108"0"0,0-16-6442 0 0,1 0-1 0 0,-1 0 1 0 0,0 0 0 0 0,0 0 0 0 0,0 0-1 0 0,0 0 1 0 0,0 0 0 0 0,0 0 0 0 0,0-1-1 0 0,0 1 1 0 0,0 0 0 0 0,0-1 0 0 0,-1 1-1 0 0,1-1 1 0 0,0 1 0 0 0,0-1 0 0 0,-2 1-188 0 0,2-1 152 0 0,-1 4-79 0 0,0 0-1 0 0,0 1 1 0 0,-1-1 0 0 0,0 0 0 0 0,1-1 0 0 0,-2 1 0 0 0,1 0 0 0 0,0-1 0 0 0,-1 0-73 0 0,3-1 18 0 0,-1-1 1 0 0,1 0-1 0 0,0 0 1 0 0,0 1-1 0 0,0-1 1 0 0,0 1-1 0 0,0-1 1 0 0,0 1-1 0 0,0-1 1 0 0,0 1-1 0 0,0-1 1 0 0,1 1-1 0 0,-1 0 1 0 0,1-1-1 0 0,-1 1 1 0 0,1 1-19 0 0,-6 11 146 0 0,2-4-60 0 0,3-8-74 0 0,1 0 0 0 0,-1-1 1 0 0,0 1-1 0 0,1-1 0 0 0,-1 1 1 0 0,0-1-1 0 0,0 1 0 0 0,0-1 1 0 0,0 0-1 0 0,-1 1 0 0 0,1-1 0 0 0,0 0 1 0 0,-1 1-13 0 0,-6 7 0 0 0,5-5-2 0 0,1-3 13 0 0,1 1 0 0 0,0 0 1 0 0,0 0-1 0 0,0 0 0 0 0,0 0 0 0 0,0 0 0 0 0,0 0 1 0 0,0 0-1 0 0,1 0 0 0 0,-1 0 0 0 0,1 1 0 0 0,0-1 1 0 0,-1 1-12 0 0,-6 31 80 0 0,7-30-80 0 0,0-3 0 0 0,0 0 0 0 0,-1 0 0 0 0,1 1 0 0 0,0-1 0 0 0,0 0 0 0 0,-1 0 0 0 0,1 0 0 0 0,-1 0 0 0 0,1 0 0 0 0,-1 0 0 0 0,1 0 0 0 0,-1 0 0 0 0,0 0 0 0 0,1 0 0 0 0,-1 0 0 0 0,0 0 0 0 0,0 0 0 0 0,0 0 0 0 0,0-1 0 0 0,1 1 0 0 0,-1-1-1 0 0,0 1 1 0 0,1 0 0 0 0,-1-1 0 0 0,1 1 0 0 0,-1 0 0 0 0,1 0 0 0 0,0-1 0 0 0,-1 1 0 0 0,1 0 0 0 0,0 0 0 0 0,0-1 0 0 0,-1 1 0 0 0,1 0 0 0 0,0 0 0 0 0,0 0 0 0 0,0 0 0 0 0,0-1 0 0 0,0 1 0 0 0,0 0 0 0 0,0 1 0 0 0,2 12 65 0 0,-2-13-61 0 0,0 0 1 0 0,0 1 0 0 0,0-1 0 0 0,0 1 0 0 0,0-1 0 0 0,0 1-1 0 0,-1-1 1 0 0,1 0 0 0 0,0 1 0 0 0,-1-1 0 0 0,1 0 0 0 0,-1 1 0 0 0,0 0-5 0 0,-1 9 54 0 0,2 24 95 0 0,1-25-106 0 0,4 0-32 0 0,9 15-11 0 0,-14-25 0 0 0,1 0 0 0 0,-1 1 0 0 0,0-1 0 0 0,1 0 0 0 0,-1 1 0 0 0,0-1 0 0 0,1 0 0 0 0,-1 1 0 0 0,0-1 0 0 0,0 1 0 0 0,1-1 0 0 0,-1 1 0 0 0,0-1 0 0 0,0 1 0 0 0,0-1 0 0 0,1 1 0 0 0,-1-1 0 0 0,0 1 0 0 0,0-1 0 0 0,0 1 0 0 0,0-1 0 0 0,0 1 0 0 0,0-1 0 0 0,0 1 0 0 0,0-1 0 0 0,0 1 0 0 0,0-1 0 0 0,-1 1 0 0 0,1-1 0 0 0,0 1 0 0 0,0-1 0 0 0,0 1 0 0 0,0-1 0 0 0,0 1 0 0 0,0-1 0 0 0,0 1 0 0 0,0-1 0 0 0,0 1 0 0 0,0-1 0 0 0,0 1 0 0 0,0-1 0 0 0,0 1 0 0 0,1-1 0 0 0,-1 1 0 0 0,0-1 0 0 0,0 1 0 0 0,0-1 0 0 0,1 1 0 0 0,-1-1 0 0 0,0 0 0 0 0,1 1 0 0 0,-1-1 0 0 0,0 1 0 0 0,1-1 0 0 0,-1 0 0 0 0,0 1 0 0 0,1-1 0 0 0,7 7 0 0 0,3 5 0 0 0,-4 0 0 0 0,-5-8 0 0 0,15 10 0 0 0,-16-14 0 0 0,3 3 23 0 0,1-1 1 0 0,-1 1 0 0 0,1-1-1 0 0,0 0 1 0 0,0 0 0 0 0,-1 0 0 0 0,1-1-1 0 0,0 0 1 0 0,3 1-24 0 0,0 1 11 0 0,-5-1-3 0 0,-1 0 1 0 0,1-1-1 0 0,0 1 1 0 0,-1-1 0 0 0,1 1-1 0 0,0-1 1 0 0,0 0-1 0 0,0 0 1 0 0,0 0 0 0 0,-1-1-1 0 0,3 1-8 0 0,21 4 34 0 0,86 22 30 0 0,-59-16-64 0 0,-14 7 0 0 0,-36-17 0 0 0,5 2 0 0 0,0 0 0 0 0,0-1 0 0 0,0 0 0 0 0,1 0 0 0 0,-1-1 0 0 0,0 0 0 0 0,1-1 0 0 0,-1 0 0 0 0,5 0 0 0 0,0-2 29 0 0,-3 4 5 0 0,-8-1-33 0 0,-1-1-1 0 0,0 0 0 0 0,1 1 0 0 0,-1-1 0 0 0,0 1 0 0 0,-1 0 0 0 0,1-1 0 0 0,0 1 0 0 0,0 0 0 0 0,0-1 0 0 0,0 1 0 0 0,0 0 0 0 0,-1 0 0 0 0,1 0 0 0 0,0 0 0 0 0,0 1 0 0 0,7 5 0 0 0,-3-4 0 0 0,-4-2 0 0 0,1 0 0 0 0,-1 0 0 0 0,0 0 0 0 0,0 0 0 0 0,1-1 0 0 0,-1 1 0 0 0,0 0 0 0 0,1-1 0 0 0,-1 1 0 0 0,1-1 0 0 0,-1 1 0 0 0,1-1 0 0 0,-1 0 0 0 0,2 1 0 0 0,7-1 0 0 0,-7-3 0 0 0,-2 3 0 0 0,0-1 0 0 0,0 1 0 0 0,-1-1 0 0 0,1 0 0 0 0,0 1 0 0 0,0 0 0 0 0,0-1 0 0 0,0 1 0 0 0,0-1 0 0 0,-1 1 0 0 0,1 0 0 0 0,0 0 0 0 0,0-1 0 0 0,0 1 0 0 0,0 0 0 0 0,0 0 0 0 0,0 0 0 0 0,0 0 0 0 0,1 0 0 0 0,23-4 0 0 0,-13 4 0 0 0,-10 0 0 0 0,-1 0-1 0 0,0 1 1 0 0,1-1 0 0 0,-1 0 0 0 0,0 0 0 0 0,0 1 0 0 0,1-1 0 0 0,-1 1 0 0 0,0-1 0 0 0,0 1 0 0 0,0-1 0 0 0,0 1 0 0 0,0 0 0 0 0,1 0 0 0 0,-1-1 0 0 0,0 1 0 0 0,0 1 0 0 0,-1-2 0 0 0,1 1 1 0 0,-1-1-1 0 0,0 0 1 0 0,1 0-1 0 0,-1 1 1 0 0,0-1-1 0 0,1 0 0 0 0,-1 0 1 0 0,0 1-1 0 0,1-1 1 0 0,-1 0-1 0 0,1 0 1 0 0,-1 0-1 0 0,0 0 1 0 0,1 1-1 0 0,-1-1 1 0 0,1 0-1 0 0,-1 0 1 0 0,1 0-1 0 0,-1 0 0 0 0,1 0 1 0 0,-1 0-1 0 0,0 0 1 0 0,1 0-1 0 0,-1 0 0 0 0,47 4 54 0 0,-12 6-16 0 0,-25-8-34 0 0,-1 1 0 0 0,0-1 1 0 0,0 2-1 0 0,-1-1 0 0 0,1 1 1 0 0,0 1-5 0 0,0 0-9 0 0,0 0 1 0 0,0-2 0 0 0,1 1 0 0 0,-1-1 0 0 0,1 0 0 0 0,0-1 0 0 0,0 0 0 0 0,-1-1-1 0 0,1 0 1 0 0,0 0 0 0 0,8-1 8 0 0,-8 2-282 0 0,-3 0-3472 0 0,3 2-448 0 0</inkml:trace>
  <inkml:trace contextRef="#ctx0" brushRef="#br0" timeOffset="18430.558">408 3655 1840 0 0,'0'0'277'0'0,"0"0"491"0"0,0 0 208 0 0,0 0 44 0 0,0 0-91 0 0,0 0-423 0 0,0 0-186 0 0,0 0-38 0 0,0 0-6 0 0,0 0 10 0 0,0 0 2 0 0,0 0 0 0 0,0 0-6 0 0,0 0-22 0 0,12 4 998 0 0,26 6 174 0 0,30 8-1235 0 0,-62-16-188 0 0,-4-1-5 0 0,0 0 1 0 0,0 0-1 0 0,0-1 1 0 0,0 1 0 0 0,1-1-1 0 0,-1 0 1 0 0,0 0-1 0 0,0 0 1 0 0,1 0 0 0 0,-1 0-1 0 0,0 0 1 0 0,2-1-5 0 0,24 1 11 0 0,-12 1-1 0 0,0 3 33 0 0,0 0-32 0 0,-1-1-11 0 0,2 3 0 0 0,0 0 13 0 0,-1-2 40 0 0,0 2-39 0 0,0-1-14 0 0,-1 4 0 0 0,1 0 0 0 0,-1-3 0 0 0,-1 3 0 0 0,0 0 0 0 0,-3 0 0 0 0,0 0 0 0 0,0 1 0 0 0,8 4 0 0 0,-16-10 0 0 0,22 13 0 0 0,-14-8 0 0 0,16 14 80 0 0,-12-13-80 0 0,-14-9-35 0 0,0-1-1 0 0,0 1 1 0 0,1 0 0 0 0,-1-1 0 0 0,0 1 0 0 0,0 0 0 0 0,0 0 0 0 0,0 0-1 0 0,0 0 1 0 0,0 0 0 0 0,0 0 0 0 0,0 0 0 0 0,0 1 0 0 0,-1-1 0 0 0,1 0-1 0 0,0 2 36 0 0,0-3-271 0 0,-1 0-183 0 0</inkml:trace>
  <inkml:trace contextRef="#ctx0" brushRef="#br0" timeOffset="18814.957">932 3831 1376 0 0,'0'0'65'0'0,"0"0"287"0"0,0 0 1182 0 0,0 0 511 0 0,0 0 105 0 0,0 0-222 0 0,0 0-1028 0 0,0 0-452 0 0,0 0-89 0 0,0 0-50 0 0,0 0-126 0 0,0 0-58 0 0,0 0-11 0 0,0 0-10 0 0,1 2-43 0 0,4 9-40 0 0,0-1 22 0 0,-3-7-35 0 0,-1 1 0 0 0,1-1 1 0 0,0 0-1 0 0,-1 1 0 0 0,0-1 0 0 0,0 1 1 0 0,0 0-1 0 0,0-1 0 0 0,0 1 1 0 0,-1 0-1 0 0,0-1 0 0 0,0 1 0 0 0,0 0 1 0 0,0 0-1 0 0,-1 3-8 0 0,0 22 23 0 0,-11 82 41 0 0,12-101-206 0 0,0 0 0 0 0,-1 0 1 0 0,0 0-1 0 0,-1 0 1 0 0,0 0-1 0 0,0-1 0 0 0,-1 1 1 0 0,-1-1-1 0 0,0 1 1 0 0,-2 4 141 0 0,-3 6-399 0 0,8-16 287 0 0,0-1 1 0 0,0 0-1 0 0,-1 0 1 0 0,1 0-1 0 0,-1 0 1 0 0,1 0 0 0 0,-1 0-1 0 0,0-1 112 0 0,-4 7-686 0 0,-5 3-1448 0 0,6-9 1629 0 0</inkml:trace>
  <inkml:trace contextRef="#ctx0" brushRef="#br0" timeOffset="19153.227">863 3821 5040 0 0,'0'0'231'0'0,"0"2"-18"0"0,0 0-84 0 0,0 0-1 0 0,0 0 1 0 0,0 1 0 0 0,0-1-1 0 0,0 0 1 0 0,-1 0 0 0 0,1 0-1 0 0,-1 0 1 0 0,0 3-129 0 0,-2 8 1675 0 0,2-4-1266 0 0,-1-1 0 0 0,0 0-1 0 0,0 0 1 0 0,-1 1 0 0 0,-2 3-409 0 0,-1 23 732 0 0,-5 24-169 0 0,-5 24-286 0 0,10-35-1068 0 0,1-34-3215 0 0</inkml:trace>
  <inkml:trace contextRef="#ctx0" brushRef="#br0" timeOffset="20074.795">408 4363 1376 0 0,'0'0'261'0'0,"0"0"562"0"0,0 0 250 0 0,0 0 51 0 0,0 0-83 0 0,-16 25 1709 0 0,-16 21-985 0 0,27-38-1655 0 0,0-1 0 0 0,1 1 0 0 0,0 0 0 0 0,0 0 0 0 0,1 1 0 0 0,-2 4-110 0 0,-14 31 367 0 0,15-31-367 0 0,4-10 0 0 0,0-1 0 0 0,-1 0 0 0 0,1 1 0 0 0,-1-1 0 0 0,1 0 0 0 0,-1 0 0 0 0,0 0 0 0 0,0 0 0 0 0,0 0 0 0 0,0 0 0 0 0,-1 0 0 0 0,1 0 0 0 0,-1 0 0 0 0,-1 5 27 0 0,1-1 1 0 0,-1 1-1 0 0,1-1 1 0 0,0 1 0 0 0,1 0-1 0 0,-1 0 1 0 0,1 0-1 0 0,1 0 1 0 0,-1 0-1 0 0,1 0 1 0 0,1 0 0 0 0,-1 1-28 0 0,1 5-11 0 0,-2-10-31 0 0,7 18-158 0 0,4 27 178 0 0,-7-44 22 0 0,1 27 0 0 0,5 4 337 0 0,-3-10-540 0 0,-7-21 134 0 0,8 16 4 0 0,2 16 65 0 0,-8-13 0 0 0,1-10 0 0 0,5-3 0 0 0,-1-3 14 0 0,10 17 44 0 0,-15-23-134 0 0,-1-1 1 0 0,0 0 10 0 0,0 0 1 0 0,0 0-16 0 0,0 0-66 0 0,0 0-22 0 0,0 0-681 0 0,0 0-2700 0 0</inkml:trace>
  <inkml:trace contextRef="#ctx0" brushRef="#br0" timeOffset="20887.738">525 5030 1840 0 0,'0'-24'636'0'0,"2"19"-47"0"0,1 2 69 0 0,-2 1 1276 0 0,-1 2 91 0 0,0 0-150 0 0,0 0-715 0 0,0 0-316 0 0,0 0-63 0 0,0 0-86 0 0,0 0-316 0 0,0 0-143 0 0,0 0-32 0 0,0 0-22 0 0,0 0-74 0 0,13 1 79 0 0,11 3-150 0 0,0-1 1 0 0,24-1-38 0 0,-13-7 0 0 0,-19 5 0 0 0,0 5 0 0 0,0-1 0 0 0,1-1 0 0 0,0-2 0 0 0,3 0 0 0 0,-3 5 0 0 0,7 6 64 0 0,-9-8 0 0 0,6 4 608 0 0,-18-6-633 0 0,0-1 1 0 0,-1 0 0 0 0,1 0 0 0 0,0-1 0 0 0,0 1-1 0 0,0 0 1 0 0,0-1 0 0 0,0 0-40 0 0,4 1 61 0 0,0 1 0 0 0,0-1 1 0 0,0 1-1 0 0,0 1 0 0 0,0-1 0 0 0,0 1 0 0 0,2 2-61 0 0,8 1 43 0 0,8-1-34 0 0,-20-5-6 0 0,17 8-5 0 0,0 2 3 0 0,15 1-1 0 0,-31-7 0 0 0,22 5 53 0 0,-23-8-46 0 0,2 0-4 0 0,12 12-2 0 0,1 0-50 0 0,-15-13 11 0 0,-2 0 2 0 0,0 0-132 0 0,-2 1 158 0 0,1-1 0 0 0,-1 1 1 0 0,0 0-1 0 0,1 0 0 0 0,-1-1 0 0 0,0 1 0 0 0,0 0 1 0 0,0 0-1 0 0,1 0 0 0 0,-1 0 0 0 0,0 0 1 0 0,0 0-1 0 0,0 1 0 0 0,-1-1 0 0 0,1 0 0 0 0,1 1 10 0 0,-2-1 2 0 0,2 1 148 0 0,0 0-50 0 0,5 2-576 0 0,-1 1 0 0 0,0 0 0 0 0,-1 1 0 0 0,1-1 0 0 0,-1 1 0 0 0,0 0 0 0 0,2 3 476 0 0,-3 1-4608 0 0</inkml:trace>
  <inkml:trace contextRef="#ctx0" brushRef="#br0" timeOffset="21708.118">697 4363 920 0 0,'0'0'271'0'0,"0"0"801"0"0,0 0 353 0 0,0 0 71 0 0,0 0-142 0 0,0 0-626 0 0,0 0-273 0 0,0 0-58 0 0,0 0-31 0 0,0 0-86 0 0,0 0-38 0 0,0 0-8 0 0,0 0-26 0 0,2 2-95 0 0,-2-2-108 0 0,0 1 0 0 0,1 0 0 0 0,-1-1 0 0 0,1 1 0 0 0,-1 0 0 0 0,1-1-1 0 0,0 1 1 0 0,-1-1 0 0 0,1 1 0 0 0,0-1 0 0 0,-1 1 0 0 0,1-1 0 0 0,0 1 0 0 0,-1-1 0 0 0,1 0 0 0 0,0 1 0 0 0,0-1 0 0 0,0 0 0 0 0,-1 0-1 0 0,1 1 1 0 0,0-1 0 0 0,0 0 0 0 0,0 0 0 0 0,0 0 0 0 0,-1 0 0 0 0,1 0 0 0 0,0 0-5 0 0,3 0 15 0 0,30 16-4 0 0,-2 4 79 0 0,-27-18-42 0 0,0 0-1 0 0,-1 1 1 0 0,1 0-1 0 0,-1 0 1 0 0,1 0-1 0 0,-1 0 1 0 0,0 1-1 0 0,0-1 1 0 0,-1 1 0 0 0,1 0-1 0 0,1 3-47 0 0,24 33 457 0 0,-27-35-426 0 0,0 0 0 0 0,1 0 0 0 0,0 0-1 0 0,0 0 1 0 0,0 0 0 0 0,0 0 0 0 0,1-1 0 0 0,0 0-1 0 0,0 0 1 0 0,0 0 0 0 0,0 0 0 0 0,4 2-31 0 0,-2-3 34 0 0,-1 1 0 0 0,0-1 0 0 0,0 1 0 0 0,-1 0 0 0 0,1 0 0 0 0,-1 0 0 0 0,0 1 0 0 0,2 1-34 0 0,25 50 74 0 0,-30-52-98 0 0,1-1 0 0 0,-1 1-1 0 0,0-1 1 0 0,0 1 0 0 0,0 0 0 0 0,0-1-1 0 0,-1 1 1 0 0,0 0 0 0 0,1 2 24 0 0,-3 15 100 0 0,3-16 77 0 0,1-2-141 0 0,-2-3-18 0 0,0 1-1 0 0,0 0 1 0 0,0-1 0 0 0,0 1 0 0 0,0 0-1 0 0,0 0 1 0 0,0-1 0 0 0,0 1 0 0 0,0 0-1 0 0,-1-1 1 0 0,1 1 0 0 0,0 0-1 0 0,0-1 1 0 0,-1 1 0 0 0,1 0 0 0 0,0-1-1 0 0,-1 1-17 0 0,0 3 30 0 0,-1 11-89 0 0,-2 13-318 0 0,2-22 260 0 0,-1 1 244 0 0,1 0 0 0 0,-1 0 0 0 0,2 1 0 0 0,-1-1 0 0 0,0 8-127 0 0,1-9-122 0 0,-1 0 0 0 0,0 0 0 0 0,0-1 0 0 0,0 1 0 0 0,0 0 0 0 0,-1-1 0 0 0,0 1 0 0 0,0-1 0 0 0,-4 4 122 0 0,1 0-112 0 0,-4 16-940 0 0,6-19 646 0 0,0 0 0 0 0,-1 0 0 0 0,0 0 0 0 0,-3 3 406 0 0,-13 15-2708 0 0,14-19 632 0 0</inkml:trace>
  <inkml:trace contextRef="#ctx0" brushRef="#br0" timeOffset="22077.637">851 4478 5984 0 0,'0'0'273'0'0,"0"0"-5"0"0,0 0-65 0 0,0 0 361 0 0,0 0 178 0 0,0 0 33 0 0,0 0-42 0 0,0 0-205 0 0,0 0-89 0 0,0 0-20 0 0,0 0-30 0 0,-5 9 340 0 0,-7 13-86 0 0,6-10-550 0 0,-1 1 0 0 0,-1-2 0 0 0,-8 11-93 0 0,-8 22-16 0 0,4-13 16 0 0,1 1 0 0 0,2 0 0 0 0,-2 10 0 0 0,10-20-131 0 0,2-1 0 0 0,-3 16 131 0 0,4-5-3716 0 0,5-21-146 0 0</inkml:trace>
  <inkml:trace contextRef="#ctx0" brushRef="#br0" timeOffset="22446.164">740 4373 920 0 0,'0'0'157'0'0,"-4"10"954"0"0,0 2-744 0 0,0-1 1 0 0,0 0-1 0 0,-1 0 1 0 0,0-1-1 0 0,0 1 0 0 0,-2-1 1 0 0,-5 7-368 0 0,-28 31 1958 0 0,34-37-1708 0 0,0-3-136 0 0,1 1 1 0 0,0 0 0 0 0,0 0-1 0 0,1 0 1 0 0,1 0 0 0 0,-1 4-115 0 0,-2 6 80 0 0</inkml:trace>
  <inkml:trace contextRef="#ctx0" brushRef="#br0" timeOffset="23922.753">471 5034 1376 0 0,'0'0'65'0'0,"0"0"210"0"0,0 0 857 0 0,0 0 373 0 0,0 0 79 0 0,0 0-129 0 0,0 0-602 0 0,0 0-257 0 0,0 0-55 0 0,0 0-33 0 0,0 0-90 0 0,0 0-40 0 0,-10 4 341 0 0,-27 15 556 0 0,27-11-1157 0 0,0 0 0 0 0,1 1 1 0 0,0-1-1 0 0,1 2 0 0 0,0-1 1 0 0,-5 8-119 0 0,-26 30 115 0 0,29-38-2 0 0,1 1 0 0 0,1 0 0 0 0,0 1 0 0 0,0-1 0 0 0,-1 5-113 0 0,-9 10 146 0 0,-20 46-82 0 0,35-66-23 0 0,0 1 0 0 0,0-1 1 0 0,1 1-1 0 0,0-1 1 0 0,0 1-1 0 0,0 0 1 0 0,1 0-1 0 0,-1 0 1 0 0,2 0-1 0 0,-1 0 1 0 0,1 4-42 0 0,-2-8-74 0 0,1 0 11 0 0,0 10-24 0 0,4-2 87 0 0,0-1 0 0 0,4 25 0 0 0,-7-32 3 0 0,0-1 1 0 0,0 0 0 0 0,0 0-1 0 0,0 1 1 0 0,0-1 0 0 0,1 0 0 0 0,-1 1-1 0 0,0-1 1 0 0,1 0 0 0 0,-1 0 0 0 0,1 1-1 0 0,0-1 1 0 0,-1 0 0 0 0,1 0 0 0 0,0 0-4 0 0,10 18 18 0 0,0 4 36 0 0,10 19 63 0 0,-20-37-104 0 0,5 9-15 0 0,-1-8 49 0 0,-2-4-35 0 0,-1-1 0 0 0,0 1 0 0 0,0 0 0 0 0,0 0 1 0 0,-1 0-1 0 0,1 0 0 0 0,0 1 0 0 0,-1-1 0 0 0,1 0 1 0 0,-1 1-1 0 0,0 0-12 0 0,5 5 11 0 0,-5-7-12 0 0,-1 0 1 0 0,0-1 0 0 0,1 1 0 0 0,0 0-1 0 0,-1 0 1 0 0,1 0 0 0 0,-1-1 0 0 0,1 1 0 0 0,0 0-1 0 0,0-1 1 0 0,-1 1 0 0 0,1 0 0 0 0,0-1 0 0 0,0 1-1 0 0,0-1 1 0 0,0 1 0 0 0,0-1 0 0 0,0 0 0 0 0,0 1-1 0 0,0-1 1 0 0,3 2 13 0 0,8 11 53 0 0,7 5-2 0 0,-15-15-21 0 0,7 2-35 0 0,-4-1 24 0 0,-5 1-8 0 0,24 17-13 0 0,-12-12-11 0 0,26 13 0 0 0,-25-15 0 0 0,34 11 0 0 0,-30-14 0 0 0,-5-5 10 0 0,-9 0 33 0 0,6 1-32 0 0,8 4-11 0 0,-2 0 0 0 0,-1 0 0 0 0,1 0 0 0 0,3-1 0 0 0,44 10 0 0 0,-48-13 0 0 0,2-1 0 0 0,-2 0 10 0 0,-11 1 33 0 0,6 2-32 0 0,4 3-11 0 0,8 2 0 0 0,-10-5 0 0 0,-5-1 0 0 0,-3-1 0 0 0,32-8 0 0 0,0 1 0 0 0,-20 5-51 0 0,-13 1-4269 0 0,-4 0-397 0 0</inkml:trace>
  <inkml:trace contextRef="#ctx0" brushRef="#br0" timeOffset="24693.041">434 5061 5672 0 0,'0'0'257'0'0,"0"0"-2"0"0,0 0-59 0 0,0 0 348 0 0,0 0 174 0 0,0 0 33 0 0,0 0-47 0 0,0 0-228 0 0,0 0-100 0 0,0 0-21 0 0,24 1 573 0 0,7 11-408 0 0,-1-2 1 0 0,1-1-1 0 0,8 0-520 0 0,-16-4 539 0 0,3-1-273 0 0,-13-3-103 0 0,0 1 0 0 0,0 0 0 0 0,0 1 0 0 0,0 1 0 0 0,5 2-163 0 0,5 1 140 0 0,-19-6-118 0 0,-2 0-8 0 0,15 10 90 0 0,-9-7-70 0 0,-1 0-1 0 0,1-1 1 0 0,0 0 0 0 0,3 0-34 0 0,6 3 38 0 0,3 0 14 0 0,-14-6-51 0 0,-1-1 0 0 0,43 9 63 0 0,-35-6-62 0 0,40 1 49 0 0,0 4-40 0 0,-11-4-11 0 0,-37-3 4 0 0,0 0 0 0 0,0 0 0 0 0,0 0 0 0 0,0 1 0 0 0,0-1 1 0 0,0 1-1 0 0,0 1-4 0 0,8 0 37 0 0,-1-2 3 0 0,0 1 0 0 0,-1 1-1 0 0,8 2-39 0 0,-8-2-9 0 0,4 2 9 0 0,2 1 0 0 0,0 0 0 0 0,10 3-112 0 0,-16-4-669 0 0,-9-3 736 0 0,0 0-816 0 0,-2-1-2448 0 0,0 0-1047 0 0</inkml:trace>
  <inkml:trace contextRef="#ctx0" brushRef="#br0" timeOffset="25861.626">1381 5366 4976 0 0,'0'0'231'0'0,"0"0"87"0"0,0 0 265 0 0,0 0 110 0 0,0 0 19 0 0,0 0-13 0 0,0 0-83 0 0,0 0-38 0 0,-5 9 534 0 0,4-8-1040 0 0,0 0 0 0 0,-1 0 0 0 0,1 0 0 0 0,0-1-1 0 0,-1 1 1 0 0,1-1 0 0 0,0 1 0 0 0,-1-1 0 0 0,1 1-1 0 0,-1-1 1 0 0,0 0-72 0 0,0 1 102 0 0,0-1 1 0 0,1 0-1 0 0,-1 1 0 0 0,1-1 0 0 0,-1 1 0 0 0,1-1 0 0 0,-1 1 1 0 0,1 0-1 0 0,0-1 0 0 0,-1 1 0 0 0,1 0 0 0 0,0 0-102 0 0,-8 6 264 0 0,-4 6 106 0 0,10-8-334 0 0,-1 0 0 0 0,0 0 1 0 0,0-1-1 0 0,0 1 0 0 0,-1-1 1 0 0,1 0-1 0 0,-1 0 0 0 0,-3 2-36 0 0,7-5 3 0 0,1-1 0 0 0,-1 1 0 0 0,1-1 0 0 0,0 1-1 0 0,0 0 1 0 0,-1-1 0 0 0,1 1 0 0 0,0-1 0 0 0,0 1-1 0 0,0 0 1 0 0,0-1 0 0 0,-1 1 0 0 0,1 0 0 0 0,0-1-1 0 0,0 1 1 0 0,0 0 0 0 0,1-1 0 0 0,-1 1 0 0 0,0 0-3 0 0,0 6 10 0 0,-2-1 1 0 0,0 1 0 0 0,0-1-1 0 0,0 0 1 0 0,-1 0 0 0 0,0-1-1 0 0,0 1 1 0 0,0 0 0 0 0,-1-1-1 0 0,-2 4-10 0 0,-2 1-60 0 0,1 1 0 0 0,0 0 0 0 0,1 0-1 0 0,0 0 1 0 0,1 1 0 0 0,0 0 0 0 0,1 0 0 0 0,-1 8 60 0 0,-12 26-524 0 0,8-20 43 0 0,0 1-1 0 0,-2 11 482 0 0,11-36-296 0 0,-5 17 662 0 0,1-12-3981 0 0,4-7 126 0 0</inkml:trace>
  <inkml:trace contextRef="#ctx0" brushRef="#br0" timeOffset="26340.267">1356 5423 2760 0 0,'0'0'125'0'0,"9"-18"231"0"0,-9 17-163 0 0,0 1 1 0 0,0-1-1 0 0,0 0 0 0 0,1 0 0 0 0,-1 1 0 0 0,0-1 0 0 0,1 0 0 0 0,-1 0 0 0 0,0 1 1 0 0,1-1-1 0 0,-1 0 0 0 0,1 1 0 0 0,0-1 0 0 0,-1 0 0 0 0,1 1 0 0 0,-1-1 1 0 0,1 1-1 0 0,0-1 0 0 0,-1 1 0 0 0,1 0 0 0 0,0-1-193 0 0,1 0 1359 0 0,-2 1-737 0 0,2-2-550 0 0,0 1-1 0 0,0 0 1 0 0,0-1-1 0 0,-1 1 0 0 0,1 0 1 0 0,0 0-1 0 0,0 0 0 0 0,1 1 1 0 0,-1-1-1 0 0,0 0 1 0 0,0 1-1 0 0,0-1 0 0 0,0 1-71 0 0,2-1 152 0 0,-4 1-6 0 0,3 0 11 0 0,0 0-76 0 0,1 1-1 0 0,-1 0 1 0 0,0-1 0 0 0,1 1 0 0 0,-1 1-1 0 0,0-1 1 0 0,0 0 0 0 0,0 1 0 0 0,0-1-1 0 0,0 1 1 0 0,0 0 0 0 0,0 0 0 0 0,0 0-1 0 0,-1 1 1 0 0,1-1 0 0 0,-1 1-1 0 0,0-1 1 0 0,1 1 0 0 0,-1 0 0 0 0,0 0-1 0 0,-1 0 1 0 0,1 0 0 0 0,0 0-81 0 0,1 4 10 0 0,1 0-1 0 0,-1 0 1 0 0,0 0 0 0 0,-1 0 0 0 0,0 1-1 0 0,0-1 1 0 0,0 1 0 0 0,-1-1 0 0 0,0 1 0 0 0,-1 2-10 0 0,0 2 19 0 0,0-1 1 0 0,-1 1-1 0 0,0-1 1 0 0,-1 1-1 0 0,-1-1 1 0 0,-1 5-20 0 0,-2 0-59 0 0,-2 0 1 0 0,0 0-1 0 0,0 0 0 0 0,-2-1 1 0 0,0-1-1 0 0,0 0 0 0 0,-1 0 1 0 0,-9 8 58 0 0,-44 44-667 0 0,11-19-738 0 0,48-42 867 0 0,1 0-1 0 0,-1 0 1 0 0,0-1 0 0 0,0 0 0 0 0,-3 2 538 0 0,2-5-661 0 0</inkml:trace>
  <inkml:trace contextRef="#ctx0" brushRef="#br0" timeOffset="26678.042">1328 5518 6216 0 0,'0'0'282'0'0,"0"0"-2"0"0,0 3-137 0 0,-10 36 1188 0 0,10-37-1177 0 0,0-2-8 0 0,0 2-5 0 0,-1 6-25 0 0,0-1-1 0 0,0 0 1 0 0,0 0-1 0 0,-1 1 1 0 0,-1 0-116 0 0,-3 13-481 0 0,5-12-2645 0 0</inkml:trace>
  <inkml:trace contextRef="#ctx0" brushRef="#br0" timeOffset="27569.704">980 4505 3224 0 0,'0'0'384'0'0,"0"0"405"0"0,0 0 185 0 0,0 0 32 0 0,0 0-67 0 0,0 0-318 0 0,0 0-138 0 0,0 0-31 0 0,0 0-38 0 0,0 0-140 0 0,0 0-68 0 0,0 0-12 0 0,0 0-18 0 0,0 0-70 0 0,0 0-36 0 0,2 1-6 0 0,5 0-29 0 0,27 7-6 0 0,-26-4-22 0 0,-6-3-2 0 0,0 0 1 0 0,0 0 0 0 0,0-1-1 0 0,0 1 1 0 0,0 0-1 0 0,0-1 1 0 0,0 1 0 0 0,1-1-1 0 0,-1 0 1 0 0,0 1-1 0 0,0-1 1 0 0,0 0 0 0 0,2-1-6 0 0,13 2 11 0 0,1 1-1 0 0,-1 1 1 0 0,1 0 0 0 0,-1 1 0 0 0,-1 1 0 0 0,2 1-11 0 0,-15-6 1 0 0,0 1 0 0 0,0 0 0 0 0,0 1 0 0 0,0-1 0 0 0,0 0 0 0 0,-1 1 0 0 0,1 0 0 0 0,0-1 0 0 0,-1 1 0 0 0,1 0 0 0 0,0 1-1 0 0,9 7 53 0 0,92 46-126 0 0,-66-35 73 0 0,13 1 45 0 0,-51-21-56 0 0,3 0-138 0 0,-3-1-42 0 0,4 0-7 0 0,14 4-2 0 0</inkml:trace>
  <inkml:trace contextRef="#ctx0" brushRef="#br0" timeOffset="28166.391">895 5006 456 0 0,'0'0'1119'0'0,"0"0"127"0"0,0 0 54 0 0,1 1-118 0 0,42 26 1086 0 0,-19-13-1637 0 0,29 14 967 0 0,-29-22-1190 0 0,-17-4-336 0 0,0 0 1 0 0,0 0-1 0 0,1 0 0 0 0,-1-1 1 0 0,5 0-73 0 0,13 3 175 0 0,2-2-70 0 0,-22-2-86 0 0,0 0 1 0 0,0 0-1 0 0,0 1 0 0 0,0 0 0 0 0,0 0 0 0 0,0 0 0 0 0,0 0 0 0 0,0 1 0 0 0,0 0 0 0 0,0 0 1 0 0,-1 0-1 0 0,3 2-19 0 0,-1-2 0 0 0,0 0 0 0 0,0 0 0 0 0,1-1 0 0 0,-1 0 0 0 0,0 0 0 0 0,1-1 0 0 0,-1 1 0 0 0,2-1 0 0 0,-4 0 6 0 0,0 0 1 0 0,0-1 0 0 0,0 1 0 0 0,0-1-1 0 0,0 0 1 0 0,0 1 0 0 0,0-2 0 0 0,3 0-7 0 0,0-1 20 0 0,3 2 5 0 0,14-8 4 0 0,-6-6-888 0 0,-8 12 382 0 0</inkml:trace>
  <inkml:trace contextRef="#ctx0" brushRef="#br0" timeOffset="28492.759">1500 4648 1376 0 0,'6'6'128'0'0,"-6"-6"-128"0"0,0 0 0 0 0,0 14 0 0 0,0-4 704 0 0,0 3 128 0 0,0-3 16 0 0,4 4 8 0 0,-4 0-544 0 0,0 6-112 0 0,0-6-16 0 0,0 5-8 0 0,0 5-40 0 0,-4 0-8 0 0,4 0 0 0 0,-6 3-1712 0 0,6-3-344 0 0</inkml:trace>
  <inkml:trace contextRef="#ctx0" brushRef="#br0" timeOffset="30985.293">1997 4929 3768 0 0,'0'0'168'0'0,"1"2"-3"0"0,19 40 10 0 0,-17-36 292 0 0,0 0 0 0 0,0 1 1 0 0,-1-1-1 0 0,1 1 0 0 0,-1 2-467 0 0,0-9 69 0 0,6 0-497 0 0,-6 0-1785 0 0</inkml:trace>
  <inkml:trace contextRef="#ctx0" brushRef="#br0" timeOffset="31862.714">2018 4634 1840 0 0,'0'12'824'0'0,"6"19"2250"0"0,-5-20-2781 0 0,0 0 0 0 0,1 0 0 0 0,0-1 0 0 0,0 1-293 0 0,1-1 289 0 0,-1 0 0 0 0,-1 1 0 0 0,1-1 0 0 0,-2 0-289 0 0,12 32 1118 0 0,-14-8-1169 0 0,1-23 14 0 0,1 0 1 0 0,0-1-1 0 0,0 1 0 0 0,2 7 37 0 0,-1-9 22 0 0,0-1 0 0 0,-1 0 0 0 0,0 1-1 0 0,-1-1 1 0 0,0 0 0 0 0,0 4-22 0 0,-3 27 75 0 0,1-19-75 0 0,2-17 0 0 0,1 0 0 0 0,-1 0 0 0 0,1-1 0 0 0,-1 1 0 0 0,1 0 0 0 0,0 0 0 0 0,0-1 0 0 0,0 1 0 0 0,0 0 0 0 0,1 1 0 0 0,3 21 115 0 0,-3-19-59 0 0,0 0 1 0 0,0 0 0 0 0,0-1-1 0 0,1 1 1 0 0,0 0-1 0 0,0-1 1 0 0,0 1 0 0 0,3 3-57 0 0,-3-4 33 0 0,0-1 0 0 0,0 0 0 0 0,-1 1 0 0 0,1-1 0 0 0,-1 1 0 0 0,0-1 0 0 0,0 1-33 0 0,8 27-127 0 0,13 25 136 0 0,-20-53 11 0 0,-1 0 0 0 0,0 0 1 0 0,0 1-1 0 0,0-1 0 0 0,0 0 0 0 0,-1 1 0 0 0,1-1 1 0 0,-1 1-1 0 0,0-1 0 0 0,-1 0 0 0 0,1 1 1 0 0,-1-1-1 0 0,0 0-20 0 0,0 2 42 0 0,1 0 0 0 0,-1-1 1 0 0,1 1-1 0 0,0-1 0 0 0,1 1 0 0 0,-1 0 1 0 0,1 2-43 0 0,2 0 233 0 0,-2-4-239 0 0,0 0 1 0 0,0 0-1 0 0,0 1 1 0 0,0-1-1 0 0,-1 0 1 0 0,0 0-1 0 0,1 0 0 0 0,-2 0 1 0 0,1 1-1 0 0,0-1 1 0 0,-1 0-1 0 0,0 0 6 0 0,1-3-15 0 0,0 0-1 0 0,0 0 0 0 0,0 0 1 0 0,0 0-1 0 0,0 0 0 0 0,0-1 0 0 0,0 1 1 0 0,0 0-1 0 0,0 0 0 0 0,0 0 1 0 0,1 0-1 0 0,-1 0 0 0 0,0 0 1 0 0,1 0-1 0 0,-1 0 16 0 0,1 0-4 0 0,-1 0-1 0 0,0-1 1 0 0,1 1 0 0 0,-1 0 0 0 0,0 0 0 0 0,0 0-1 0 0,1 0 1 0 0,-1 0 0 0 0,0 0 0 0 0,0 0 0 0 0,0-1-1 0 0,0 1 1 0 0,0 0 0 0 0,0 0 0 0 0,-1 1 4 0 0,1 0-8 0 0,-1-1 0 0 0,1 1 1 0 0,-1 0-1 0 0,1 0 1 0 0,-1-1-1 0 0,1 1 0 0 0,0 0 1 0 0,0 0-1 0 0,0 0 1 0 0,0 0-1 0 0,0-1 0 0 0,1 1 1 0 0,-1 0-1 0 0,0 0 1 0 0,1 0-1 0 0,-1-1 0 0 0,1 1 8 0 0,0 1-54 0 0,-1 0 0 0 0,0-1 0 0 0,0 1 0 0 0,0-1 0 0 0,0 1 0 0 0,-1 0 0 0 0,1-1 0 0 0,-1 1 0 0 0,1-1 0 0 0,-1 1 0 0 0,0-1 0 0 0,0 0 0 0 0,0 1 0 0 0,0-1 0 0 0,-1 1 54 0 0,-1 5-320 0 0,-5-1-78 0 0,8-7 357 0 0,-1 0 0 0 0,1 1 0 0 0,0-1 0 0 0,-1 0 0 0 0,1 1 0 0 0,-1-1 0 0 0,1 0 0 0 0,-1 1 0 0 0,1-1 0 0 0,0 1 0 0 0,-1-1 1 0 0,1 1-1 0 0,0-1 0 0 0,-1 0 0 0 0,1 1 0 0 0,0-1 0 0 0,0 1 0 0 0,-1 0 0 0 0,1-1 0 0 0,0 1 0 0 0,0-1 0 0 0,0 1 0 0 0,0-1 0 0 0,0 1 0 0 0,0 0 41 0 0,0-1-85 0 0,0 0-1 0 0,0 1 0 0 0,-1-1 0 0 0,1 0 0 0 0,0 1 0 0 0,0-1 0 0 0,0 0 0 0 0,0 1 0 0 0,0-1 0 0 0,0 0 1 0 0,0 1-1 0 0,-1-1 0 0 0,1 0 0 0 0,0 0 0 0 0,0 1 0 0 0,0-1 0 0 0,-1 0 0 0 0,1 0 0 0 0,0 1 0 0 0,0-1 1 0 0,-1 0-1 0 0,1 0 0 0 0,0 0 0 0 0,-1 1 0 0 0,1-1 0 0 0,0 0 0 0 0,-1 0 0 0 0,1 0 0 0 0,0 0 0 0 0,-1 0 1 0 0,1 0-1 0 0,0 0 86 0 0,-16 0-1084 0 0,-14-8 555 0 0,-23-12 312 0 0,34 12 214 0 0,14 5 7 0 0,1 1-1 0 0,-1 0 1 0 0,0 0 0 0 0,-1 0 0 0 0,-4 0-4 0 0,-6-2 156 0 0,-1 0-1 0 0,1-1 1 0 0,-13-5-156 0 0,0-1 97 0 0,-31 0 774 0 0,52 8-831 0 0,2 1-15 0 0,0 0 0 0 0,0 0-1 0 0,0 1 1 0 0,0 0 0 0 0,0 0-1 0 0,0 0 1 0 0,-2 1-25 0 0,4-1 58 0 0,1 1 0 0 0,-1-1 0 0 0,0 0 0 0 0,1 0 0 0 0,-1 0-1 0 0,1 0 1 0 0,-1-1-58 0 0,-20-4 628 0 0,19 5-570 0 0,1 0 0 0 0,-1 0 0 0 0,1-1-1 0 0,0 1 1 0 0,0-1 0 0 0,-1 0 0 0 0,1 0 0 0 0,-1-2-58 0 0,-4-1 61 0 0,1 1 0 0 0,-2 0 1 0 0,1 0-1 0 0,0 0 0 0 0,-1 1 1 0 0,-2 0-62 0 0,-7 0 39 0 0,12 2-5 0 0,0 0 0 0 0,0-1-1 0 0,0 1 1 0 0,0-1 0 0 0,0-1 0 0 0,1 1 0 0 0,-1-1 0 0 0,1 0 0 0 0,0-1-34 0 0,-22-5 144 0 0,28 9-360 0 0</inkml:trace>
  <inkml:trace contextRef="#ctx0" brushRef="#br0" timeOffset="32261.992">1554 4658 1840 0 0,'0'0'251'0'0,"0"0"381"0"0,0 0 168 0 0,0 0 30 0 0,0 0-39 0 0,0 0-201 0 0,0 0-87 0 0,0 0-20 0 0,0 0-22 0 0,0 0-78 0 0,0 0-37 0 0,0 0-8 0 0,0 0-25 0 0,0 0-94 0 0,0 0-41 0 0,0 0-8 0 0,0 0-20 0 0,-7 14-4 0 0,-19 91-2620 0 0,15-58 245 0 0,-1-1 0 0 0,-7 14 2229 0 0,11-34-265 0 0,2 0 0 0 0,0 1 0 0 0,2 0 0 0 0,-1 18 265 0 0,4-40 0 0 0,0 11 0 0 0,0 0 0 0 0,0 0 0 0 0,1 0 0 0 0,1 1 0 0 0,3 2 0 0 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8:25.046"/>
    </inkml:context>
    <inkml:brush xml:id="br0">
      <inkml:brushProperty name="width" value="0.1" units="cm"/>
      <inkml:brushProperty name="height" value="0.1" units="cm"/>
    </inkml:brush>
  </inkml:definitions>
  <inkml:trace contextRef="#ctx0" brushRef="#br0">1795 248 920 0 0,'0'0'275'0'0,"0"0"815"0"0,0 0 354 0 0,0 0 76 0 0,0 0-55 0 0,0 0-287 0 0,0 0-122 0 0,0 0-28 0 0,0 0-140 0 0,0 0-531 0 0,0 0-78 0 0,0 0 29 0 0,0 0 4 0 0,13 6 149 0 0,59 5-86 0 0,-51-7-364 0 0,-15-2-11 0 0,1-1 1 0 0,-1 0-1 0 0,0-1 0 0 0,1 1 0 0 0,-1-1 0 0 0,1 0 0 0 0,-1-1 0 0 0,0 1 0 0 0,1-2 0 0 0,42-4 26 0 0,52-10 22 0 0,-61 9-22 0 0,-35 6-21 0 0,1 0-1 0 0,-1 0 1 0 0,1 0-1 0 0,-1-1 1 0 0,0 0 0 0 0,5-2-5 0 0,43-15 64 0 0,-39 16-64 0 0,-2 1 0 0 0,26-21 0 0 0,-1 8 0 0 0,12-4 0 0 0,-39 13 0 0 0,-7 4 0 0 0,16-9 3 0 0,4 0-21 0 0,67-49-325 0 0,-81 55 274 0 0,33-36-291 0 0,-39 37 317 0 0,0-2 43 0 0,-3 4 59 0 0,0 2 28 0 0,0 0-13 0 0,0 0-8 0 0,0 0-1 0 0,0 0 6 0 0,3 0 5 0 0,9 0 16 0 0,-9 0 4 0 0,-3 0-6 0 0,2 1-31 0 0,4 3-16 0 0,-2-2 131 0 0,-2 0-110 0 0,4 10 334 0 0,-5-11-396 0 0,1 0 1 0 0,-1 1 0 0 0,0 0-1 0 0,-1-1 1 0 0,1 1-1 0 0,0-1 1 0 0,0 1 0 0 0,-1 0-1 0 0,1 0 1 0 0,-1 0 0 0 0,1 0-3 0 0,1 5 13 0 0,1 2 62 0 0,-1 1 4 0 0,3 0-53 0 0,0 1 17 0 0,-3 1-32 0 0,3 9 2 0 0,-5-19-6 0 0,0 1 0 0 0,1-1 0 0 0,-1 0 1 0 0,1 0-1 0 0,0 0 0 0 0,0 0 0 0 0,0 0 0 0 0,0 0 1 0 0,0 0-1 0 0,0-1 0 0 0,0 1 0 0 0,1 0 0 0 0,-1-1 1 0 0,1 2-8 0 0,15 19 14 0 0,-14-17-14 0 0,0 1 0 0 0,0-1 0 0 0,0 1 0 0 0,0-1 0 0 0,1 0 0 0 0,0 0 0 0 0,4 5 0 0 0,-3-4 0 0 0,12 12 0 0 0,-11-8 0 0 0,-2 0 0 0 0,0-1 0 0 0,21 23 0 0 0,-24-31 0 0 0,0 0 0 0 0,1 0 0 0 0,-1 1 0 0 0,0-1 0 0 0,0 0 0 0 0,0 1 0 0 0,0-1 0 0 0,-1 1 0 0 0,1-1 0 0 0,0 1 0 0 0,-1 0 0 0 0,1-1 0 0 0,-1 1 0 0 0,1 1 0 0 0,1 4 0 0 0,4 6 0 0 0,-2-4 0 0 0,-2-5 0 0 0,9 7 0 0 0,1 6 0 0 0,-12-17 0 0 0,29 30 0 0 0,-18-19 0 0 0,-1 2 0 0 0,2-2 0 0 0,-3 1 0 0 0,-1 0 0 0 0,-7-10 0 0 0,0 1 0 0 0,1-1 0 0 0,0 0 0 0 0,0 0 0 0 0,-1 1 0 0 0,1-1 0 0 0,1 0 0 0 0,-1 0 0 0 0,1 0 0 0 0,-2-1 0 0 0,1 1 0 0 0,-1 0 0 0 0,1 0 0 0 0,-1 0 0 0 0,0 0 0 0 0,1 0 0 0 0,-1 0 0 0 0,0 0 0 0 0,0 0 0 0 0,-1 0 0 0 0,1 0 0 0 0,0 0 0 0 0,-1 1 0 0 0,1 2 0 0 0,0 0 0 0 0,9 15 0 0 0,2 22 0 0 0,4-2 0 0 0,-7-22 0 0 0,2 15 0 0 0,-10-29 0 0 0,10 25 0 0 0,3 13 0 0 0,-6-17 0 0 0,-1-1 0 0 0,2 23 0 0 0,-9-45 0 0 0,0-1 0 0 0,0 0 0 0 0,0 1 0 0 0,1-1 0 0 0,-1 0 0 0 0,0 1 0 0 0,1-1 0 0 0,-1 0 0 0 0,1 0 0 0 0,-1 0 0 0 0,1 1 0 0 0,-1-1 0 0 0,1 0 0 0 0,0 0 0 0 0,0 0 0 0 0,0 0 0 0 0,0 20 0 0 0,-2-16 0 0 0,1-4 0 0 0,-1 0 0 0 0,1 1 0 0 0,0-1 0 0 0,0 1 0 0 0,0-1 0 0 0,0 1 0 0 0,0-1 0 0 0,0 1 0 0 0,0-1 0 0 0,0 1 0 0 0,1-1 0 0 0,-1 1 0 0 0,0-1 0 0 0,1 0 0 0 0,-1 1 0 0 0,1 0 0 0 0,4 12 0 0 0,1 0 0 0 0,-2 0 0 0 0,1-1-27 0 0,6 13-515 0 0,-7-16 636 0 0,0 0-1 0 0,-1-1 0 0 0,0 1 1 0 0,0 0-1 0 0,-1 0 1 0 0,0 6-94 0 0,3 5 0 0 0,-3 1 0 0 0,-1-11 0 0 0,2 0 10 0 0,-2-6 33 0 0,-1 4-22 0 0,0-9-20 0 0,0 0 1 0 0,0 1-1 0 0,0-1 0 0 0,0 0 0 0 0,0 1 1 0 0,0-1-1 0 0,0 0 0 0 0,0 0 0 0 0,0 1 1 0 0,0-1-1 0 0,0 0 0 0 0,0 1 0 0 0,0-1 1 0 0,0 0-1 0 0,1 0 0 0 0,-1 1 0 0 0,0-1 1 0 0,0 0-1 0 0,0 0 0 0 0,0 1 0 0 0,0-1 0 0 0,1 0 1 0 0,-1 0-1 0 0,0 0 0 0 0,0 1 0 0 0,0-1 1 0 0,1 0-1 0 0,-1 0 0 0 0,0 0 0 0 0,0 0 1 0 0,1 1-1 0 0,-1-1 0 0 0,0 0 0 0 0,0 0 1 0 0,1 0-1 0 0,-1 0 0 0 0,0 0 0 0 0,0 0 1 0 0,1 0-1 0 0,-1 0 0 0 0,0 0 0 0 0,0 0 1 0 0,1 0-2 0 0,14 6 0 0 0,-6 1 0 0 0,-1-1 0 0 0,2 2 0 0 0,4-3 0 0 0,-2 0 0 0 0,-2-4 0 0 0,17 8 0 0 0,38 6 0 0 0,-59-14 0 0 0,0 1 0 0 0,25 13 0 0 0,-8-7 0 0 0,-4-6 0 0 0,34 10 12 0 0,-8-4 112 0 0,-38-8-124 0 0,33 13 0 0 0,26 11 0 0 0,-26-3-72 0 0,-35-12 72 0 0,-4-7 0 0 0,0 0 0 0 0,0 0 0 0 0,0 0 0 0 0,1 0 0 0 0,-1 0 0 0 0,0 0 0 0 0,1 0 0 0 0,-1-1 0 0 0,1 1 0 0 0,0 0 0 0 0,-1-1 0 0 0,1 0 0 0 0,2 2 0 0 0,5 6 0 0 0,-8-8 0 0 0,22 13 0 0 0,-23-14 0 0 0,4 3 0 0 0,0 0 0 0 0,1-1 0 0 0,-1 0 0 0 0,1 0 0 0 0,-1 0 0 0 0,1 0 0 0 0,1 0 0 0 0,1-5 0 0 0,-6 2 0 0 0,1 0 0 0 0,0 0 0 0 0,0 1 0 0 0,0-1 0 0 0,0 1 0 0 0,0-1 0 0 0,0 1 0 0 0,-1 0 0 0 0,1 0 0 0 0,0-1 0 0 0,0 1 0 0 0,0 1 0 0 0,0-1 0 0 0,0 0 0 0 0,1 1 0 0 0,12-1 0 0 0,5-2 0 0 0,3 4 0 0 0,-11 2 0 0 0,2 0 0 0 0,-1 0 0 0 0,1-1 0 0 0,-3 4 0 0 0,1-2 0 0 0,-2 0 0 0 0,2 0 0 0 0,2-1 0 0 0,-11-3 0 0 0,-1-1 0 0 0,0 1 0 0 0,0 0 0 0 0,0 0 0 0 0,0 0 0 0 0,-1 0 0 0 0,1 0 0 0 0,0 0 0 0 0,0 0 0 0 0,0 0 0 0 0,-1 1 0 0 0,1-1 0 0 0,-1 1 0 0 0,1-1 0 0 0,0 2 0 0 0,-1-1 0 0 0,1 0 0 0 0,0 0 0 0 0,-1-1 0 0 0,1 1 0 0 0,0 0 0 0 0,0-1 0 0 0,0 1 0 0 0,0-1 0 0 0,0 0 0 0 0,1 1 0 0 0,0-1 0 0 0,4 5 12 0 0,4 6 68 0 0,-7-10-67 0 0,14 4 71 0 0,11 6-20 0 0,-18-9-55 0 0,27 13 57 0 0,-27-11-66 0 0,0-3 0 0 0,37 6 0 0 0,-16-6 0 0 0,-31-2 0 0 0,1 0 0 0 0,-1 0 0 0 0,0 0 0 0 0,0 0 0 0 0,0 0 0 0 0,1 0 0 0 0,-1 1 0 0 0,0-1 0 0 0,0 1 0 0 0,0-1 0 0 0,0 1 0 0 0,0-1 0 0 0,0 1 0 0 0,0-1 0 0 0,0 1 0 0 0,0 0 0 0 0,0 0 0 0 0,0 0 0 0 0,11 8 0 0 0,0-2 0 0 0,-9-8 0 0 0,-2 1 0 0 0,-1 0 0 0 0,1-1 0 0 0,0 1 0 0 0,-1 0 0 0 0,1 0 0 0 0,0 0 0 0 0,-1 0 0 0 0,1-1 0 0 0,0 1 0 0 0,-1 0 0 0 0,1 0 0 0 0,0 0 0 0 0,-1 0 0 0 0,1 1 0 0 0,0-1 0 0 0,-1 0 0 0 0,1 0 0 0 0,0 0 0 0 0,-1 0 0 0 0,1 1 0 0 0,0-1 0 0 0,51 16 35 0 0,4-1 402 0 0,-49-14-499 0 0,-5-1 36 0 0,0 1 1 0 0,0-1-1 0 0,-1 1 0 0 0,1-1 0 0 0,0 1 0 0 0,0 0 0 0 0,-1 0 0 0 0,1 0 0 0 0,-1 0 0 0 0,1 0 0 0 0,-1 0 1 0 0,1 0 25 0 0,3 2-12 0 0,3 0 12 0 0,-6-3 0 0 0,0 1 0 0 0,0-1 0 0 0,0 1 0 0 0,0-1 0 0 0,0 1 0 0 0,-1 0 0 0 0,1 0 0 0 0,0 0 0 0 0,0 0 0 0 0,1 1 0 0 0,4 5 0 0 0,3 0 0 0 0,-8-6 0 0 0,1 1 0 0 0,0-1 0 0 0,0 0 0 0 0,0 0 0 0 0,0 0 0 0 0,0 0 0 0 0,0 0 0 0 0,0 0 0 0 0,0-1 0 0 0,0 0 0 0 0,29 8 0 0 0,-13-1 0 0 0,27 5 0 0 0,-23-6 0 0 0,-18-4 0 0 0,10 5 0 0 0,-4-3 0 0 0,1-3 10 0 0,-7 0 33 0 0,8 2-32 0 0,3-3-11 0 0,5-2 0 0 0,-12 3 0 0 0,20 4 0 0 0,-18-5 0 0 0,19-2 0 0 0,-5-3 0 0 0,-15 4 0 0 0,0 0 0 0 0,-3-1 0 0 0,0 0 0 0 0,1 0 0 0 0,-1 1 0 0 0,0 0 0 0 0,1 0 0 0 0,-1 1 0 0 0,6 0 0 0 0,4 0 0 0 0,-1 2 0 0 0,0 5 0 0 0,15-5 0 0 0,-2 6 0 0 0,-25-6 0 0 0,1 0 0 0 0,0-1 0 0 0,0 0 0 0 0,0 0 0 0 0,0 0 0 0 0,1 0 0 0 0,1-1 0 0 0,-1 0 0 0 0,20 5 0 0 0,-21-4 0 0 0,0 0 0 0 0,1 0 0 0 0,-1-1 0 0 0,1 0 0 0 0,2 0 0 0 0,21 1 0 0 0,-24 0 0 0 0,1 0 0 0 0,32-2 0 0 0,41 5 0 0 0,-67-3 0 0 0,4 3 0 0 0,-2-3 0 0 0,-2-1 0 0 0,2 0 0 0 0,0 0 0 0 0,1 0 0 0 0,0 3 0 0 0,-6-2-999 0 0,-8-1-3994 0 0</inkml:trace>
  <inkml:trace contextRef="#ctx0" brushRef="#br0" timeOffset="2445.765">3631 3671 1840 0 0,'0'0'83'0'0,"0"0"243"0"0,-1 0 1947 0 0,-3 0-3218 0 0,1 0 3999 0 0,4 1 6328 0 0,28 24-9799 0 0,-14-10 1131 0 0,-7-9-627 0 0,41 13 65 0 0,-41-15-109 0 0,25 8-20 0 0,-4-5 52 0 0,-23-5-32 0 0,11 5-33 0 0,4 1-10 0 0,-17-8 0 0 0,20 8 0 0 0,-14-2 0 0 0,23 11 11 0 0,-6-1 42 0 0,16 7-42 0 0,-12-6 42 0 0,-15-11-53 0 0,0-1 0 0 0,0 1 0 0 0,1 1 11 0 0,-1-1 32 0 0,0-1-33 0 0,1 1-10 0 0,2 1 0 0 0,-3 0 0 0 0,-13-6 0 0 0,-1 0 0 0 0,0 0 0 0 0,0 0 0 0 0,0 1 0 0 0,0-1 0 0 0,0 1 0 0 0,-1-1 0 0 0,1 1 0 0 0,0 0 0 0 0,-1-1 0 0 0,1 1 0 0 0,-1 0 0 0 0,1 0 0 0 0,-1 1 0 0 0,1-1 0 0 0,0 0 0 0 0,0 0 0 0 0,0 1 0 0 0,0-1 0 0 0,0-1 0 0 0,1 1 0 0 0,-1 0 0 0 0,0 0 0 0 0,1-1 0 0 0,-1 0 0 0 0,2 1 0 0 0,6 3 0 0 0,9 1 0 0 0,-16-6 0 0 0,28-2 0 0 0,-30 2 0 0 0,0 0 0 0 0,0 0 0 0 0,0 0 0 0 0,0 0 0 0 0,0 0 0 0 0,0 0 0 0 0,0 0 0 0 0,0 0 0 0 0,0 0 0 0 0,-1 0 0 0 0,1 0 0 0 0,0 0 0 0 0,0-1 0 0 0,0 1 0 0 0,0 0 0 0 0,0-1 0 0 0,0 1 0 0 0,-1 0 0 0 0,2-1 0 0 0,2 0 0 0 0,0 0 0 0 0,-3 0 0 0 0,1 1 0 0 0,-1 0 0 0 0,1-1 0 0 0,-1 1 0 0 0,0 0 0 0 0,1 0 0 0 0,-1 0 0 0 0,1 1 0 0 0,-1-1 0 0 0,1 0 0 0 0,-1 0 0 0 0,0 1 0 0 0,1-1 0 0 0,-1 1 0 0 0,1 0 0 0 0,52 12 0 0 0,-35-7 0 0 0,-16-2 0 0 0,1 0 0 0 0,0-2 0 0 0,14 2 0 0 0,-3-1 0 0 0,-3-2 0 0 0,36 9 0 0 0,-37-9-7 0 0,-5 0 15 0 0,-1 0 0 0 0,0 0 0 0 0,0 0 0 0 0,0 1 0 0 0,0-1 0 0 0,0 1 0 0 0,0 0 0 0 0,-1 1-1 0 0,4 1-7 0 0,-8-4 0 0 0,1 1 0 0 0,-1-1 0 0 0,1 0 0 0 0,0 1 0 0 0,-1-1 0 0 0,1 1 0 0 0,0-1 0 0 0,0 0 0 0 0,-1 1 0 0 0,1-1 0 0 0,0 0 0 0 0,0 0 0 0 0,0 0 0 0 0,-1 0 0 0 0,1 0 0 0 0,0 0 0 0 0,0 0 0 0 0,0 0 0 0 0,-1 0 0 0 0,1 0 0 0 0,0 0 0 0 0,1 0 0 0 0,2 0 1 0 0,10 9 9 0 0,-3-3 33 0 0,33 17-33 0 0,-17-16 2 0 0,-23-7-3 0 0,-1 1 0 0 0,1 0 0 0 0,-1-1 0 0 0,1 1 0 0 0,0-1 0 0 0,-1 0 0 0 0,3-1-9 0 0,9 1-11 0 0,5 2 11 0 0,-2 3 0 0 0,-2-1 0 0 0,-14-1 0 0 0,2 0 0 0 0,23 3 0 0 0,-13-3 0 0 0,-13-1 0 0 0,1 3 0 0 0,28 6 0 0 0,-16-7 1 0 0,-11-3-3 0 0,16-2 14 0 0,-12 2 44 0 0,11 8-59 0 0,19 4 3 0 0,-32-14 0 0 0,-4 1 0 0 0,0 0 0 0 0,0 0 0 0 0,0 0 0 0 0,0-1 0 0 0,-1 1 0 0 0,1 0 0 0 0,0 0 0 0 0,0 1 0 0 0,0-1 0 0 0,0 0 0 0 0,0 0 0 0 0,0 0 0 0 0,0 1 0 0 0,0-1 0 0 0,0 0 0 0 0,0 1 0 0 0,0-1 0 0 0,51 19 0 0 0,-47-17 0 0 0,21 0 0 0 0,-25-2 0 0 0,41 0 75 0 0,-38 1-32 0 0,9 4-33 0 0,2 1-10 0 0,-5-4 0 0 0,13 1 0 0 0,-21-3 0 0 0,-1 0 0 0 0,1 0 0 0 0,0 1 0 0 0,-1-1 0 0 0,1 1 0 0 0,0-1 0 0 0,-1 1 0 0 0,1 0 0 0 0,-1 0 0 0 0,1-1 0 0 0,-1 1 0 0 0,0 0 0 0 0,1 0 0 0 0,-1 0 0 0 0,0 0 0 0 0,0 1 0 0 0,0-1 0 0 0,1 0 0 0 0,9 13 0 0 0,3-11 0 0 0,23-3 0 0 0,-13 0 0 0 0,-5 2 0 0 0,-14 4 0 0 0,-4-3 0 0 0,3 4 0 0 0,-3-6 0 0 0,-1 0 0 0 0,0-1 0 0 0,0 1 0 0 0,1 0 0 0 0,-1-1 0 0 0,0 1 0 0 0,1-1 0 0 0,-1 1 0 0 0,1-1 0 0 0,-1 1 0 0 0,1 0 0 0 0,-1-1 0 0 0,1 0 0 0 0,-1 1 0 0 0,1-1 0 0 0,-1 1 0 0 0,1-1 0 0 0,0 0 0 0 0,-1 1 0 0 0,1-1 0 0 0,0 0 0 0 0,0 1 0 0 0,2-1 0 0 0,0 0 0 0 0,0-1 0 0 0,0 1 0 0 0,0-1 0 0 0,0 1 0 0 0,0-1 0 0 0,0 0 0 0 0,-1 0 0 0 0,1 0 0 0 0,0 0 0 0 0,0-1 0 0 0,-1 1 0 0 0,6-2 0 0 0,-1 1 0 0 0,1 0 0 0 0,0 1 0 0 0,-1 0 0 0 0,5 0 0 0 0,25 1 0 0 0,-14 0 0 0 0,-8 1-15 0 0,-8-1 7 0 0,0 1 0 0 0,0-1 0 0 0,0-1 0 0 0,0 1 0 0 0,0-1 0 0 0,0-1-1 0 0,1 0 9 0 0,2 2 11 0 0,-9 0-41 0 0,0 0 1 0 0,-1 0-1 0 0,1 0 0 0 0,0 0 1 0 0,0 1-1 0 0,0-1 0 0 0,-1 0 0 0 0,1 1 1 0 0,0-1-1 0 0,0 0 0 0 0,-1 1 1 0 0,1-1-1 0 0,0 1 0 0 0,-1-1 1 0 0,1 1-1 0 0,0-1 0 0 0,-1 1 0 0 0,1 0 1 0 0,-1-1-1 0 0,1 1 0 0 0,-1 0 1 0 0,1-1-1 0 0,-1 1 0 0 0,0 0 30 0 0,1 0-68 0 0,0 1-409 0 0</inkml:trace>
  <inkml:trace contextRef="#ctx0" brushRef="#br0" timeOffset="5292.21">108 593 6072 0 0,'0'0'274'0'0,"0"0"0"0"0,0 0-102 0 0,0 0 225 0 0,0 0 120 0 0,0 0 25 0 0,0 0-30 0 0,0 0-134 0 0,0 0-52 0 0,0 0-8 0 0,0 0-19 0 0,0 0-62 0 0,0 0-21 0 0,0 0-6 0 0,0 0-5 0 0,0 0-12 0 0,0 0-7 0 0,0 0-2 0 0,0 0-8 0 0,0 0-34 0 0,0 0-12 0 0,0 0-2 0 0,0 0-4 0 0,0 0-18 0 0,0 0-8 0 0,0 0-2 0 0,0 0-3 0 0,0 0-12 0 0,0 0-7 0 0,0 0-2 0 0,3 0 4 0 0,13 2-3 0 0,1-1 0 0 0,-1-1 0 0 0,11-2-73 0 0,45 1 97 0 0,-61 1-97 0 0,-4-1 0 0 0,0 1 0 0 0,0 1 0 0 0,0-1 0 0 0,0 1 0 0 0,0 1 0 0 0,-4-2 0 0 0,0 1 0 0 0,0 0 0 0 0,-1 1 0 0 0,1-1 0 0 0,-1 0 0 0 0,1 1 0 0 0,-1-1 0 0 0,1 1 0 0 0,-1 0 0 0 0,0 0 0 0 0,0 0 0 0 0,0 0 0 0 0,0 0 0 0 0,0 1 0 0 0,2 0 0 0 0,0 0 0 0 0,-1 0 0 0 0,1 0 0 0 0,0-1 0 0 0,0 0 0 0 0,0 0 0 0 0,1 0 0 0 0,-1 0 0 0 0,0-1 0 0 0,1 1 0 0 0,-1-1 0 0 0,4 0 0 0 0,-4 0 0 0 0,33 6 41 0 0,-23-9-21 0 0,-2-2-17 0 0,44 2-3 0 0,12-4-292 0 0,-46 5-48 0 0</inkml:trace>
  <inkml:trace contextRef="#ctx0" brushRef="#br0" timeOffset="6276.224">13 1111 5184 0 0,'0'0'116'0'0,"0"0"17"0"0,0 0 10 0 0,0 0 43 0 0,0 0 180 0 0,0 0 76 0 0,0 0 20 0 0,0 0-6 0 0,0 0-35 0 0,0 0-18 0 0,0 0-3 0 0,0 0-14 0 0,0 0-54 0 0,0 0-20 0 0,0 0-6 0 0,0 0 2 0 0,0 0 17 0 0,0 0 10 0 0,0 0 1 0 0,-7-22 1432 0 0,6 21-1717 0 0,1 0 87 0 0,-1 0 0 0 0,0 0 1 0 0,1 0-1 0 0,-1-1 0 0 0,1 1 0 0 0,0 0 1 0 0,-1-1-1 0 0,1 1 0 0 0,0 0 0 0 0,0-1 1 0 0,0 1-1 0 0,0-1 0 0 0,0 1 0 0 0,0-1-138 0 0,1 1 87 0 0,2-1-54 0 0,-2 1-30 0 0,0 0-1 0 0,0 0 1 0 0,0 0 0 0 0,0 1 0 0 0,0-1 0 0 0,0 1-1 0 0,0-1 1 0 0,0 1 0 0 0,0-1 0 0 0,0 1 0 0 0,1 0-1 0 0,-1-1 1 0 0,0 1 0 0 0,0 0 0 0 0,0 0 0 0 0,0 0 0 0 0,1 0-1 0 0,-1 0 1 0 0,0 0 0 0 0,1 0-3 0 0,14 1 16 0 0,-3-2 22 0 0,-6 1-27 0 0,0 0 1 0 0,0 0-1 0 0,-1 0 0 0 0,1 1 1 0 0,0 0-1 0 0,-1 1 1 0 0,2-1-12 0 0,-3 1 0 0 0,0-1 0 0 0,1-1 0 0 0,-1 1 0 0 0,0-1 0 0 0,0 0 0 0 0,1 0 0 0 0,-1 0 0 0 0,3-1 0 0 0,13-1 0 0 0,-20 2 0 0 0,48 0 32 0 0,-1 2 0 0 0,10 4-32 0 0,-49-6-2 0 0,0 0 0 0 0,0 0 0 0 0,0 0 0 0 0,0-1 0 0 0,3-1 2 0 0,32-3-322 0 0,-36 5-767 0 0,-1 0 0 0 0,1-1 1 0 0,-1-1-1 0 0,5 0 1089 0 0,4-2-4641 0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8:35.323"/>
    </inkml:context>
    <inkml:brush xml:id="br0">
      <inkml:brushProperty name="width" value="0.1" units="cm"/>
      <inkml:brushProperty name="height" value="0.1" units="cm"/>
    </inkml:brush>
  </inkml:definitions>
  <inkml:trace contextRef="#ctx0" brushRef="#br0">52 394 2760 0 0,'0'0'125'0'0,"-17"-8"3188"0"0,16 8-3224 0 0,0 1-1 0 0,0-1 1 0 0,0 0-1 0 0,0 0 0 0 0,0 1 1 0 0,0-1-1 0 0,0 1 1 0 0,0-1-1 0 0,0 1 0 0 0,0-1 1 0 0,0 1-1 0 0,0 0 1 0 0,1-1-1 0 0,-1 1 0 0 0,0 0 1 0 0,0 0-1 0 0,1-1 1 0 0,-1 1-1 0 0,1 0 0 0 0,-1 0-88 0 0,0 0 159 0 0,0 0 0 0 0,1 0-1 0 0,-1 0 1 0 0,0 0 0 0 0,0 0-1 0 0,0 0 1 0 0,0 0 0 0 0,0 0-1 0 0,0-1 1 0 0,0 1 0 0 0,-1 0-1 0 0,1-1 1 0 0,-1 1-159 0 0,0 18 432 0 0,10-13-419 0 0,-5-5-13 0 0,0 0-1 0 0,0 0 1 0 0,0 1 0 0 0,0 0 0 0 0,-1-1-1 0 0,1 1 1 0 0,0 0 0 0 0,-1 0 0 0 0,1 1 0 0 0,4 3 0 0 0,-5-4 0 0 0,1 0 0 0 0,-1 0 0 0 0,0 0 0 0 0,1 0 0 0 0,0-1 0 0 0,-1 1 0 0 0,1-1 0 0 0,0 0 0 0 0,0 0 0 0 0,0 1 0 0 0,40 17-12 0 0,-33-16-25 0 0,-1 1 1 0 0,0 0 0 0 0,0 0-1 0 0,0 1 1 0 0,0 0-1 0 0,-1 1 37 0 0,27 14-81 0 0,-31-18 81 0 0,0 0 0 0 0,0 1 0 0 0,0-1 0 0 0,0 1 0 0 0,0 0 0 0 0,-1 0 0 0 0,1 0 0 0 0,-1 1 0 0 0,1 0 0 0 0,11 7 0 0 0,32 13 0 0 0,-24-11 0 0 0,-16-12 0 0 0,0 0 0 0 0,8 4-27 0 0,4 3-175 0 0,0-2 1 0 0,0 0-1 0 0,16 2 202 0 0,-28-6 31 0 0,0 0 1 0 0,1 0-1 0 0,-1 1 0 0 0,-1 0 1 0 0,1 0-1 0 0,0 0 1 0 0,0 2-32 0 0,19 8 10 0 0,-18-9-162 0 0,0 1-1 0 0,1 0 1 0 0,-2 1-1 0 0,1 0 1 0 0,-1 0-1 0 0,1 1 153 0 0,21 16-1043 0 0,-21-16 1082 0 0,0 1-1 0 0,-1-1 1 0 0,0 2 0 0 0,0-1 0 0 0,-1 1 0 0 0,0 0 0 0 0,0 0 0 0 0,-1 0-1 0 0,0 1 1 0 0,0 3-39 0 0,1 0 171 0 0,1 0-1 0 0,0 0 0 0 0,1-1 0 0 0,0 0 1 0 0,5 4-171 0 0,-12-14 12 0 0,1 0 0 0 0,-1-1 1 0 0,0 1-1 0 0,0 0 1 0 0,0 1-1 0 0,0-1 0 0 0,0 0 1 0 0,0 2-13 0 0,0-2 3 0 0,0 1 1 0 0,0-1 0 0 0,0 0 0 0 0,0 0-1 0 0,0 0 1 0 0,0 0 0 0 0,0 0-1 0 0,0 0 1 0 0,1 0 0 0 0,0 0-4 0 0,23 25-2518 0 0,-15-17-340 0 0</inkml:trace>
  <inkml:trace contextRef="#ctx0" brushRef="#br0" timeOffset="2214.705">1154 709 920 0 0,'0'0'205'0'0,"0"0"529"0"0,0 0 235 0 0,0 0 44 0 0,0 0-75 0 0,0 0-358 0 0,0 0-159 0 0,-17 6 1039 0 0,6 2-1173 0 0,1 1 0 0 0,0 0 0 0 0,1 1 0 0 0,-3 3-287 0 0,-10 9 260 0 0,1 1-242 0 0,-22 19 28 0 0,31-31-43 0 0,0 1-1 0 0,1-1 1 0 0,0 2 0 0 0,1-1 0 0 0,-8 15-3 0 0,-8 15 60 0 0,-4 14-60 0 0,26-48 7 0 0,-4 6 116 0 0,3-5-132 0 0,0 0 0 0 0,0 1 1 0 0,1 0-1 0 0,0 0 1 0 0,0 0-1 0 0,1 1 1 0 0,1-1-1 0 0,0 1 0 0 0,0 4 9 0 0,-3 27-133 0 0,3-31 116 0 0,0 0 1 0 0,1 0 0 0 0,0 0 0 0 0,1 0 0 0 0,0 0 0 0 0,1 0 0 0 0,0 1 0 0 0,1-1 0 0 0,1 2 16 0 0,8 17-141 0 0,-8-24 32 0 0,-1 0 1 0 0,1 0 0 0 0,-1 0-1 0 0,-1 1 1 0 0,1-1 0 0 0,-1 0-1 0 0,0 1 1 0 0,-1-1 108 0 0,1 10-91 0 0,1 0 0 0 0,1 0 0 0 0,3 14 91 0 0,3 12-39 0 0,-6-21-85 0 0,1 0 0 0 0,1-1 0 0 0,1 1 0 0 0,0-1 124 0 0,0-9-14 0 0,0 0 0 0 0,0-1 0 0 0,1 0 1 0 0,0 0-1 0 0,1 0 0 0 0,0-1 0 0 0,0 0 0 0 0,1-1 0 0 0,0 0 1 0 0,0 0-1 0 0,9 4 14 0 0,2 2 3 0 0,1 2 0 0 0,-2 0 0 0 0,0 1 0 0 0,2 5-3 0 0,-12-13 26 0 0,0 1 0 0 0,-1 1 1 0 0,0 0-1 0 0,-1 0 0 0 0,0 0 0 0 0,-1 1 1 0 0,0 0-1 0 0,-1 0 0 0 0,0 0 0 0 0,0 5-26 0 0,-1-1 30 0 0,0-4-12 0 0,-1-1-1 0 0,-1 0 1 0 0,0 1-1 0 0,-1 0 1 0 0,0 5-18 0 0,-1 14-83 0 0,-3-1 0 0 0,0 1 0 0 0,-2-1 0 0 0,-2 0 0 0 0,-2 7 83 0 0,5-21-101 0 0,-3 7-226 0 0,1 2 0 0 0,0 7 327 0 0,5-24-30 0 0,-1-1-1 0 0,0 0 0 0 0,-1 0 1 0 0,-1 4 30 0 0,1-4-22 0 0,1 0 0 0 0,-1 0 1 0 0,2 0-1 0 0,-2 5 22 0 0,-4 55-117 0 0,1 43-235 0 0,0-39-273 0 0,4-51 198 0 0,1 4-1081 0 0</inkml:trace>
  <inkml:trace contextRef="#ctx0" brushRef="#br0" timeOffset="2724.589">1085 1081 1376 0 0,'-6'-14'136'0'0,"-1"4"2460"0"0,5 8-196 0 0,5 8-2939 0 0,2 6 694 0 0,-1 0 0 0 0,-1 1 0 0 0,0-1-1 0 0,-1 1 1 0 0,0-1 0 0 0,0 1 0 0 0,-2 0 0 0 0,0 6-155 0 0,12 152 498 0 0,-11-72-239 0 0,7 40-259 0 0,-5-89 12 0 0,-2 27-12 0 0,1 31-1 0 0,2-41 47 0 0,-2-17 181 0 0,2-1 0 0 0,2 0 1 0 0,11 43-228 0 0,-5-59 133 0 0,0 0-1 0 0,2-1 1 0 0,2-1 0 0 0,1-1 0 0 0,14 20-133 0 0,-5-15-19 0 0,-17-24-1 0 0,-1 0-1 0 0,0 0 1 0 0,0 3 20 0 0,22 36-18 0 0,-16-26-66 0 0,0 0 0 0 0,8 21 84 0 0,-12-16-222 0 0</inkml:trace>
  <inkml:trace contextRef="#ctx0" brushRef="#br0" timeOffset="3323.259">988 1233 1376 0 0,'10'26'134'0'0,"-4"-20"-139"0"0,0-1 93 0 0,32 34 1615 0 0,-8-1-515 0 0,-6-8 538 0 0,18 29-1726 0 0,-35-47 120 0 0,16 23 317 0 0,-2 2 1 0 0,-1 0-1 0 0,-2 1 1 0 0,11 33-438 0 0,-10-1 350 0 0,-2 1 0 0 0,2 33-350 0 0,12 146 372 0 0,-21-165-484 0 0,-3 22-533 0 0,-5 59 645 0 0,-2-148-87 0 0,0 29-191 0 0,0 1-8 0 0</inkml:trace>
  <inkml:trace contextRef="#ctx0" brushRef="#br0" timeOffset="3832.156">1662 1480 7136 0 0,'-5'-2'163'0'0,"1"0"0"0"0,-1 0 0 0 0,0 0 0 0 0,-1 1-1 0 0,1 0 1 0 0,0 0 0 0 0,0 0 0 0 0,-1 0 0 0 0,1 1 0 0 0,0 0 0 0 0,0 0 0 0 0,-1 1 0 0 0,1-1 0 0 0,0 1 0 0 0,-1 0 0 0 0,1 0 0 0 0,0 1-163 0 0,2-1 318 0 0,-1 0-217 0 0,0 0 0 0 0,0 0-1 0 0,1 1 1 0 0,-1-1 0 0 0,1 1 0 0 0,-1 0 0 0 0,1 0 0 0 0,0 1 0 0 0,0-1 0 0 0,0 1 0 0 0,0-1 0 0 0,0 1 0 0 0,0 0 0 0 0,1 0-1 0 0,0 0 1 0 0,-1 0 0 0 0,1 1 0 0 0,0-1 0 0 0,1 1 0 0 0,-1-1 0 0 0,0 1 0 0 0,1 0 0 0 0,0-1 0 0 0,-1 3-101 0 0,-1 9 88 0 0,-1-1-1 0 0,2 1 1 0 0,0-1 0 0 0,1 1 0 0 0,0 13-88 0 0,1-21 1 0 0,1-1 0 0 0,0 1-1 0 0,0 0 1 0 0,0-1 0 0 0,1 1 0 0 0,0 0 0 0 0,0-1-1 0 0,0 0 1 0 0,1 1 0 0 0,0-1 0 0 0,1 0 0 0 0,-1-1 0 0 0,4 6-1 0 0,-4-8 0 0 0,0 0 0 0 0,0 0 0 0 0,0 0 0 0 0,1 0 0 0 0,-1-1 0 0 0,1 0 0 0 0,-1 1 0 0 0,1-1 0 0 0,3 1 0 0 0,9 3-15 0 0,-10-6-35 0 0,1 0-1 0 0,-1 0 1 0 0,0 0 0 0 0,0-1-1 0 0,0 0 1 0 0,0-1 0 0 0,0 1 0 0 0,0-1-1 0 0,0 0 1 0 0,0-1 0 0 0,0 0 50 0 0,-3 2-48 0 0,-1-1 0 0 0,0 0 0 0 0,-1-1 1 0 0,1 1-1 0 0,0 0 0 0 0,-1 0 0 0 0,1-1 1 0 0,-1 1-1 0 0,0-1 0 0 0,1 1 0 0 0,-1-4 48 0 0,11-28-363 0 0,-12 33 357 0 0,2-6-33 0 0,-1-1 0 0 0,-1 0 0 0 0,1 1 0 0 0,-1-1 0 0 0,-1 0 0 0 0,1 0-1 0 0,-2 1 1 0 0,1-1 0 0 0,-1-2 39 0 0,-4-35-121 0 0,6 45 97 0 0,0-1 0 0 0,0 1 1 0 0,0 0-1 0 0,0-1 1 0 0,0 1-1 0 0,0 0 1 0 0,0-1-1 0 0,0 1 0 0 0,0-1 1 0 0,0 1-1 0 0,0 0 1 0 0,0-1-1 0 0,-1 1 0 0 0,1 0 1 0 0,0-1-1 0 0,0 1 1 0 0,0 0-1 0 0,-1-1 0 0 0,1 1 1 0 0,0 0-1 0 0,0-1 1 0 0,-1 1-1 0 0,1 0 0 0 0,0 0 1 0 0,0-1-1 0 0,-1 1 1 0 0,1 0-1 0 0,0 0 0 0 0,-1 0 1 0 0,1 0-1 0 0,0-1 1 0 0,-1 1-1 0 0,1 0 0 0 0,-1 0 1 0 0,1 0-1 0 0,0 0 1 0 0,-1 0-1 0 0,1 0 0 0 0,0 0 1 0 0,-1 0-1 0 0,1 0 1 0 0,-1 0-1 0 0,1 0 1 0 0,0 0-1 0 0,-1 0 0 0 0,1 0 24 0 0,-5 5-1130 0 0</inkml:trace>
  <inkml:trace contextRef="#ctx0" brushRef="#br0" timeOffset="4169.929">1609 2137 4088 0 0,'1'2'184'0'0,"7"14"30"0"0,-7-13-208 0 0,1 1 0 0 0,0-1 0 0 0,0 1 0 0 0,0-1 0 0 0,0 0 0 0 0,0 0 0 0 0,1 0 0 0 0,-1 0 0 0 0,4 2-6 0 0,19 17 924 0 0,-24-21-610 0 0,-1-1-88 0 0,0 0-40 0 0,15-1 166 0 0,-13 1-315 0 0,-1-1 0 0 0,1 1 0 0 0,0-1-1 0 0,-1 0 1 0 0,1 0 0 0 0,-1 0 0 0 0,1 0-1 0 0,-1 0 1 0 0,1 0 0 0 0,-1 0 0 0 0,0 0-1 0 0,1-1 1 0 0,-1 1 0 0 0,0 0 0 0 0,0-1-1 0 0,0 1 1 0 0,0-1 0 0 0,0 1 0 0 0,-1-1-1 0 0,1 0-36 0 0,14-38 428 0 0,-13 33-301 0 0,4-12 139 0 0,-1 0-1 0 0,2-21-265 0 0,-6 34 19 0 0,0 0 0 0 0,-1 0 1 0 0,0 0-1 0 0,0 0 0 0 0,0 0 0 0 0,-1 0 0 0 0,0 0 0 0 0,0 0 0 0 0,0 0 0 0 0,-1 0 0 0 0,-2-5-19 0 0,-16-17 21 0 0,19 27-18 0 0,1 1-1 0 0,-1 0 1 0 0,1 0-1 0 0,-1 0 0 0 0,1 0 1 0 0,-1-1-1 0 0,1 1 0 0 0,-1 0 1 0 0,1 0-1 0 0,-1 0 0 0 0,1 0 1 0 0,-1 0-1 0 0,1 0 1 0 0,-1 0-1 0 0,1 0 0 0 0,-1 1 1 0 0,1-1-1 0 0,-1 0 0 0 0,1 0 1 0 0,-1 0-1 0 0,1 0 1 0 0,-1 1-1 0 0,1-1 0 0 0,0 0 1 0 0,-1 1-1 0 0,1-1-2 0 0,-13 7-48 0 0,13-7 40 0 0,-7 6-246 0 0,1 2-100 0 0</inkml:trace>
  <inkml:trace contextRef="#ctx0" brushRef="#br0" timeOffset="4845.48">2525 2099 1840 0 0,'-5'18'1519'0'0,"-1"-4"1402"0"0,0 3-1777 0 0,0 1 0 0 0,-2-2 0 0 0,0 1 0 0 0,-6 7-1144 0 0,-8 13 1046 0 0,21-36-1025 0 0,1 0-1 0 0,0 0 0 0 0,0 0 1 0 0,0 0-1 0 0,0 0 1 0 0,0 0-1 0 0,0 0 0 0 0,0 0 1 0 0,0 0-1 0 0,0 0 0 0 0,0 0 1 0 0,0 0-1 0 0,1 0 0 0 0,-1 0 1 0 0,0 0-1 0 0,1 0 1 0 0,-1 0-1 0 0,1 0 0 0 0,-1 0 1 0 0,1 0-1 0 0,0 0 0 0 0,-1-1 1 0 0,1 1-1 0 0,0 0 1 0 0,0 0-21 0 0,1 1 5 0 0,-1-1 0 0 0,0 0 0 0 0,0 0 0 0 0,1 0 0 0 0,-1 0 0 0 0,1 0 0 0 0,-1 0 0 0 0,1 0 0 0 0,-1 0 0 0 0,1 0 1 0 0,-1-1-1 0 0,1 1 0 0 0,0-1 0 0 0,-1 1 0 0 0,1-1 0 0 0,0 0-5 0 0,12 1-8 0 0,-1-1 0 0 0,1-1 0 0 0,-1 0-1 0 0,1-1 1 0 0,-1 0 0 0 0,0-1 0 0 0,1 0 0 0 0,-1-1 0 0 0,-1-1 0 0 0,10-4 8 0 0,-1-1-82 0 0,11-8-196 0 0,0-2-941 0 0,-17 10-2702 0 0</inkml:trace>
  <inkml:trace contextRef="#ctx0" brushRef="#br0" timeOffset="5214.503">3033 2683 2760 0 0,'0'0'411'0'0,"0"0"683"0"0,0 0 303 0 0,1 0-1132 0 0,0-1-1 0 0,-1 1 0 0 0,1-1 1 0 0,0 1-1 0 0,-1-1 0 0 0,1 1 1 0 0,0-1-1 0 0,-1 1 0 0 0,1-1 1 0 0,-1 0-1 0 0,1 1 0 0 0,-1-1 1 0 0,1 0-1 0 0,-1 0 0 0 0,1 1 1 0 0,-1-2-265 0 0,6-76 2370 0 0,-6 74-2358 0 0,0-1 0 0 0,-1 1 0 0 0,1 0-1 0 0,-1 0 1 0 0,0 0 0 0 0,0 0 0 0 0,0 1 0 0 0,-1-1-1 0 0,1 0 1 0 0,-1 0 0 0 0,0 1 0 0 0,0-1 0 0 0,0 1-1 0 0,0-1 1 0 0,-1 1 0 0 0,1 0 0 0 0,-1 0 0 0 0,0 0-1 0 0,0 0 1 0 0,-2 0-12 0 0,3 1 43 0 0,-12-5-33 0 0,14 7-8 0 0,0 0 0 0 0,0 0-1 0 0,0-1 1 0 0,-1 1 0 0 0,1 0 0 0 0,0 0-1 0 0,0 0 1 0 0,-1 0 0 0 0,1 0 0 0 0,0-1-1 0 0,0 1 1 0 0,-1 0 0 0 0,1 0 0 0 0,0 0-1 0 0,0 0 1 0 0,-1 0 0 0 0,1 0-1 0 0,0 0 1 0 0,-1 0 0 0 0,1 0 0 0 0,0 0-1 0 0,0 0 1 0 0,-1 0 0 0 0,1 0 0 0 0,0 0-1 0 0,-1 0 1 0 0,1 0 0 0 0,0 0-1 0 0,0 1 1 0 0,-1-1 0 0 0,1 0-2 0 0,-1 1-8 0 0,-1-1 0 0 0,1 1 0 0 0,0 0 1 0 0,0 0-1 0 0,-1 0 0 0 0,1 0 0 0 0,0 0 0 0 0,0 0 1 0 0,0 0-1 0 0,0 0 0 0 0,0 0 0 0 0,1 1 0 0 0,-1-1 8 0 0,1 10-147 0 0,1-5-72 0 0,-1-4-134 0 0</inkml:trace>
  <inkml:trace contextRef="#ctx0" brushRef="#br0" timeOffset="5553.271">3247 2151 8952 0 0,'0'0'200'0'0,"0"0"33"0"0,0 0 15 0 0,-1 2-45 0 0,0 1 0 0 0,0-1 0 0 0,1 0 0 0 0,-1 1 0 0 0,1-1 0 0 0,-1 1 0 0 0,1-1 0 0 0,0 1-203 0 0,1 0 19 0 0,1 0 0 0 0,0-1-1 0 0,-1 1 1 0 0,1 0 0 0 0,0-1 0 0 0,1 1 0 0 0,-1-1-1 0 0,0 0 1 0 0,1 0 0 0 0,-1 0 0 0 0,2 1-19 0 0,-3-2-1 0 0,0-1 0 0 0,0 1 0 0 0,0 0 0 0 0,0 0 0 0 0,0-1-1 0 0,1 1 1 0 0,-1 0 0 0 0,0-1 0 0 0,0 0 0 0 0,1 1 0 0 0,-1-1 0 0 0,0 0 0 0 0,1 1 0 0 0,-1-1 0 0 0,1 0 0 0 0,-1 0 0 0 0,0 0 0 0 0,1 0 0 0 0,-1 0 0 0 0,0 0 0 0 0,1-1 0 0 0,-1 1 0 0 0,0 0 0 0 0,1-1 0 0 0,-1 1 0 0 0,0-1 0 0 0,1 0 0 0 0,-1 1 0 0 0,1-1 1 0 0,3-2-30 0 0,-4 3 24 0 0,1 0 0 0 0,0-1 0 0 0,-1 1 0 0 0,1-1 0 0 0,0 1 0 0 0,-1-1 0 0 0,1 0 0 0 0,-1 0 0 0 0,1 0 0 0 0,-1 1 0 0 0,0-2-1 0 0,1 1 1 0 0,-1 0 0 0 0,0 0 0 0 0,0 0 0 0 0,0 0 0 0 0,0-1 0 0 0,0 1 0 0 0,1-1 6 0 0,-1-1-1 0 0,0-1-1 0 0,-1 1 0 0 0,1 0 1 0 0,0-1-1 0 0,-1 1 0 0 0,0-1 0 0 0,0 1 1 0 0,0-4 1 0 0,0 6-7 0 0,0-1 1 0 0,0 0-1 0 0,0 0 1 0 0,1 0-1 0 0,-1 1 1 0 0,1-1-1 0 0,-1 0 0 0 0,1 0 1 0 0,0 1-1 0 0,0-1 7 0 0,4-17-48 0 0,-3-10 55 0 0,-1 24 0 0 0,-1-1-1 0 0,0 1 1 0 0,1-1 0 0 0,-2 1-1 0 0,1-1 1 0 0,-1 1 0 0 0,0-6-7 0 0,-2-2-114 0 0,3 10 54 0 0,0 0 1 0 0,-1 0 0 0 0,1 0 0 0 0,-1 1-1 0 0,0-1 1 0 0,0 0 0 0 0,0 0 0 0 0,-1 1-1 0 0,1-1 1 0 0,-1 0 59 0 0,-10-21-415 0 0,4 4-7 0 0</inkml:trace>
  <inkml:trace contextRef="#ctx0" brushRef="#br0" timeOffset="5891.045">3184 1619 2760 0 0,'0'0'421'0'0,"0"0"730"0"0,0 0 322 0 0,0 0 60 0 0,0 0-114 0 0,0 0-546 0 0,0 0-237 0 0,0 0-48 0 0,0 0-36 0 0,0 0-108 0 0,17-11 832 0 0,39-13-1101 0 0,-33 4-42 0 0,-11 6-154 0 0,-13 8-3 0 0,0 4 16 0 0,2-2 7 0 0,-1 1 0 0 0,0-1 1 0 0,0 0-1 0 0,-1 0 0 0 0,1 0 0 0 0,-1 1 0 0 0,0-1 1 0 0,0 0-1 0 0,0 1 0 0 0,-1-1 0 0 0,1 0 1 0 0,-1 1-1 0 0,1 0 0 0 0,-1-1 0 0 0,0 1 0 0 0,-1 0 1 0 0,-1-3 0 0 0,1 4 2 0 0,1 1 1 0 0,-1-1 0 0 0,0 0 0 0 0,1 1-1 0 0,-1 0 1 0 0,0-1 0 0 0,0 1-1 0 0,0 0 1 0 0,0 0 0 0 0,0 1 0 0 0,0-1-1 0 0,0 1 1 0 0,0-1 0 0 0,0 1 0 0 0,0 0-1 0 0,0 0 1 0 0,-1 1 0 0 0,0-1-3 0 0,-3 0 16 0 0,4 1-59 0 0,0-1 0 0 0,0 0 0 0 0,0 1 0 0 0,0-1 0 0 0,0 1 0 0 0,0 0 0 0 0,1 0 0 0 0,-1 0 0 0 0,0 0 1 0 0,0 1 42 0 0,-7 3-1170 0 0,9-5-3128 0 0</inkml:trace>
  <inkml:trace contextRef="#ctx0" brushRef="#br0" timeOffset="6244.695">3081 1009 1376 0 0,'-17'-5'136'0'0,"-19"4"5538"0"0,28 1-2044 0 0,8 0-3581 0 0,-1 0 1 0 0,1 0 0 0 0,0 0 0 0 0,0 0-1 0 0,0 0 1 0 0,0 0 0 0 0,-1 0 0 0 0,1 0-1 0 0,0 0 1 0 0,0 0 0 0 0,0 0-1 0 0,0 0 1 0 0,0 0 0 0 0,-1 0 0 0 0,1 1-1 0 0,0-1 1 0 0,0 0 0 0 0,0 0 0 0 0,0 0-1 0 0,0 0 1 0 0,0 0 0 0 0,-1 0 0 0 0,1 0-1 0 0,0 0 1 0 0,0 0 0 0 0,0 0-1 0 0,0 1 1 0 0,0-1 0 0 0,0 0 0 0 0,0 0-1 0 0,0 0 1 0 0,0 0 0 0 0,0 0 0 0 0,-1 1-1 0 0,1-1 1 0 0,0 0 0 0 0,0 0 0 0 0,0 0-1 0 0,0 0 1 0 0,0 0 0 0 0,0 1-1 0 0,0-1 1 0 0,0 0 0 0 0,0 0 0 0 0,0 0-1 0 0,0 0 1 0 0,0 0 0 0 0,0 1 0 0 0,0-1-1 0 0,0 0 1 0 0,1 0 0 0 0,-1 0 0 0 0,0 0-1 0 0,0 0 1 0 0,0 0 0 0 0,0 1-50 0 0,9 10 497 0 0,-7-9-543 0 0,-1 0 1 0 0,1-1-1 0 0,0 1 0 0 0,0-1 0 0 0,0 1 1 0 0,0-1-1 0 0,1 0 0 0 0,-1 0 0 0 0,0 0 1 0 0,0 0-1 0 0,1 0 0 0 0,-1-1 1 0 0,1 1 45 0 0,3-1-383 0 0,1-1 0 0 0,-1 1 0 0 0,1-1 0 0 0,-1-1 0 0 0,0 1 0 0 0,1-1 1 0 0,2-1 382 0 0,-8 2-205 0 0,1 1-1 0 0,0-1 1 0 0,0 0 0 0 0,-1 1 0 0 0,1-1 0 0 0,-1 0 0 0 0,1 0 0 0 0,0 0 0 0 0,-1-1 0 0 0,0 1 0 0 0,1 0 0 0 0,-1 0 0 0 0,0-1 0 0 0,0 1 0 0 0,0-1 0 0 0,1 1 0 0 0,-2-1 0 0 0,1 0 0 0 0,0 1 0 0 0,0-1 0 0 0,0 0 0 0 0,-1 1 0 0 0,1-1 0 0 0,-1 0 0 0 0,1 0 0 0 0,-1-1 205 0 0,0-7-2373 0 0</inkml:trace>
  <inkml:trace contextRef="#ctx0" brushRef="#br0" timeOffset="6589.936">2936 424 6448 0 0,'0'0'297'0'0,"0"0"-9"0"0,0 1-188 0 0,1 8-89 0 0,5 0-11 0 0,4-5 0 0 0,5-3-1699 0 0,-15-1-346 0 0</inkml:trace>
  <inkml:trace contextRef="#ctx0" brushRef="#br0" timeOffset="6924.212">2798 105 6912 0 0,'-2'-1'528'0'0,"-19"-11"1278"0"0,0-1 1 0 0,-6-7-1807 0 0,17 12 984 0 0,9 7-823 0 0,-1 0 1 0 0,1-1-1 0 0,-1 1 1 0 0,1-1-1 0 0,0 1 0 0 0,0-1 1 0 0,0 1-1 0 0,0-1 1 0 0,0 0-1 0 0,0 1 1 0 0,1-1-1 0 0,-1 0-161 0 0,0-1 50 0 0,0 1 1 0 0,0 0-1 0 0,0-1 0 0 0,-1 1 0 0 0,1 0 1 0 0,0 0-1 0 0,-1 0 0 0 0,0 0 0 0 0,1 0 1 0 0,-1 0-1 0 0,0 1 0 0 0,0-1 1 0 0,-2-1-51 0 0,6 2-3522 0 0,11 1-1240 0 0</inkml:trace>
  <inkml:trace contextRef="#ctx0" brushRef="#br0" timeOffset="7722.769">1508 766 3224 0 0,'0'0'352'0'0,"0"0"268"0"0,0 0 116 0 0,0 0 28 0 0,17 0 2172 0 0,2-1-1992 0 0,0 0-1 0 0,0-2 1 0 0,-1 0 0 0 0,6-2-944 0 0,41-13-449 0 0,-22 6-2385 0 0,-16 8-1082 0 0</inkml:trace>
  <inkml:trace contextRef="#ctx0" brushRef="#br0" timeOffset="8061.042">2262 370 3680 0 0,'0'0'284'0'0,"0"0"-13"0"0,0 0 638 0 0,0 0 297 0 0,0 0 61 0 0,0 0-132 0 0,0 0-602 0 0,2-1-257 0 0,9-6-160 0 0,0 0 1 0 0,0-1-1 0 0,-1 0 1 0 0,7-8-117 0 0,-3 4-8 0 0,0 1 1 0 0,9-7 7 0 0,10-5-940 0 0,-2-1 1 0 0,24-24 939 0 0,-30 28-661 0 0</inkml:trace>
  <inkml:trace contextRef="#ctx0" brushRef="#br0" timeOffset="10599.068">1251 2554 6912 0 0,'0'0'314'0'0,"-12"0"104"0"0,-17-1 292 0 0,19 0 69 0 0,0 1-1 0 0,1 0 1 0 0,-1 0-1 0 0,0 1 0 0 0,1 0 1 0 0,-9 2-779 0 0,16-2 75 0 0,-1 0 0 0 0,1 0-1 0 0,0 0 1 0 0,-1 0 0 0 0,1 0 0 0 0,0 1 0 0 0,0-1 0 0 0,0 1 0 0 0,0 0 0 0 0,0-1 0 0 0,0 1 0 0 0,0 0 0 0 0,0 0 0 0 0,1 0 0 0 0,-1 0-1 0 0,1 0 1 0 0,0 1 0 0 0,-1-1 0 0 0,1 0 0 0 0,0 1 0 0 0,0-1 0 0 0,1 1 0 0 0,-1-1 0 0 0,0 1 0 0 0,1-1 0 0 0,-1 1 0 0 0,1 1-75 0 0,0 2 12 0 0,-1-1 0 0 0,1 1 0 0 0,0 0 1 0 0,1-1-1 0 0,0 1 0 0 0,-1-1 1 0 0,2 1-1 0 0,-1-1 0 0 0,1 1 1 0 0,0-1-1 0 0,0 0 0 0 0,0 0 1 0 0,2 3-13 0 0,-2-4-95 0 0,0 0 1 0 0,1-1 0 0 0,-1 1 0 0 0,1-1-1 0 0,0 0 1 0 0,0 0 0 0 0,0 0-1 0 0,0 0 1 0 0,1 0 0 0 0,-1-1 0 0 0,1 0-1 0 0,-1 1 1 0 0,1-1 0 0 0,0 0-1 0 0,0-1 1 0 0,0 1 0 0 0,2 0 94 0 0,-3-2-138 0 0,1 1 0 0 0,-1-1 0 0 0,0 1 0 0 0,1-1 0 0 0,-1 0 0 0 0,0-1 0 0 0,1 1 0 0 0,-1 0 1 0 0,0-1-1 0 0,1 0 0 0 0,-1 0 0 0 0,0 0 0 0 0,0 0 0 0 0,0 0 0 0 0,0-1 0 0 0,0 1 0 0 0,0-1 0 0 0,0 0 0 0 0,0 0 0 0 0,0 0 0 0 0,-1 0 0 0 0,1 0 1 0 0,-1-1-1 0 0,0 1 0 0 0,0-1 0 0 0,0 0 0 0 0,0 0 0 0 0,0 1 0 0 0,0-1 0 0 0,0-2 138 0 0,1-1-89 0 0,1-1-1 0 0,-2 0 1 0 0,1 1-1 0 0,-1-1 1 0 0,0 0-1 0 0,0 0 1 0 0,-1 0-1 0 0,1 0 1 0 0,-2-1-1 0 0,1 1 1 0 0,-1 0-1 0 0,0 0 1 0 0,-1-4 89 0 0,0 8 7 0 0,0 0 0 0 0,0 1 0 0 0,0-1 0 0 0,0 1 0 0 0,0 0 0 0 0,0-1 0 0 0,-1 1 0 0 0,1 0 0 0 0,-1-1 0 0 0,0 1 0 0 0,1 0 0 0 0,-1 0 0 0 0,0 1 0 0 0,-1-1-7 0 0,2 1 31 0 0,0 0 0 0 0,0 0-1 0 0,0 0 1 0 0,0 0 0 0 0,0 1 0 0 0,0-1-1 0 0,0 0 1 0 0,0 1 0 0 0,-1-1 0 0 0,1 1 0 0 0,0-1-1 0 0,-1 1 1 0 0,1 0 0 0 0,0 0 0 0 0,-1-1-1 0 0,1 1 1 0 0,0 0 0 0 0,-1 0 0 0 0,1 0 0 0 0,0 0-1 0 0,-1 1 1 0 0,1-1 0 0 0,0 0 0 0 0,-1 0-1 0 0,1 1 1 0 0,0-1 0 0 0,0 1 0 0 0,-1 0-31 0 0,-15 7 427 0 0,14-7-337 0 0,0 1 0 0 0,-1-1 0 0 0,1 1 0 0 0,0 0 0 0 0,0 0-1 0 0,0 0 1 0 0,1 0 0 0 0,-1 0 0 0 0,1 0 0 0 0,-1 1-90 0 0,-7 8 149 0 0,-6 11 16 0 0,6-4-153 0 0,5-11-204 0 0,2 0 0 0 0,-1 0 1 0 0,1 0-1 0 0,0 0 0 0 0,-1 6 192 0 0,-1 7-3581 0 0</inkml:trace>
  <inkml:trace contextRef="#ctx0" brushRef="#br0" timeOffset="10984.46">1251 3102 2760 0 0,'0'0'125'0'0,"-11"-10"22"0"0,4-3 853 0 0,6 12-668 0 0,1 0 0 0 0,-1 0-1 0 0,1 1 1 0 0,-1-1 0 0 0,1 0 0 0 0,-1 1 0 0 0,0-1-1 0 0,0 1 1 0 0,1-1 0 0 0,-1 1 0 0 0,0-1 0 0 0,0 1-1 0 0,1 0 1 0 0,-1-1 0 0 0,0 1 0 0 0,0 0 0 0 0,0 0-332 0 0,0 0 223 0 0,0 0 0 0 0,1 0 0 0 0,-1 0 0 0 0,0 0 0 0 0,1 0 0 0 0,-1 0 0 0 0,0 0 0 0 0,0 0 0 0 0,1 1 1 0 0,-1-1-1 0 0,0 0 0 0 0,1 0 0 0 0,-1 1 0 0 0,1-1 0 0 0,-1 1 0 0 0,0-1 0 0 0,1 1 0 0 0,-1-1 0 0 0,1 1 0 0 0,-1-1-223 0 0,-8 14-1096 0 0,5-7 1146 0 0,0 1 1 0 0,1-1-1 0 0,0 1 0 0 0,1 0 0 0 0,-1 0 0 0 0,1 0 1 0 0,1 1-1 0 0,0-1 0 0 0,0 0 0 0 0,0 1 0 0 0,1-1 1 0 0,1 0-1 0 0,-1 1 0 0 0,2 1-50 0 0,3 89 11 0 0,-3-89-11 0 0,1 6-3 0 0,0-1 0 0 0,0-1 1 0 0,2 1-1 0 0,0 0 3 0 0,-5-14-57 0 0,0-1-27 0 0,6 4 24 0 0,-6-4 6 0 0,0 1 0 0 0,0-1 0 0 0,1 1 0 0 0,-1-1 0 0 0,0 0 0 0 0,1 1 0 0 0,-1-1 0 0 0,0 1 0 0 0,1-1 0 0 0,-1 0 0 0 0,1 1 0 0 0,-1-1 0 0 0,0 0 0 0 0,1 0 0 0 0,-1 1 0 0 0,1-1 0 0 0,-1 0 0 0 0,1 0 0 0 0,-1 0 0 0 0,1 0 0 0 0,-1 1 0 0 0,1-1 54 0 0,1 0-56 0 0,0 1 1 0 0,1 0 0 0 0,-1 0 0 0 0,0 0 0 0 0,0 1 0 0 0,0-1-1 0 0,0 0 1 0 0,2 2 55 0 0,-2-1-238 0 0,-2-2-2 0 0,0 0-7 0 0,7 12-602 0 0,-6-8 747 0 0,0-1 0 0 0,-1 1 1 0 0,1-1-1 0 0,-1 1 0 0 0,1 0 0 0 0,-1 0 1 0 0,0-1-1 0 0,0 1 0 0 0,-1 0 1 0 0,1-1-1 0 0,-1 1 0 0 0,0 0 0 0 0,0-1 1 0 0,0 1-1 0 0,0-1 0 0 0,-1 1 102 0 0,0 3-398 0 0,1 3-40 0 0</inkml:trace>
  <inkml:trace contextRef="#ctx0" brushRef="#br0" timeOffset="11383.736">1363 2659 456 0 0,'-35'-4'8058'0'0,"29"2"-7249"0"0,0 0 0 0 0,0-1 0 0 0,0 0-1 0 0,1 0 1 0 0,-5-3-809 0 0,9 5 80 0 0,1 0 0 0 0,-1 1-1 0 0,0-1 1 0 0,0 1-1 0 0,0-1 1 0 0,1 1 0 0 0,-1-1-1 0 0,0 1 1 0 0,0-1 0 0 0,0 1-1 0 0,0 0 1 0 0,0-1-1 0 0,0 1 1 0 0,0 0 0 0 0,0 0-1 0 0,0 0 1 0 0,1 0 0 0 0,-1 0-1 0 0,0 0 1 0 0,0 0 0 0 0,0 0-1 0 0,0 0 1 0 0,0 0-1 0 0,0 0 1 0 0,0 1 0 0 0,0-1-1 0 0,0 0 1 0 0,0 1 0 0 0,0-1-1 0 0,0 1 1 0 0,1-1-1 0 0,-1 1 1 0 0,0-1 0 0 0,0 1-1 0 0,1 0 1 0 0,-1-1 0 0 0,0 1-1 0 0,1 0 1 0 0,-1-1-1 0 0,0 1 1 0 0,1 0 0 0 0,-1 0-1 0 0,1 0 1 0 0,-1 0-80 0 0,0 3 105 0 0,-1 0-1 0 0,1 0 1 0 0,0 0-1 0 0,0 0 1 0 0,1 1-1 0 0,-1-1 1 0 0,1 0-1 0 0,0 4-104 0 0,0-7-54 0 0,0 0-1 0 0,0 1 1 0 0,0-1 0 0 0,0 0-1 0 0,0 0 1 0 0,0 0 0 0 0,0 0-1 0 0,0 0 1 0 0,1 0 0 0 0,-1 0-1 0 0,0 0 1 0 0,1 0 0 0 0,-1 0-1 0 0,1 0 1 0 0,-1 0 0 0 0,1 0-1 0 0,-1 0 1 0 0,1-1 0 0 0,0 1-1 0 0,0 0 1 0 0,0 0 54 0 0,1 1-461 0 0,-2-2 427 0 0,0 1 1 0 0,1-1-1 0 0,-1 0 1 0 0,0 1 0 0 0,0-1-1 0 0,1 0 1 0 0,-1 1-1 0 0,1-1 1 0 0,-1 0 0 0 0,0 0-1 0 0,1 1 1 0 0,-1-1-1 0 0,1 0 1 0 0,-1 0 0 0 0,1 0-1 0 0,-1 1 1 0 0,0-1-1 0 0,1 0 1 0 0,-1 0 0 0 0,1 0-1 0 0,-1 0 1 0 0,1 0-1 0 0,0 0 34 0 0,-1 0-37 0 0,0 0-1 0 0,1 0 0 0 0,-1 0 0 0 0,0 0 0 0 0,1 0 1 0 0,-1 0-1 0 0,0 0 0 0 0,1 0 0 0 0,-1 1 0 0 0,0-1 1 0 0,1 0-1 0 0,-1 0 0 0 0,0 0 0 0 0,1 0 0 0 0,-1 1 1 0 0,0-1-1 0 0,1 0 0 0 0,-1 0 0 0 0,0 1 0 0 0,0-1 0 0 0,1 0 1 0 0,-1 0-1 0 0,0 1 0 0 0,0-1 0 0 0,0 1 38 0 0,16-2-1308 0 0,-3-2 592 0 0,-10 3-20 0 0,-3 0-6 0 0</inkml:trace>
  <inkml:trace contextRef="#ctx0" brushRef="#br0" timeOffset="11706.673">1213 3722 4608 0 0,'0'0'200'0'0,"0"0"48"0"0,0 13-248 0 0,0 1 0 0 0,0-4 0 0 0,0 4 0 0 0,6 0 544 0 0,-2 2 64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9:01.141"/>
    </inkml:context>
    <inkml:brush xml:id="br0">
      <inkml:brushProperty name="width" value="0.35" units="cm"/>
      <inkml:brushProperty name="height" value="2.1" units="cm"/>
      <inkml:brushProperty name="color" value="#FFC114"/>
      <inkml:brushProperty name="inkEffects" value="pencil"/>
    </inkml:brush>
  </inkml:definitions>
  <inkml:trace contextRef="#ctx0" brushRef="#br0">2185 1 920 128678 50870,'0'0'80'4752'-541,"0"0"-80"1915"-221,0 0 0 1707-191,0 0 0-774 50,0 0 2136 10839-600,0 0 240 4833-57,-5 3 2360-3527 1059,-10 5-2688-16145-1,-3 1-1848-3600 502,0-1-48 0 0,2-1 0 0 0,3-3 0 0 0,4-2-16 0 0,1 0 0 0 0,1-2 0 0 0,-2 1 128 0 0,-1 0-144 0 0,1 0 0 0 0,-2 0 112 0 0,-2 1-8 0 0,1-1-112 0 0,1-1-16 0 0,1 2-8 0 0,-1 0 0 0 0,0 1 88 0 0,1 0-88 0 0,1 0 0 0 0,0 1 0 0 0,0-1 0 0 0,-1-1 0 0 0,0 1 0 0 0,0 0 0 0 0,0 0 56 0 0,0-1 16 0 0,1 0 0 0 0,0-1 0 0 0,3 1-160 0 0,1-1 64 0 0,-1 2-64 0 0,-2 1 96 0 0,0 0 0 0 0,-2 0-9 0 0,0 1 1 0 0,2-1-24 0 0,-1-1-64 0 0,0 1 96 0 0,2-1-32 0 0,2 0-64 0 0,-3 1 72 0 0,-2 1-72 0 0,1-1 0 0 0,0 1 64 0 0,0 0-64 0 0,-1 1 0 0 0,0-1 0-2-501,0 1 0 2 501,1-1 0 0 0,3-1 64 0 0,0 0-64 0 0,-2 2 0 0 0,-4 2 0 0 0,-1 1 0 0 0,1-1 0 0 0,1-1 0 0 0,1 0 0 0 0,0 0 112 0 0,2 1-16-1-540,2-1 0 1 540,1-3-96 0 0,1 1 0 0 0,-2-1 0 0 0,-1 2-80 0 0,-2 2 80 0 0,-1 2 0 0 0,-1-1 0 0 0,0-1 0 0 0,1-1 0 0 0,1 2 0 0 0,0-2 0 0 0,0 0 0 0 0,3-1 0 0 0,1-1 0 0 0,-1 0 0 0 0,0 0 0 0 0,-4 3 0 0 0,0 0 0 0 0,-3 4 0 0 0,0-1 0 0 0,1-1 0 0 0,3 0 0 0 0,0-1 0 0 0,0-2 0 0 0,2-2 0 0 0,0 0 0 0 0,0-1 0 0 0,-1 0 0 0 0,1 0 0 0 0,-1 0 0 0 0,-2 4 0 0 0,-1 1 0 0 0,0 3 0 0 0,1-1 0 0 0,0-1 0 0 0,1-2 0 0 0,1 0 0 0 0,0-1 0 0 0,-1-1 0 0 0,-1 1 0 0 0,2 1 0 0 0,1 1 0 0 0,-4 4 0 0 0,0 1-96 0 0,0 0 96 0 0,0 1-96 0 0,1-3 96 0 0,2-1 64 0 0,-2-1-64 0 0,0-2 88 0 0,3-2-88 0 0,0 0 0 0 0,0 1-96 0 0,0-1 96 0 0,0 0 0 0 0,-1 2 0 0 0,2-1 0 0 0,-2 0 96 0 0,-1 2-96 0 0,-2 2 0 1-608,-2 3 0-1 608,1 1 0 0 0,1 0 0 0 0,2-1 0 0 0,1 0 0 0 0,2 0 0 0 0,0-1 0 0 0,2-3 0 0 0,1-1 0 0 0,-1-1 0 0 0,0 1 0 0 0,-1 0 0 0 0,-1 2 0 0 0,-3 2 0 0 0,-2 0 0 0 0,-3 2 0 0 0,1 0 0 0 0,3-3 0 0 0,1 0 0 0 0,1-1 0 0 0,1-1 0 0 0,1 0 0 5-506,1 0 0-5 506,-1 1 0 0 0,0 1 0 0 0,0-1 0 0 0,-1-1 0 0 0,1-1 0 0 0,1-2 0 0 0,0 2 0 0 0,0 0 0 0 0,0 1 0 0 0,-1 0 0 0 0,0 2 0 0 0,0 0 0 0 0,-1 1 0 0 0,1-2 0 0 0,0 2 0 0 0,0-2 0 0 0,1 1 0 0 0,-4 2 0 0 0,0 2 0 0 0,-1 2 0 0 0,1 0 0 0 0,0-1 0 0 0,3-2 0 0 0,1-3 0 0 0,1 0 0 0 0,-1 0 0 0 0,0 0 0 0 0,-2 1 0 0 0,1 0 0 0 0,0 0 0 0 0,-1 4 64 0 0,0 0-64 0 0,0 0 64 0 0,2-1-64 0 0,-1 0 64 0 0,2-2-64 0 0,-2-2 0 0 0,0-1 0 0 0,1-2 0 0 0,1 0 0 0 0,-1-1 64 0 0,0 2-64 0 0,1 1 0 0 0,1 1 0 0 0,-1 1 72 0 0,0 3-72 0 0,-1 2 0 0 0,0-1 0 0 0,0 0 0 0 0,-1-2 0 0 0,2-1 0 0 0,0-1 0 0 0,-1-1-64 0 0,1-1 64 0 0,0-1 88 0 0,0 0-24 0 0,1 1 0 0 0,-2 2-64 0 0,1-2 0 0 0,0 0 0 0 0,0 0 0 0 0,0-1 0 0 0,0-1 0 0 0,0 1 0 0 0,1-1 0 0 0,-1 2 64 0 0,0 1-64 0 0,0 3 64 0 0,0-2-64 0 0,0 0 0 0 0,0-2 0 0 0,1-2 0 0 0,1-2 0 0 0,1 0 0 0 0,-1 0 0 0 0,1-1 64 0 0,-1 1-64 0 0,-1-1 0 0 0,1 1 0 0 0,0 0 64 0 0,0 1-64 0 0,-1 0 0 0 0,1 0 0 0 0,-1 0 0 0 0,1-1 0 0 0,0 1 64 0 0,-2-1-64 0 0,0 1 0 0 0,1 0 0 0 0,0-1 0 0 0,0 0 0 0 0,0 0 0 0 0,1 0 0 0 0,0 1 0 0 0,1 1 0 0 0,-1-1 0 0 0,2 0 64 0 0,-2 0-64 0 0,1 0 0 0 0,-1 0 0 0 0,1 0 0 0 0,0 2 64 0 0,-1 0-64 0 0,1-1 0 0 0,0 0 0 0 0,0 0 0 0 0,0 0 0 0 0,1 1 0 0 0,-1-1 0 0 0,0 0 0 0 0,0 0 64 0 0,0 1-64 0 0,-1 0 0 0 0,1 1 0 0 0,0 0 64 0 0,0-1-64 0 0,1 3 0 0 0,-1 0 0 0 0,1-1 0 0 0,0 0 0 0 0,0 1 0 0 0,1-2 0 0 0,-2 0 0 0 0,-1 1 0 0 0,1-1 0 0 0,0 1 0 0 0,0-1 0 0 0,1 0 0 0 0,0-1 0 0 0,0 3 0 0 0,0 0 0 0 0,0 0 0 0 0,-1-1 0 0 0,-1-1 0 0 0,1-1 0-510-2,0-1 0 510 2,0 1 0 0 0,-1-2 0 0 0,1 1 64 0 0,0-1-64-499 0,1-2 0 499 0,-1 0 0 0 0,-1 0 0 0 0,1 1 0 0 0,0-2 0 0 0,0 0 0 0 0,1 2 0 0 0,-1-1 0 0 0,-1-1 0 0 0,1 0 0-560 1,0-3 0 560-1,0 0 0 0 0,1-1 64 0 0,0 2-64 0 0,0 0 0 0 0,0-1 0 0 0,0 0 0 0 0,0 0 64 0 0,0-2-64 0 0,0 1-96 0 0,0-1-40 0 0,0 0-8 0 0,0 0-7087 0 0,0 0-3569 0 0</inkml:trace>
  <inkml:trace contextRef="#ctx0" brushRef="#br0" timeOffset="1029.191">1752 106 456 215639 43366,'0'0'0'758'-2,"0"0"0"-60"5,0 0 0-81-6,-2 0 1280 467 3,-2 0 224-1084 0,-2 0 32 0 0,-1 0 16 0 0,0 0-688 1-528,-2 1-144-1 528,0 1-24 0 0,-1 0-8 0 0,0 1-216 0 0,-1 0-48 0 0,0 0-8 0 0,0 1 0 0 0,0 1-40 0 0,-3-1-16 0 0,1 2 0 0 0,1 2 0 0 0,-2 0-32 0 0,0 1-8 0 0,0-1 0 0 0,-1 1 0 0 0,-1 1-80 0 0,0-1-16 0 0,1 0-8 0 0,-4 3 192 0 0,-1 1-224 0 0,0 0 0 0 0,1-1 0 0 0,-7 4 208 0 0,-1 0-264 0 0,0-1-24 0 0,1 1-8 0 0,2-1 0 0 0,0-2 0 0 0,3 0 15 0 0,1 1 1 0 0,0-1 0 0 0,1 0 0 0 0,1 0-40 0 0,-4 4 56 0 0,-4 4 0 0 0,-2 1-128 0 0,-2 7 312 0 0,0 1-152 0 0,1-2 8 0 0,3-2 0 0 0,3-3-168 0 0,2-2 0 0 0,0-2 0-5-634,2 0 0-5 45,1 1 0 17 47,2-1 0-7 542,2 1 0 0 0,0 1 0 0 0,-3 7 0 0 0,-3 7 0 0 0,0 0-96 0 0,1-2 0 0 0,1-2 0 0 0,4-3 96 0 0,0 0 0 0 0,0 1 0 0 0,-1 0 0 0 0,1-2 0 0 0,2-3 0 0 0,1-2 0 0 0,0-2 0 0 0,1-1 0 0 0,0 0 0 0 0,0-1 0 0 0,0 0 0 0 0,-1 0 0 0 0,1-1 0 0 0,-4 6 0 0 0,0 1 0 0 0,0 1 0 0 0,0-1 0 0 0,2-1 0 0 0,-1 2 0 0 0,-1 2 0 0 0,-1 3 0 0 0,1-1 0 0 0,1-2 0 0 0,1-4 0 0 0,0 3 0 0 0,-1 3 0 0 0,0-1 0 0 0,2-1 0 0 0,-1-2 0 0 0,2-2 0 0 0,0-1 0 0 0,1 0 0 0 0,1-2 0 0 0,0-1 0 0 0,0-1 0 0 0,1-1 0 0 0,0-1 0 0 0,1 0 0 0 0,0-1 0 0 0,0-1 0 0 0,0-1 0 0 0,-1 0 0 0 0,1 1 0 0 0,0 1 0 0 0,1-1 0 0 0,0 0 0 0 0,1-1 0 0 0,-1 0 0 0 0,1 0 0 0 0,-1 0 0 0 0,0 1 0 0 0,1-1 0 0 0,0 0 0 0 0,0 1 0 0 0,-1 1 0 0 0,1-1 0 0 0,-1 2 0 0 0,1 1 0 0 0,1-1 0 0 0,0 1 0 0 0,1 1 0 0 0,-1 3 0 0 0,-1 2 0 0 0,1 0 0 0 0,1-1 0 0 0,-1-3 0 0 0,0-4 0 0 0,1 0 0 0 0,1-2-128 0 0,0-3 0 0 0,1-4-8 0 0,0-3 0 0 0,1-4-2415 0 0,1-4-11985 0 0</inkml:trace>
  <inkml:trace contextRef="#ctx0" brushRef="#br0" timeOffset="2147.177">1196 357 920 219635 40105,'0'0'80'0'0,"0"0"1008"0"0,-2 0 192 0 0,-2 2 48 0 0,-3 1 8 0 0,0 0-528 0 0,-2-1 584 0 0,-2 0-280 0 0,-1-1-360 0 0,-1-2-384 0 0,1 1-112 0 0,-3-1 192 0 0,1 1-224 0 0,1-1-16 0 0,1 2-8 0 0,2 1 0 0 0,2 1 0 0 0,2 0-32 0 0,-2 2-8 0 0,1-1 0 0 0,-5 2 208 0 0,-4 4 64 0 0,-2 2-216 0 0,0 1-24 0 0,-1-1-8 0 0,0 1 0 0 0,-5 1 152 0 0,-3 1-192 0 0,2-1 0 0 0,4-1 0 0 0,2-1-16 0 0,1 2 128 0 0,0 0-128 0 0,2 0 48 0 0,2 0 8 0 0,1-2 0 0 0,0-3 0 0 0,1 1-40 0 0,0-2-9 0 0,1 0 1 0 0,-2 0 0 0 0,-3 1-72 0 0,-1 2-64 0 0,2-1 64 0 0,-1 3 32 0 0,-2 2-96 0 0,1 1 0 0 0,-2 4-96 0 0,1 4 96 0 0,2-1 0 0 0,1-1 80 0 0,-1 4-80 0 0,-1 0 64 0 0,1-2-64 0 0,3-1 0 0 0,0-2 0 0 0,1-2 0 0 0,2-1 0 0 0,-1-1 0 0 0,1 1 0 0 0,0-1-88 0 0,1 0 88 0 0,-2 1 112 0 0,1-1-24 0 0,1 1-8 0 0,-1-2-80 0 0,-1 3-240-493 1,-3 4 144 493-1,-2 5 96 0 0,-2 2 0-542-2,0 2 0 542 2,0 2 0-501-2,2-3 0 501 2,2-5 0 0 0,1-1 96 0 0,0-2 64 0 0,-2 2-80 0 0,4-1-80 0 0,1-1 0 0 0,1-1 64 0 0,1 1-64 0 0,1-2 0 0 0,-1-2 0 0 0,2 1 0 0 0,-2 1 0 0 0,1 0 0 0 0,0 2 0 0 0,0 2 0 0 0,1-2 0 0 0,1-1 0 0 0,0-2 0 0 0,2 0 0 0 0,-1 2 0 0 0,1-1 0 0 0,1-2 0 0 0,-1-2 0 0 0,1-3 0 0 0,-1-1 0 0 0,0-1 0 0 0,-1-2 0 0 0,0 1 0 0 0,2-1 0 0 0,0-1 0 0 0,0-2 0 0 0,2 1 0 0 0,-1 0 0 0 0,1 0 0 0 0,-2 0 0 0 0,0 1 0 0 0,0 4 0 0 0,1 1 0 0 0,0-1 0 0 0,0-1 0 0 0,1-1 0 0 0,-1 2 0 0 0,0 0 0 0 0,-1-1 0 0 0,1 2 0 0 0,1 0 0 0 0,-1 1 0 0 0,1-1 0 0 0,1 0 0 0 0,0-1 0 0 0,1 0 0 0 0,-1-1 0 0 0,1-2 0 0 0,1 3 0 0 0,-1 1 0 0 0,1 3 0 0 0,0 1 0 0 0,0 0 0 0 0,0-1 0 0 0,0-1 0 0 0,1 2 0 0 0,-1-1 0 0 0,0-1 0 0 0,0 0 0 0 0,0-1 0 0 0,-1 2 0 0 0,0 3 0 0 0,0 1 0 0 0,-2 1 0 0 0,1-2 0 0 0,0-3 0-510 7,-1-1 0 510-7,0-1 0 0 0,-1-4 0 0 0,-1 0 0 0 0,1-3 0 0 0,0-1 0 0 0,0-4 0 0 0,0 1 0-549-1,1 0 0 549 1,0 0 0 0 0,0 1 0 0 0,1 0 0 0 0,0-1 0 0 0,1 0 0 0 0,0 0 0 0 0,-1-1 0 0 0,4-3 0 0 0,5-7-1055 0 0,2-4-249 0 0,6-9-48 0 0,2-8-16 0 0,-3-1-10904 0 0</inkml:trace>
  <inkml:trace contextRef="#ctx0" brushRef="#br0" timeOffset="2912.007">745 895 3224 217438 39507,'0'0'288'0'0,"0"0"-288"0"0,-2 3 688 0 0,-5 4 872 0 0,-3 6-72 0 0,-4 4-816 0 0,-5 6 1168 0 0,0 2-1384 0 0,0-1-8 0 0,3-2 0 0 0,-3 3 368 0 0,1 1-560 0 0,-2 6 512 0 0,1 2-512 0 0,1-1-72 0 0,1 1 136 0 0,2-1-160 0 0,2-1 0 0 0,-2 2 160 0 0,-1 2-160 0 0,-1 7 192 0 0,-2 0-240 0 0,1-3-16 0 0,2-4-8 0 0,-2 3 88 0 0,2 0-176 0 0,3-4 0 0 0,2-3 0 0 0,3-4 0 0 0,1-4 0 0 0,0 3 424-507 1,1 0 72 507-1,0-3 15 0 0,-1 1-71 0 0,0 1-840 0 0,0 1 184 0 0,0-3 344 0 0,-1 1 288 0 0,1-2-200 0 0,0-3-216 0 0,1-3 0 0 0,0-1 0 0 0,2-1 0 0 0,0 0 0 0 0,1 0 0 0 0,-1 0 0 0 0,-1 4 0 0 0,1 1 0 0 0,1-1 0 0 0,1 1 0 0 0,0-1 0 0 0,1 0 0 0 0,0-2 0 0 0,1 0 0 0 0,0-1 0 0 0,2 0 0 0 0,1 0 0 0 0,1-1 0 0 0,0 0 0 0 0,-2-1 0 0 0,1 0 0 0 0,0 0 0 0 0,-1 1 0 0 0,0 1-232 0 0,1 2 128 0 0,0-1 168 0 0,0-1 32 0 0,0 1 0 0 0,0-2 8 0 0,0 0-104 0 0,1-1 0 0 0,1 1 0 0 0,0-1 0 0 0,0-1 0 0 0,1 1 0 0 0,-2-1 0 0 0,0 1 0 0 0,-1 0 0 0 0,-1 0 0 0 0,0-1 0 0 0,-1-1 0 0 0,0-1 0 0 0,-1-3 0 0 0,1 1 0 0 0,1 1 0 0 0,0-1 0-7 545,-1-1 0 7-545,1 0 0 0 0,-1-2 0 0 0,-1 0 0 0 0,0-1 0 0 0,1 0 0 0 0,1 0 0 0 0,-1-2 0 0 0,0 0 0 0 0,0-1 0 0 0,-1-1 0 0 0,0 1 0 0 0,0 0 0 0 0,0-1 0 0 0,0 0 0 0 0,0 0 0 0 0,0-1 0 0 0,0 0 0 0 0,0 0 0 0 0,0 0 0 0 0,0 0 0 0 0,0 0 0 0 0,0 0 0 0 0,0 0 0 0 0,0 0 0 0 0,0 0 0 0 0,0 0 0 0 0,-1 1 0 0 0,0 0 0 0 0,-1-1 0 0 0,1 1 0 0 0,1 0-1383 0 0,-1-1-5065 0 0,1 0-3096 0 0</inkml:trace>
  <inkml:trace contextRef="#ctx0" brushRef="#br0" timeOffset="4046.357">350 2466 8288 212364 39606,'0'0'632'0'0,"0"0"-400"0"0,0 0-232 0 0,0 0 0 0 0,1-1 0 0 0,3-1 0 0 0,4 0-3640 0 0,0 0-1872 0 0</inkml:trace>
  <inkml:trace contextRef="#ctx0" brushRef="#br0" timeOffset="5494.675">2565 3002 2760 215884 42583,'0'0'248'0'0,"0"0"-248"0"0,0 0 0 0 0,0 0 0 0 0,0 0 456 0 0,0 0 48 0 0,0 0 8 0 0,0 0 0 0 0,2 1 72 0 0,1 2 24 0 0,0-1 0 0 0,-1 0 0 0 0,-1-1-256 0 0,0 0-40 0 0,1 0-16 0 0,1 0 0 0 0,1 0-136 0 0,3-2-32 0 0,1-2-8 0 0,0 0 0 0 0,-1 1 152 0 0,-1-1 32 0 0,3-3 424 0 0,0-3-664 0 0,1-2 0 0 0,0-2-64 0 0,0 1 104 0 0,4-4 32 0 0,6-3-72 0 0,5-3 32 0 0,2-4 0 0 0,-1 2-96 0 0,-3 1 0 0 0,1 0 0 0 0,-1 1 0 0 0,-3 2 0 0 0,-2 1 64 0 0,-2 1-64 0 0,0-3 0 0 0,3-4 0 0 0,-1-1 0 0 0,-1-1 0 0 0,-1-2 0 0 0,-1 0 0 0 0,-3 1 0 0 0,0-3 64 0 0,0-7-64 0 0,2-7 128 0 0,-2-1 16 0 0,-1 1 0 518 2,-1-3 152-518-2,3-1 8 0 0,1-2-88 0 0,0 0-120 0 0,-1 0-32 0 0,0-1-64 0 0,-1 0 0 0 0,-3-3 0 0 0,0-3 0 0 0,-3 4 0 0 0,-2 4 0 0 0,-2 7 0 0 0,-1 3-72 0 0,-1 5 72 0 0,0 2-64 0 0,0-2 0 0 0,-1-2 64 0 0,0 3-64 550-2,-2 2 64-20 2,-1 4-88-20 5,-1-2-16-510-5,-1 2 40 0 0,-1 3-56 0 0,0 4-8 0 0,-1 3 0 0 0,-1 1 0 0 0,-2-1 32 0 0,-1 0 0 0 0,0 2 96 0 0,-1 0 0 0 0,1 2 0 0 0,2 2 0 0 0,1 1 232 0 0,1 0-136 0 0,1 0-240 0 0,1 2 80 0 0,2 3 64 0 0,1 2 88 0 0,2 2-24 0 0,0 1 0 0 0,1 1 32 0 0,1 0-96 0 0,-1 1 96 0 0,0-1-96 0 0,1 1 64 0 0,-1-1 0 0 0,1 2-64 0 0,0 0 72 0 0,1 2-72 0 0,2 2 64 0 0,2 2-64 0 0,-1 2 64 0 0,1-1-64 0 0,0 2 72 0 0,2 4 24 0 0,1 4 32 0 0,1 6 56 0 0,0 2-96 0 0,-2-1 24 0 0,-4 3 128 0 0,1 3 64 0 0,-1 2 88 0 0,0-1-192 0 0,0-3-32 0 0,0-1 152 0 0,1 1 0 0 0,0 3-16 0 0,1 3-152 0 0,0 0-152 0 0,0-1 0 0 0,1 2 0 0 0,0-1 0 0 0,-1-3 0 0 0,-2-2 0 0 0,-2-4 0 0 0,0-3 0 0 0,-1-2 0 0 0,0 0 0 0 0,-2 1 0 0 0,1-2 0 0 0,-2 4 0 0 0,0 0 0 0 0,-1 0 0 0 0,-1-2 0 0 0,0 0 0 0 0,-1 4 0 0 0,-1 2 0 0 0,0-1 160 0 0,-1-1 24 0 0,1 0 8 0 0,0-2 0 0 0,0 1-312 0 0,0-1-56 0 0,0 0-16 0 0,-1-1 0 0 0,1-2 328 0 0,-1 0 64 0 0,0-1 16 0 0,-1-1 0 0 0,-1 5-760 0 0,-1 1 328 0 0,0-2 376 0 0,1-2 64 0 0,0-1 24 0 0,-1 1 0 0 0,0-1-248 0 0,0-1 0 0 0,0 0 0-3 506,-4 3-624 3-506,0 1 376 0 0,0-2 400 0 0,1-2 72 0 0,0-2 24 0 0,1-2 0 0 0,1-2-184 0 0,-2 1-64 0 0,0 0 0 0 0,0-1 0 0 0,1-2 64 0 0,0-1-64 0 0,1-1 0 0 0,0 0 0 0 0,2-1 0 0 0,0-1 0 0 0,-1 1 0 0 0,0 1 0 0 0,1 0 0 0 0,0-1 0 0 0,2-1 0 0 0,-2 3 0 0 0,-2 1 0 0 0,1 1 0 0 0,1 0 0 0 0,-1 2 0 0 0,0 0 0 0 0,2-2 0 0 0,1-3 0 0 0,2-4 0 0 0,1 0 0 0 0,2-2 0 0 0,1-1 0 0 0,-1 0 0 0 0,1 0-256 0 0,-1-1-240 0 0,2-1 248 0 0,-1 0 248 0 0,3 0 0 0 0,4-2 0 0 0,2-1 0 0 0,5-4 0 0 0,2-3 0 0 0,2-3 0 0 0,6-2 0 0 0,3-2 0 0 0,-1-2 0 0 0,3-1 0 0 0,5-4 0 0 0,5-3 0 0 0,-1 1 0 0 0,-3 1 0 0 0,-3 3 0 0 0,-3 2 0 0 0,-3 0 0 0 0,-3-1 0 0 0,0-1 0 0 0,-1-2 0 0 0,4-6 0 0 0,5-8 0 0 0,5-6 0 0 0,0 0 0 0 0,-2 1-64 0 0,-4 3 64 0 0,-7 8-15352 0 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9:07.929"/>
    </inkml:context>
    <inkml:brush xml:id="br0">
      <inkml:brushProperty name="width" value="0.35" units="cm"/>
      <inkml:brushProperty name="height" value="2.1" units="cm"/>
      <inkml:brushProperty name="color" value="#FFC114"/>
      <inkml:brushProperty name="inkEffects" value="pencil"/>
    </inkml:brush>
  </inkml:definitions>
  <inkml:trace contextRef="#ctx0" brushRef="#br0">2152 17 3680 220152 40914,'0'0'328'-811'5,"0"0"-264"-591"-7,0 0-64 809-1,0 0 4512 51 7,0 0-2880 537 536,0 0-680 12 77,0 0-136-7-617,0 0-24 0 0,0 0 440 0 0,0 0-848 0 0,0 0-8 0 0,0 0 168 0 0,0 0-280 0 542,0 1-72 0-542,1 3-192 0 0,1 1 72 0 0,1 3-72 0 0,1 0 96 0 0,1 2-32 0 0,1 0-64-9 497,4 2 176 9-497,2 2-104 7 524,0 1 0-12-4,0 0 0 5-520,0 0 7 0 0,2 3 81 3 529,0 0-80-3-529,-1 0-80 0 0,-1-1 0 0 0,-1 1 72 0 0,-1-2-72 0 0,0 0 64 0 0,2 3 0 0 0,2 3-64 2 1129,0 0 0-2-1129,-1-1 0 0 0,-1 0 0 0 0,-1-1 0 0 0,-1-2 0 0 0,-1-2 64 0 0,-1-2-64 0 0,0-1 64 0 0,0 0-64 0 0,-1-2 64 0 0,0 1-64 0 0,0-1 96 0 0,-1 1-32 0 0,-1-1 0 0 0,0 1-64 0 0,0 0 0 0 0,0 0 64 0 0,-1 1-64 0 0,1 1 0 0 0,0 3 0 0 0,2 4 80 0 0,-2 3 8 0 0,-1 0 0 0 0,0 1 0 0 0,0-1 8 0 0,-1-2-96 0 0,-1-2 96 0 0,0-1-192 0 0,0 0-160 0 0,-3 3 296 0 0,0 0 200 0 0,-1 5 392-1005-1,0 2-536 1005 1,-1-2-8 0 0,2-3 0 0 0,-1-3 0 0 0,0-3 0 0 0,-2-1 0 0 0,1 1 0 0 0,-1-1-88 0 0,0-1 0 0 0,-1 2 0 0 0,2-1 0 0 0,-1-1 0 0 0,0-1 0 0 0,0-1 88 0 0,1 0-24 0 0,-1 0-64-529 3,-1 0 96 529-3,1 0-96 0 0,0 0 0 0 0,0-1 0 0 0,-1 1-80 0 0,2-2 80 0 0,-2 2 0-495-1,-1 1 0 495 1,0 3 0 0 0,-1-2 0 0 0,0 0 0 0 0,1-1 64 0 0,-2 2 0 0 0,-1 0-64 0 0,2-1 0-2 556,0-3 0-571-555,-1 0 0 573-1,1-3 0 0 0,-1 0 0 0 0,-1 0 0 0 0,-1 0 0 0 0,2-1 0 0 0,2-2 0 0 0,-1 0 0 0 0,0-1 0 0 0,-3 3 0-488 0,1-1 0 488 0,-3-1 0 0 0,-2-4 0 0 0,-1-3-200 0 0,-2-4-256 0 0,-1-6-408 0 0,-1-6-1207 0 0,2-2 207 0 0,-1-10-1976 0 0,4 0-6272 0 0</inkml:trace>
  <inkml:trace contextRef="#ctx0" brushRef="#br0" timeOffset="660.757">1954 1 8720 212579 48071,'0'0'656'5'-1114,"0"0"-400"-5"1114,0 0-256 0 0,0 0 0 0 0,0 0 0 0 0,0 0 360-10-540,0 0 24 10 540,0 0 8 0 0,0 0 488 0 0,0 0-368 0 0,0 0 0 0 0,0 0 0 0 0,0 2 0 0 0,0 2 512 0 0,0 4-416 0 0,1 5-608 0 0,2 2 0 0 0,0 0 168 0 0,1 1 16 0 0,1 0 0 0 0,0 0 0 0 0,1-1 112 0 0,-1 1 23 0 0,1 0 9 0 0,0-1 0 0 0,2 1-264 0 0,1 4-64 0 0,2 6 0 0 0,1 2 0 0 0,-1 0 0 0 0,0 3 0 0 0,1 3 0 0 0,1-2 0 0 0,-2-1 0 0 0,-1-4 0 0 0,-3-1 0 0 0,1 3 0 0 0,-1 6 0 0 0,1 7 0 0 0,-1 5 0 0 0,1 6 424 0 0,-1-1 72 0 0,-1-5 16 0 0,-1-7 0 0 0,-2-5-416 0 0,1-1-96 0 0,0-2 0 0 0,0-4 0 0 0,0-2 0 0 0,-1-2 0 0 0,1 2 0 0 0,0 0 0 0 0,-1 0 0 0 0,-1-3 0 0 0,0-2 0 0 0,-1 1 0 0 0,1 1 0 0 0,0-2-88 0 0,0-2-40 0 0,0-1 0 0 0,-1-1-8 0 0,0-1 216 0 0,0 2 176 0 0,-1 0-120 0 0,0-1-216 0 0,0 0-48 0 0,0-2 0 0 0,-1 0-8 0 0,-1 0 136 0 0,1 0 0 0 0,0-1 88 0 0,0 0-88 0 0,1 0 64 0 0,-1 0-64 0 0,0 0 0 0 0,0 0 0 0 0,0 1 0 0 0,0-2 0 0 0,-1 1 0 0 0,1-2 0 0 0,0 0 112 0 0,-1 0-32 0 0,0-2-8 0 0,1-1 0 0 0,0 1-72 0 0,0-1 0 0 0,0-1 0 0 0,-1-2 0 0 0,1-1-96 0 0,0-2-32 0 0,0-1 0 0 0,1-2-8 0 0,0 0-936 0 0,-1 0 696 0 0,2-1-1167 0 0,-1-2-4889 0 0,0 0-3088 0 0</inkml:trace>
  <inkml:trace contextRef="#ctx0" brushRef="#br0" timeOffset="1259.217">2126 159 10568 211295 45887,'0'0'792'0'0,"0"0"-488"0"0,0 0-240 0 0,0 0-64 0 0,0 0 2304 0 0,0 0-1472 0 0,0 0-200 0 0,0 0-40 0 0,0 0-9 0 0,0 2 1 0 0,-1 2-472 0 0,0 2-112 0 0,-1 2 0 0 0,0 3 0 0 0,2 1 0 0 0,1 5 0 0 0,0 3 0 0 0,2 2 440 0 0,2 1 56 0 0,0-1 16 0 0,3 3 0 0 0,1 1-512 0 0,0-2-72 0 0,3 4 0 0 0,0 1 168 0 0,0 0-16 0 0,0 1-8 0 0,0 0-72 0 0,0 0 0 0 0,-2 2 0 0 0,1 8 0 0 0,-2 3 0 0 0,1 1 0 0 0,0-2 0 0 0,0-2 0 0 0,-1 2 0 0 0,-1 0 0 0 0,0-3 0 0 0,0 4 0 0 0,-2 4 0 0 0,0 0 0 4 529,-3-6 0-1 42,-2-4 0-2-59,0-5 0-1-512,-2-4 0 0 0,1-4 0 0 0,-2 2 0 0 0,1-1 0 0 0,-1-2 0 0 0,0-1 0 0 0,-1-2 0 0 0,0-2 0 0 0,1 0 0 0 0,1-5 0 0 0,-1-2 0 0 0,0-3 0 0 0,0-3-1216 0 0,-1-4-1775 0 0,0-7-6089 0 0,-1-2 2936 0 0</inkml:trace>
  <inkml:trace contextRef="#ctx0" brushRef="#br0" timeOffset="1841.057">2362 535 6448 212728 49507,'-1'-6'288'0'0,"0"-5"56"0"0,-1-4-280 0 0,1-3-64 0 0,1-2 0 0 0,-1-1 0 0 0,1 1 1032 0 0,-1 1 192 0 0,-1 3 40 0 0,0 1 8 0 0,1 5-560 0 0,-1 2-104 0 0,1 4-32 0 0,0 2 0 0 0,1 2-296 0 0,0 0 136 0 0,0 7-216 0 0,0 8-200 0 0,1 5 0 0 0,-1 5 0 0 0,1 1 0 0 0,1 2 0 0 0,1 10 448 0 0,1 5 56 0 0,-1 4 7 0 0,1 10 97 0 0,0 12-608 0 0,0 1 0 0 0,0 9-1383 0 0,1-3-5065 0 0,-2-14-3096 0 0</inkml:trace>
  <inkml:trace contextRef="#ctx0" brushRef="#br0" timeOffset="2921.308">344 1144 2760 210295 47276,'0'1'248'0'0,"0"0"-248"0"0,0 0 0 0 0,0 0 600 0 0,0-1 752 0 0,0 0-664 0 0,0 1-168 0 0,0-1-32 0 0,0 0-8 0 0,0 0 0 0 0,0 0 0 0 0,0-1 0 0 0,0 1 0 0 0,0 0 0 0 0,0 0-24 0 0,0 0-8 0 0,0 0 0 0 0,0 0 0 0 0,0 0-8 0 0,0 0-8 0 0,0 0 0 0 0,0 0 0 0 0,-2 1-112 0 0,-1 1-16 0 0,1-1-8 0 0,-3 1 208 0 0,-1 2-128 0 0,-1 1-56 0 0,-2 3-64 0 0,0 1-16 0 0,-1 0-136 0 0,1 2 0-4-560,0 1 96 4 560,1-1-104 0 0,3 0 0 0 0,0-1 0 0 0,-1 1 31 0 0,-1 0 9 0 0,0 1 0 0 0,-3 3 176-6-569,-2 4 56 6 569,-1 3 8 0 0,0 3 24 0 0,1 0-200 0 0,0-1-24 0 0,1 2 160 0 0,-1-1-168 0 0,2-2-72 0 0,1 0-24 0 0,1-2 0 0 0,2-1 0 0 0,0 1-72 0 0,-2 4 0 0 0,0 1 0 0 0,-1-1 0 0 0,1-1 0 0 0,1-1 0 0 0,1 2 272 0 0,-1 4 360 0 0,0 0-312 0 0,0-2-200 0 0,2-1-40 0 0,0-2-8 0 0,2-1 0 0 0,-1-1-72 0 0,2-2 80 0 0,-1 0-80 0 0,1-1 80 0 0,-1-1-80 0 0,0 1 80 0 0,2-1-80 0 0,1 1 80 0 0,-1 4 0 0 0,1 1 0 0 0,-1 0-80 0 0,1-2 96 0 0,1 0-96 0 0,1 2 96 0 0,2 1-96 0 0,-1 0-96 0 0,0 0 96 0 0,-1 0 0 0 0,0 3 0 0 0,0 6 0 0 0,1 1 0 0 0,0-2 0 0 0,0 2 0 0 0,1-1 0 0 0,0-3 0 0 0,1 0 64 0 0,0 0 64 0 0,0-3 24 0 0,-1-2 0 0 0,0-3-248 0 0,0-1-40 0 0,1-1-16 0 0,1-3 0 0 0,-1-1 152 0 0,2 2 0-1000 2,0-1 0 1000-2,-1-2 120 0 0,1 0 232 0 0,1 0-168 0 0,0 0-120 0 0,1-2-64 0 0,2 0 0 0 0,1 0 64 0 0,1-2-64 0 0,2 1 0 0 0,0-1 64 0 0,-3-3-64 0 0,-2-1 0 0 0,0 0 0 0 0,0 1 0 0 0,0 1 0 0 0,1 1 64 0 0,0 1-64 0 0,0-1 0 0 0,-1 1 0 0 0,3 3 0 0 0,3 4 0 0 0,1 1 0 0 0,1 0 0 0 0,-2-1 0 0 0,-1-3 64 0 0,-2-1-64 0 0,0-2 0 0 0,-2-1 0 0 0,0 0 0 0 0,0-1 0 0 0,2 1 0 0 0,3 2 0 0 0,1 1 0 0 0,0 0 0 0 0,1 0 0 0 0,1-1 0 0 0,-2-2 0 0 0,3 2 0 0 0,0 0 0 1 1037,3 2 0-1-1037,0-1 0-8 513,0 0 64 8-513,-1-1-64 0 0,-3-2 64 0 0,-2-1-64 0 0,-4-3 0 0 0,-5-3 0 0 0,-3-2 0 0 0,-1 0 0 0 0,-2-1 64 0 0,0-1-64 0 0,-1-1 0 0 0,0-1-576 0 0,2-3 352 0 0,1-5-3912 0 0,0-2-13631 0 0</inkml:trace>
  <inkml:trace contextRef="#ctx0" brushRef="#br0" timeOffset="3707.466">552 1210 3224 210746 46704,'0'0'288'0'0,"0"0"-288"0"0,0 0 768 0 0,0 0 104 0 0,0 0 24 0 0,0 0 0 0 0,0 0 32 0 0,0 0 0 0 0,0 0 8 0 0,0 0 0 0 0,-2 0-264 0 0,0 0-64 0 0,-1 0 0 0 0,0 0-8 0 0,-2 1-72 0 0,0 1-16 0 0,-1 1 0 0 0,-1 1 0 0 0,-1 0 0 0 0,0 3 0 0 0,1 0-1 0 0,0 2 1 0 0,1 1 0 0 0,0 2 0 0 0,0 1 0 0 0,1 1 0 0 0,-2 1-408 0 0,1 1-104 0 0,-2 2 0 0 0,1 2 0 0 0,1 3 432 0 0,-1 2 64 0 0,1 1 16 0 0,0 2 0 0 0,1 1-416 0 0,0 2-96 0 0,-1 0 0 0 0,1 0 0 0 0,-2 1 0 0 0,1-2 0 0 0,1 1 0 0 0,0-2 0 0 0,1 0 0 0 0,1 0 0 0 0,-1 0 0 0 0,2-1 0 0 0,0-2 168 0 0,2 0 16 0 0,0-2 0 0 0,2-1 0 0 0,-1 0 112 0 0,1-1 24 0 0,0 1 8 0 0,-1 3 64 0 0,1 2-392 0 0,1 0 0 0 0,0-1 0 0 0,0 0 0 0 0,1 0 0 0 0,-2 1 0 0 0,0 0 0 0 0,0 0 0 0 0,1 1 0 0 0,-1 1 0 0 0,1-1 0 0 0,2 1-128 0 0,0-1-48 0 0,1 0-8 0 0,-1-1 0 0 0,1-1 296 0 0,0-2 56 0 0,-1-1 16 0 0,1-1 0 0 0,0 0-184 0 0,0-1 0 0 0,0-1 0 0 0,-1-1 0 0 0,1-1 0 0 0,0 0 0 0 0,0-1 0 0 0,1 0 0 0 0,0-1 0 0 0,1 0 0 0 0,-1 0 0 0 0,1-1 0 0 0,0-2 0 0 0,0 1-160 0 0,0 0 32 0 0,1-1 8 0 0,0 2 120 0 0,0-1 0 0 0,0 0 0 0 0,1 3 0 0 0,0 1 0 0 0,-1 1 0 0 0,0-1 0 0 0,0 0 0 0 0,-1 0 0 0 0,0-1 0 0 0,0 2 0 0 0,-1-1 0 0 0,1-1 0 0 0,-1 2 0 0 0,0 0 0 0 0,1 0 0-496 3,2 3 0 496-3,1 1 0 0 0,0-1 0 0 0,-1-1 0 0 0,0-2 0 0 0,-2-1 0 0 0,0-2 0 0 0,-1-1 80 0 0,0 0-80 0 0,1 2 64-514-5,1 0-64 514 5,0-2 0 0 0,-2-1 0 0 0,1-2 0-515 3,1 1 0 515-3,2 0 0-514 0,-1-1 0-20 2,1-1 0 534-2,-1-1 0 0 0,0-1 0 0 0,0 0 0 0 0,-2-2 0 0 0,0-1 0 0 0,-1-1 0 0 0,-1 0 0-502 1,0 0 0 502-1,-1 0 0 0 0,2-1 0 0 0,-2 0 0 0 0,3 0 0 0 0,1 1 0 0 0,-1-2 72 0 0,-2 0 0 0 0,-2-2 0 0 0,-1 0 0 0 0,-2-2-2872 0 0,0 0 1776 0 0,-1 0-2607 0 0,0 0 1711 0 0,2-5-8 0 0,1-2-10296 0 0</inkml:trace>
  <inkml:trace contextRef="#ctx0" brushRef="#br0" timeOffset="6416.025">225 1135 5984 207182 44804,'0'0'264'0'0,"0"0"56"0"0,-1 0-256 0 0,-4 1 1280 0 0,-3 3 1912 0 0,-1 3-1592 0 0,0 2-928 0 0,0 3-176 0 0,3 0-40 603 4,3 4-8-603-4,2 2-320 0 0,3 4-64 0 0,0 5-8 0 0,3 6-8 0 0,2 6 128 0 0,3 7 24 0 0,1 6 7 0 0,1 6 1 0 0,3 4-80 0 0,2 5-8 0 0,2 3-8 0 0,3 2 0 0 0,3 5-88 0 0,6 23 40 0 0,11 32-64 0 0,9 32-64 0 0,3 5-4783 1 524,-1-7-913 4 10,-11-31-1656-5-534</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9:23.671"/>
    </inkml:context>
    <inkml:brush xml:id="br0">
      <inkml:brushProperty name="width" value="0.35" units="cm"/>
      <inkml:brushProperty name="height" value="2.1" units="cm"/>
      <inkml:brushProperty name="color" value="#EEB000"/>
      <inkml:brushProperty name="inkEffects" value="pencil"/>
    </inkml:brush>
  </inkml:definitions>
  <inkml:trace contextRef="#ctx0" brushRef="#br0">718 214 2760 214586 39366,'0'0'248'0'0,"0"0"-248"0"0,0 0 0 0 0,0 0 0 0 0,0 0 984 0 0,0 0 144 0 0,0 0 32 0 0,0 0 8 0 0,0 0-488 0 0,0 0-96 0 0,0 0-16 0 0,-1 1-8 0 0,-2 1-64 0 0,-1 0 464 0 0,1 0 24 0 0,-2 0 24 0 0,-1 0-504 0 0,0 0-240 0 0,0-1-40 0 0,-2 1-16 0 0,-1 2 216 0 0,0 0-208 0 0,1 0 0 0 0,0 3 160 0 0,-1 1-88 0 0,0 2-144 0 0,-1 1-24 0 0,-2 1 103 0 0,-2 2-15 0 0,-2 3-32 0 0,-2 1 8 0 0,-1 0-88 0 0,2-1 0 0 0,-1 1 128 0 0,-2 3 40 0 0,-3 3 0 0 0,-2 1-8 0 0,-2 2 0 0 0,1 2-16 0 0,2-1-120 0 0,2-4-56 0 0,5-3-64 0 0,1-2 88 0 0,3-4-88 0 0,2-1 88 0 0,0-1-88 0 0,1 1 80 0 0,-2 2-80 0 0,-1 0 64-1032-1,0-1-64 1032 1,1-1 0 0 0,1 3 0 0 0,0 2 0 0 0,0 3 0 0 0,-1 6 64 0 0,0 4-64 0 0,1 1 0 0 0,1 0 0 0 0,1-1 0 0 0,1 3 64 0 0,2 0-64 0 0,1-2 0 0 0,3 2 0 0 0,-1-3 0 0 0,-1-2 0 0 0,0-3 0 0 0,0-2 64 0 0,0-2-64 0 0,0 0 0 0 0,-1 1 0 0 0,0 0 64 0 0,0-1-64 0 0,-2 1 0 0 0,1-1 0 0 0,-1-2 0 0 0,1-1 0 0 0,-1-1 0 0 0,1-1 0 0 0,1 1 0 0 0,0 5 0 0 0,1 2 0 0 0,1 2 0 0 0,1 5 0 0 0,1 6 0 0 0,3 7 0 0 0,1 3 0 0 0,2-2 0 0 0,0-5 0 0 0,1-3 0-523 1,0-2 0 523-1,-1-2 0-492-1,0-6 0 492 1,0-5 0 0 0,-2-6 0 0 0,-1-3 0 0 0,0-4 0 0 0,-1-3 0 0 0,-1-2 0 0 0,0-2-88 0 0,0-1-8 0 0,0-1-8 0 0,-1 0-408 0 0,2-4-432-1095 2,2-6-1231 1095-2,2-5 223 0 0,-1 0-11696 0 0</inkml:trace>
  <inkml:trace contextRef="#ctx0" brushRef="#br0" timeOffset="569.903">927 353 2760 214182 39433,'0'0'120'0'0,"0"0"32"0"0,0 0-152 0 0,0 0 0 0 0,0 0 1360 0 0,0 0 240 0 0,0-2 56 0 0,0 0 808 0 0,-2 0-1224 0 0,-2 1-648 0 0,-8 3 808 0 0,-6 4-648 0 0,-3 5-232 0 0,-2 4 24 0 0,0 1-248 0 0,2 1 0 0 0,1-1 0 0 0,3 1-48 0 0,1-1-17 0 0,1 0 1 0 0,1 1 0 0 0,0 0-40 0 0,0 1-16 0 0,-1 1 0 0 0,-3 6 128 0 0,-3 7-56 0 0,-2 3-128 0 0,0 0-40 0 0,-1 5 64 0 0,-4 6-72 0 0,-1 2 8 0 0,2-3-80 0 0,3-3 80 0 0,2-2-80 0 0,-1 5 80 0 0,-2 5 0 0 0,0 6-80-1099 5,2-3 64 1099-5,0 3-64-540-6,0 0 0 540 6,2-5 64 0 0,3-7-64 0 0,2-5 0 0 0,4-4 0 0 0,2-1 0 0 0,0-1 0 0 0,1 2 0 0 0,2 0 0 0 0,1 3 0 0 0,0 0 0 0 0,0 8 0 0 0,-1 3 0 0 0,1-2 0 0 0,0-3 0 0 0,2-4 0 0 0,2-5 0 0 0,0-4 0 0 0,3-3 0 0 0,0-4 0 0 0,1-3 0 0 0,2-2 0 0 0,1-1 0 0 0,2 0 0 0 0,0-3 0 0 0,0-3 0-511 1,-1-3-192 511-1,6-1-248 0 0,4-1-376 0 0,1-4 400 0 0,7-8-3583 0 0,-1-2-9089 0 0</inkml:trace>
  <inkml:trace contextRef="#ctx0" brushRef="#br0" timeOffset="1160.639">862 576 8264 211521 38922,'0'0'360'0'0,"0"0"88"0"0,0 0-360 0 0,0 0-88 0 0,0 0 736 0 0,-1 0 128 0 0,1 0 24 0 0,-3 1 8 0 0,-2 0-232 0 0,-3 1-48 0 0,-3 5 1056 0 0,-3 3-1248 0 0,0 2-8 0 0,-1 1-1 0 0,2 2-47 0 0,-3 5 336 0 0,-1 2-352 0 0,0 2-152 0 0,1 0-32 0 0,1 1-8 0 0,1 0 0 0 0,1 1-24 0 0,-2 6 120 0 0,-1 6-128 0 0,-2 7-128 0 0,0 3 0 0 0,1-2 0-7 512,0 4 0 14 27,0 2 0-7-539,1-2 0 0 0,-2 3 0 2 531,1 3 0-2-531,1-2 0 0 0,1-5 0 0 0,0 0 256 0 0,3-1 0 0 0,0-3 0 0 0,2-3 0 0 0,2-1-256 0 0,2 5 0 0 0,0 9 0 0 0,1 5 0 0 0,2-2 0 0 0,2-7 0 0 0,2-7 0 0 0,1-8 0 0 0,1-3 0 0 0,3-3 0 0 0,1-5 0 0 0,1-5-648-2 545,-2-7 400 2-545,-1-5-192 0 0,2-5-520 0 0,5-6-392 0 0,5-8-551 0 0,2-7-4137 0 0,-3 0-2776 0 0</inkml:trace>
  <inkml:trace contextRef="#ctx0" brushRef="#br0" timeOffset="1665.562">900 895 7832 210161 43066,'0'0'344'0'0,"0"0"160"0"0,-1 1-504 0 0,-2 3 0 0 0,-2 2 0 0 0,-1 1 776 0 0,-1 2 144 0 0,-1 3 24 0 0,-1 2 8 0 0,-1 2-256 0 0,-1 4 584 0 0,-1 6-104 0 0,-2 7-137 0 0,0 6-135 0 0,-1 4-208 0 0,0 7-144 0 0,1-1-368 0 0,3-4-8 0 0,1-5 0 0 0,1-5-104 0 0,1-3-72 0 0,2-3 96 0 0,-2 7-32 0 0,-1 9-64 0 0,0 12 64 0 0,-1 9-64 0 0,0-1 0 0 0,2-5 0 0 0,3-8 0 0 0,1-9 0 0 0,2-7 0 0 0,2-6 0 0 0,0-4 0 0 0,0-5 0 0 0,0-1 0 0 0,1-2 0 0 0,-1-3-96 0 0,0-4 96 0 0,0-3-784 0 0,2-6 120 0 0,4-7-192 0 0,3-8 424 0 0,7-18-1631 0 0,1-9 1351 0 0,7-19-1120 0 0,2-9 1232 0 0,6-13-3776 0 0,2-9 2272 0 0,2-3 1392 0 0,-3 5 384 0 0,-3 10 808 0 0,-1 5 832 0 0,-1 1 160 0 0,-5 6 192 0 0,-4 9-160 0 0,-6 14-232 0 0,-5 14-640 0 0,-3 11 40 0 0,-4 10 0 0 0,-1 5 8 0 0,-2 6 432 0 0,-1 6-360 0 0,-3 7-145 0 0,-3 8-183 0 0,-2 5-216 0 0,0 3 152 0 0,1 1 32 0 0,1-1 8 0 0,-1 5 240 0 0,1 0-432 0 0,-2-1-8 0 0,1-1 0 0 0,-1-3-88 0 0,0 0-16 0 0,1-1-8 0 0,0 2 0 0 0,2 2-88 0 0,0 2 0 0 0,1 3 0 0 0,0 3 0 0 0,0 2-104 0 0,2 1-64 0 0,0-2-16 0 0,1-2 0 0 0,0-2 184 0 0,2-4 0 0 0,1-5 0 0 0,3-4 0 0 0,1-6 0 0 0,0-6 80 0 0,0-7-496 0 0,-1-4-728 0 0,3-6 552 0 0,9-13-4751 0 0,3-4-6737 0 0</inkml:trace>
  <inkml:trace contextRef="#ctx0" brushRef="#br0" timeOffset="3318.418">1254 1328 6416 211886 44236,'0'0'288'0'0,"0"0"120"0"0,0 0-408 0 0,0 0 768 0 0,0 0 128 0 0,0 0 32 0 0,-1 2 8 0 0,-1 4-336 0 0,0 5 440 0 0,-4 6-64 0 0,0 2-528 0 0,-1 1 0 0 0,1 4 392 0 0,-2 7-80 0 0,1 3-384 0 0,1 2-168 0 0,0 8 135 0 0,1 12-175 0 0,2 3-96 0 0,-1-1-72 0 0,0 4 64 0 0,0 3-64 0 0,-1 1 64 0 0,1-1-64 0 0,1-6 0 0 0,2-9 0 0 0,0-12 0 0 0,0-9 0 0 0,2-10-104 0 0,0-8-24 0 0,0-5-8 0 0,0-5 0 0 0,4-8-583 0 0,5-10 167 0 0,5-13-88 0 0,1-6 320 0 0,4-13-816 0 0,0-10 560 0 0,-2 2 424 0 0,-2 4 8 0 0,-4 8 0 0 0,-2 7 144 0 0,-2 4 184 0 0,-1 5 48 0 0,-2 5 96 0 0,0 7-160 0 0,-2 8 80 0 0,-2 9 272 0 0,-2 12-16 0 0,-1 11-40 0 0,-1 7-232 0 0,-1 4 8 0 0,-1 2 0 0 0,1 0 0 0 0,-1 0 0 0 0,0 0-56 0 0,2 5 151 0 0,0 2-167 0 0,2-2-88 0 0,0-2-16 0 0,2-3-64 0 0,2 2 96 0 0,1 0-96 0 0,1-3 0 0 0,0-4 0 0 0,0-1-2095 0 0,-1-7-12737 0 0</inkml:trace>
  <inkml:trace contextRef="#ctx0" brushRef="#br0" timeOffset="3466.225">1276 1 3680 214613 39553,'0'0'328'0'0,"0"0"-264"0"0,0 0-64 0 0,0 0 1024 0 0,0 0 1448 0 0,0 0-1208 0 0,0 0-496 0 0,-1 2 536 0 0,-1 3-184 0 0,2 3-672 0 0,0 2 0 0 0,1 1 288 0 0,1 1-200 0 0,4 3-16 0 0,1 0-24 0 0,1-2-248 0 0,5 1 336 0 0,5 3-216 0 0,1 2-201 0 0,-1-2 1 0 0,-1 0 0 0 0,0-2 64 0 0,2 2 264 0 0,4 4-248 0 0,0 0-248 0 0,-1 0 0 0 0,-2 0 0 0 0,-1 0 0 0 0,0-1 64 0 0,0 0-64 0 0,0 2 0 0 0,1 1 0 0 0,3 5 0 0 0,5 8 0 0 0,0 4 0 0 0,-3 0-104 0 0,-4-3 32-5 503,0 12 72 15 27,-2 2 0-10-530,3 13 0 0 0,1 7 64 0 0,-2-1-64 0 0,-3-5 0 0 0,-2-7 0 0 0,-2-7 0 0 0,-3-5 0 0 0,-1-5 0 0 0,-2-2 64 0 0,0-2-64 0 0,1 6 0 0 0,0 2 0 0 0,-1-2 0 0 0,-1-1 64 0 0,-2-2-64 0 0,-2 3 0 0 0,-1 6 0 0 0,-2 1 0-533 2,-2-3 0-28-5,-2-6 0-36-1,0-5-64 597 4,-1-7-184 0 0,2-8 120 0 0,-1-7-1591 0 0,-1-8-4673 0 0,0-4-3024 0 0</inkml:trace>
  <inkml:trace contextRef="#ctx0" brushRef="#br0" timeOffset="6148.927">1895 214 8520 213380 41187,'0'0'376'0'0,"-2"-4"176"0"0,-1-2-552 0 0,-1-2 0 0 0,1 0 0 0 0,-1-1 608 0 0,0 0 112 0 0,1 0 16 0 0,1 0 8 0 0,1 1-80 0 0,1 2-24 0 0,2 0 0 0 0,-1 1 0 0 0,0 1-328 0 0,2 1 152 0 0,0 2-240 0 0,0 0-64 0 0,0 1-24 0 0,0 0 0 0 0,1 1 0 0 0,3 2-33 0 0,3 3 89 0 0,1 2-96 0 0,0 3-32 0 0,1 2 0 0 0,-1 1-64 0 0,0 2 96 0 0,-2 0-32 0 0,2 6 0 0 0,-2 3 32 0 0,-1 3-8 0 0,-1 3-8 0 0,-1 2 0 0 0,-1 1 0 0 0,0 2-16 0 0,1 2 0 0 0,-1 2 0 0 0,0 10 0 0 0,0 7 16 0 0,0 2-80 0 0,-1 9 80 0 0,0 10-8 0 0,-1 2-72 0 0,0-6 64 0 0,-1 2 0 0 0,1-6-64 0 0,-2-10 0 0 0,1-3-152 0 0,1-1-10439 0 0,-1-11 3143 0 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9:30.396"/>
    </inkml:context>
    <inkml:brush xml:id="br0">
      <inkml:brushProperty name="width" value="0.35" units="cm"/>
      <inkml:brushProperty name="height" value="2.1" units="cm"/>
      <inkml:brushProperty name="color" value="#EEB000"/>
      <inkml:brushProperty name="inkEffects" value="pencil"/>
    </inkml:brush>
  </inkml:definitions>
  <inkml:trace contextRef="#ctx0" brushRef="#br0">982 1153 1840 209956 41908,'0'0'160'0'0,"0"0"-160"0"0,0 0 0-544-5,0 0 1296 544 5,0 0 224 0 0,0 0 48 0 0,0 0 0 0 0,0 0-704 0 0,0 0-152 0 0,0 0-24 0 0,0 0 600 0 0,0 0-704 0 0,0 0 0 0 0,-2 1 0 0 0,-2 2-104 0 0,-2 2 440 0 0,0 2-464 0 0,1 2-72-505 1,-1 1-24 505-1,1 3 0 0 0,1 0-1 0 0,-1 1-71 0 0,0 1-8 0 0,1-1-8 0 0,0 5 200 0 0,1 5-96-494 5,0 8-32 494-5,-1 10-40-549-3,0 8 16 549 3,1 10 32 0 0,1 9-8-566-2,1 1-176 566 2,3-3 0 0 0,0-5 0 0 0,2-6-72-556 1,0-5-24 556-1,1-4 0 0 0,0-1 0 0 0,1-2-72 0 0,-1-2 80 0 0,1 1-80 0 0,-1-1 80 0 0,0 0-80 0 0,1 1 0 0 0,-2 1 72-542-5,1 8-72 542 5,0 12 0-504 3,-1 2 64 504-3,2 12 0 0 0,-1 9-64 0 0,3 3 0-501-1,2 1 64 501 1,2-5-64-1028 6,2-8 64 1028-6,2-4-64 0 0,0-8 0 0 0,1-8 0 0 0,1 6 64 0 0,-1 1-64 0 0,0-2 0 0 0,-1-4 0 0 0,-1-3 0-580-1,-1-5 64 76-1,1-4-64 504 2,-2-3 0 0 0,1-4 64 0 0,0-3-64-514 506,-1-3 0-48-501,-1-2 0 562-5,-1-2 0 0 0,-1-3 0 0 0,0-1 0 0 0,-2 0 0 0 0,0 0 0 0 0,-2-2 0 0 0,0-1 0-633-4,-1-2 0 28 11,-2-2 0 6-16,-1-3-704 81 13,-3-5-808-6-2,-2-11-928 21-6,0-6-14327 503 4</inkml:trace>
  <inkml:trace contextRef="#ctx0" brushRef="#br0" timeOffset="1">997 1085 1376 204326 43657,'0'0'128'0'0,"0"0"-128"0"0,0-1 1032 0 0,0-4 1440 0 0,0-4-392 0 0,-1-1-1352 0 0,-1 0-24 0 0,-1-1 728 0 0,0 1 24 0 0,0 3-728 0 0,1 0-120 0 0,-2 2-16 0 0,2 0-8 0 0,-2 2 488 0 0,1 1-136 0 0,1 1-472 0 0,1 1-137 0 0,-2 1-23 0 0,-1 2-8 0 0,0 4 240 0 0,-2 4-312 0 0,-1 4 0 0 0,-1 7 256 0 0,-2 3-216 0 0,1 2 0 0 0,-1 1 0 0 0,0 1 16 0 0,0 0 0 0 0,2 0 0 0 0,-1 7 224 0 0,0 10-88 0 0,-1 3-208 0 0,2 1-48 0 0,1-1 0 0 0,1-1-8 0 0,2 8 160 0 0,0 13 24 0 0,1 10-48 0 0,2 10-80 0 0,0 8-8 0 0,3-5-112 0 0,2-9 0 0 0,0-8 0 0 0,1-7-88 0 0,1-4 80 0 0,-1-3-80-560-5,3 8 80-483 9,0-1-80 1043-4,2 12 0 0 0,4 7 64-507-5,3 4-64 507 5,2-3-112 0 0,-1-7 24 0 0,1-8 8 0 0,0-5 144 0 0,1 7 120 0 0,1-1-88 0 0,0-2-96-529 6,0 0 0-528-11,1 3 0 552 9,1-2 0 505-4,-1-2 0 0 0,-4-12-88 0 0,-5-11 24 0 0,-4-11 0 0 0,-3-10-112 0 0,-4-8-216 0 0,-3-8 192 0 0,-3-4-1128 0 0,-4-9-544-492-1,-2-11-1352-18 0,0-4-13279 510 1</inkml:trace>
  <inkml:trace contextRef="#ctx0" brushRef="#br0" timeOffset="2">778 1172 2760 194082 46368,'0'0'248'0'0,"0"0"-248"0"0,0 0 0 640-2,-1 2 1416-73 6,-2 3 1936-567-4,-4 2-1640 0 0,0 1-600 0 0,-2 2-120 0 0,-1 1-32 0 0,-2 3 728 521-2,-2 3-1016-521 2,0 1 0 0 0,-3 3 559 0 0,-1 6-143 0 0,-1 3-544 0 0,2 0-128 0 0,0-1-32 0 0,2 0-8 0 0,-1 8 304-6-541,0 2-392 6 541,0 15 504 0 0,1 5-600 518-505,2 0 0 392-52,3-4 0-910 557,2-3-16 0 0,2 7 160 0 0,3 4-168 0 0,1-2-8 0 0,1-4 0 0 0,-1-4 0 0 0,3 9 104 0 0,1 17-80 0 0,3 7-96 0 0,3 2-88 0 0,2-4 80 0 0,1-6-80 0 0,5 4 80 0 0,5 5-80 0 0,1-3 0 0 0,0-10 0 0 0,1 0 64 0 0,-1-3-64 0 0,-2-5 0 0 0,-3-4 0 0 0,-3-4 0 0 0,-1-3 0 0 0,-1-4 0 0 0,0-4 64 0 0,-2-4-64 8 509,0-5 0-8-509,-1-3 0 0 0,-1-6 0 0 0,-1-3 0 0 0,0-3-128 0 0,-2-5-32 0 0,0-6-16 0 0,-2-4 0 0 0,-1-8-1720 0 0,2-11-440 0 0,1-18-1423 0 0,1-2-11553 0 0</inkml:trace>
  <inkml:trace contextRef="#ctx0" brushRef="#br0" timeOffset="3">596 1295 2760 198088 44298,'0'0'120'0'0,"-1"-2"32"0"0,-1-3-152 0 0,-1-1 0 0 0,-1-1 0 0 0,-1 1 1472 0 0,1-1 272 0 0,-1 3 48 0 0,-1 2 16 0 0,-2 1-800 0 0,0 1-160 0 0,0 3-32 0 0,-2 1-8 0 0,1 2-200 0 0,-3 5 504 0 0,-2 3-560 0 0,1 1-48 0 0,-1 2-17 0 0,1 1 1 0 0,0 2 0 0 0,0 1-40 0 0,2 0 0 0 0,-2 10 776 0 0,0 5-904 0 0,1 3 0 0 0,1 2 0 0 0,1 2-64 0 0,0 3-24 0 0,1 4 0 0 0,-1 3 0 0 0,1 2-40 0 0,0 0-16 0 0,1 0 0 0 0,-1 7 168 0 0,1 12-8 0 0,1 17 0 0 0,1 5-168 0 0,2 0 0 0 0,2-6 0 0 0,0-7-64 0 0,3-7-8 0 0,1-6-8 0 0,6 3 0 0 0,2-2-88 0 0,1-5 72 0 0,0 5-72 0 0,3 10 0 0 0,1 2 0 0 0,0-3 0 0 0,0-7 0-522-6,0-6 0-22 11,2-7 0-80-12,0-8 0-42 13,0-7 0 90-6,1-6 0 576 0,-1-5 0 0 0,1-4 0 0 0,-1-3-80 0 0,-1-3 8 0 0,-1-3 0 0 0,-2-4-832 0 0,-3-4 584 0 0,-2-7-1648 0 0,0-7 1280 0 0,-2-16-3487 0 0,-2-12-2305 0 0,-2-1-2872 0 0</inkml:trace>
  <inkml:trace contextRef="#ctx0" brushRef="#br0" timeOffset="81.839">232 1238 7024 197404 42989,'0'0'312'0'0,"0"0"64"0"0,0 0-304 0 0,-1 2-72 0 0,-1 4 0 0 0,-1 4 0 0 0,-5 11 2528 0 0,-2 6-1616 0 0,-1 1-32 0 0,-2 1 864 0 0,-1-1-872 0 0,0-1-232 0 0,2-2-40 0 0,-1-1-17 0 0,-2 1 417 0 0,0 0-616 0 0,1 0 0 0 0,2 1-8 0 0,1-2-168 0 0,-1 6 136 0 0,2 2-176 0 0,1 2 32 0 0,1 1 8 0 0,1 0 0 0 0,1 5 136 0 0,1 2-216 0 0,2-1-8 0 0,1 0 0 0 0,1-3 0 0 0,1 0 0 0 0,1-2 0 0 0,2 4 72 0 0,3 2-128 0 0,1 0 0 0 0,3 8 0 0 0,1 5-64 0 0,2 3 0 0 0,-1 0 0 0 0,1 1 0 0 0,1 1 0 0 0,0-1 0 0 0,0-2 0 0 0,0-3 424 0 0,5 5 584 0 0,6 8-600 0 0,7 8-888 0 0,2 3 224 0 0,0-3 256 0 0,-3-3 0-560-4,-2-2 0-228 1,-1-4 0 192 7,-1-2 0 596-4,4 7 0-1667-3,0-1 0 1087 3,0-3-96 580 0,2 2-80 0 0,4 4-1296 0 0,1 2-1872 4 509,-2-6 1633-4-509,-7-14-14073 0 0</inkml:trace>
  <inkml:trace contextRef="#ctx0" brushRef="#br0" timeOffset="3010.216">1411 2181 7080 187583 50583,'0'0'312'0'0,"-1"-1"72"0"0,-4-6-312-557 5,-3-3-72 557-5,-1-2 696 0 0,-1 0 120 0 0,0 1 24-583-6,-2 0 584 79 13,2 1-896 504-7,2 3-16-506-6,3 3 0 506 6,0 2-32 0 0,1 3-16 0 0,-1 3 752-503 3,1 4-968 503-3,-1 2-8 0 0,1 3 216 0 0,0 5-41 0 0,0 3-207 0 0,0 2 8 0 0,2 4 216 0 0,1 6-32 0 0,2 3-224 0 0,0 0 0 0 0,3 4 152 0 0,2 2-184 0 0,2-1 0 0 0,0 1 0 0 0,0-2-48 0 0,2-1 0 0 0,2 1-8 0 0,0-1 0-490 0,2 1-88-13-2,1 0 80 503 2,2 0-80-500 5,1 2 80 500-5,2 0-80 0 0,0 2 0 0 0,0 0 0 0 0,3 0 0 0 0,0 2 0 0 0,2 1 0 0 0,0 0-80 0 0,2-1 80 0 0,-1-2 0 0 0,6 5 0 0 0,7 4 0-563-4,3 0 0-46 7,-1-6 0-37-2,-2-5 0 86-5,-2-7 0 560 4,-2-6 0-548 4,-5-4 0 13-3,-3-2 0 535-1,-2-3-160 0 0,0 1-112 0 0,-1-2 136 0 0,-1 2-584-511-1,-4-3 472 511 1,-4-3-1088-1546-8,-4-4 873 1546 8,-4-4-1897 0 0,-3-4-11456 0 0</inkml:trace>
  <inkml:trace contextRef="#ctx0" brushRef="#br0" timeOffset="3588.087">1464 2842 920 174806 49314,'0'0'80'0'0,"0"0"-80"0"0,0 0 0 0 0,0 0 1560 0 0,0 0 2208 0 0,0 0-1848 0 0,-2 0 208 0 0,0 0-936 0 0,-4 3-24 0 0,1 3-584 0 0,0 3-80 0 0,1 3-24 0 0,3 2 0 0 0,3 7 416 0 0,4 4-488 0 0,2 1-9 552 3,2 1 1-2-2,1-1-72-35-4,2 1-8-515 3,1 1-8-5 510,5 8 192 1134-511,1 4-328-1129 1,1 2-8 0 0,2 0 0 0 0,0 0-168 0 0,4 7 72 0 0,5 8 0 0 0,5 6-72 0 0,4 2 72 0 0,-1-5-72 0 0,-5-8 0 0 0,-4-9 0 0 0,0-5-1000 0 0,-2-2-9639 0 0,-6-8 3199 0 0</inkml:trace>
  <inkml:trace contextRef="#ctx0" brushRef="#br0" timeOffset="4901.459">1876 11 1376 183668 46701,'0'0'128'0'0,"0"0"-128"0"0,0 0 0 0 0,0 0 1096 0 0,-2-1 1536 0 0,0 0-1288 0 0,-2-1 968 0 0,-1 0-984 588 0,2 0-736-588 0,0 1-8 0 0,-1 0 352 0 0,1 1-624 0 0,0 0-16 0 0,1 0 0 0 0,1 0 176 0 0,1 0 544 0 0,-1 0-408 0 0,1 0-608 0 0,1 0 0 0 0,-1 0 0 0 0,0 0 328 0 0,0 0 48 0 0,3 1 8 0 0,4 2 183 0 0,4 4-423 0 0,0-1-8 0 0,3 2 128 0 0,2-1-144 0 0,1 1 0 0 0,5 0 88 0 0,5 2-48 0 0,0 1-80 0 0,-2-1-80 0 0,-2 2 80 0 0,-1-2-80 0 0,-2 0 80 0 0,0 1-8 0 0,1 0 0 0 0,9 6 240 0 0,7 6 72 0 0,0 3-192 0 0,-2 0-192 0 0,-1 3-152 0 0,1 3 80 0 0,0 6 136 0 0,-2 1 24 0 0,-3-1-88 0 0,-1 0 72 0 0,-3-2-72 0 0,5 7 64 0 0,-1 0-64 0 0,-1-2 0 0 0,1 0 0 0 0,-1 0 0 0 0,-1-4 0 0 0,1 3 0 0 0,0-2 64 0 0,-2-3-64 0 0,0 3 0 0 0,3 4 0 0 0,-1 1 0 0 0,-1-1 0-501 8,1 2 0 501-8,3 6 0 0 0,3 4 64-503-5,1 4-64 3 8,1 2 0 500-3,-5-5 0 0 0,-5-7 0 0 0,-6-2 0 0 0,-2 2 0 0 0,-4-4 0 0 0,-4-5 0 0 0,-4-3 0 0 0,-2-5 0 0 0,-1-2 0 0 0,0-2 0 0 0,-1 6 64 0 0,-2 8-64-521 1,-1 3 0 521-1,-1 0 0-511-1,0-3 64 1-2,0-1-64 1 7,0 3 0 509-4,-2 2 0 0 0,1-1 0 0 0,-1 4 0 0 0,1 1 0 0 0,-1-2 0 0 0,0-2 0 0 0,1-1 0 0 0,0-1 0 0 0,0-1 0 0 0,0 0-104 0 0,-2-1 24 0 0,1 0 8 0 0,-2-1 72 0 0,-1 1 128 0 0,-1-1-32 0 0,-2 1-8-584 2,-1 0-88-64-3,-1 1 0 107-3,-3 0 0 541 4,-2-2 0-510 4,-3-1 64-21-12,-2-1-64 531 8,-4-1 0 0 0,-2 0 64 0 0,-1-1-64 0 0,-8 5 64 0 0,-11 7-104 1 560,-3 0-104-1-560,-1-3-8 0 0,4-4 0 0 0,3-6 248 0 0,3-5 40 0 0,3-4 16 0 0,3-4 0 0 0,2-2-152 0 0,2-4 0 0 0,0-1-64 0 0,2-2 64 0 0,0-2-80-498-1,3-1 80 498 1,0-1-80 0 0,2-2 80 0 0,-2-3-568 0 0,1-3 384 0 0,0-6-3007 0 0,2-7-3273 0 0,6-1-2928 0 0</inkml:trace>
  <inkml:trace contextRef="#ctx0" brushRef="#br0" timeOffset="5594.886">1961 197 3680 175082 50937,'0'0'328'1451'2,"-3"-3"-264"1018"-5,-4-4 1208-461 3,-4-4 1792-1465 4,-2-2-1496-543-4,0 1-584 0 0,1 1-120 0 0,1 0-16 0 0,3 3-8 0 0,2 0-344 0 0,1 1 344 0 0,2 2-432 0 0,0-1 136 7-530,2 1 615-7 530,1 1-575 0 0,1 1-336 0 0,4 1-72 654-1,3 1-16 157-7,2 2 0-811 8,5 1-88 0 0,1 3-72 0 0,1 2 96 0 0,7 5 8 0 0,3 5-32 0 0,3 3-8 0 0,7 6 112 0 0,7 8 64 0 0,2 4-120 0 0,-2 0 16 0 0,1 2 152 0 0,-3 1-144 0 0,-6-3 48 0 0,-4-1 0 0 0,-5-2 8 0 0,-3-1 0 0 0,-2 1-32 0 0,-1 6 152 0 0,0 1-160 0 0,-1 1-64 0 0,0 7 72 0 0,0 4-88 0 0,-2 1-80 0 0,-1-1 0 0 0,-2-1 0 0 0,-1-1 0 0 0,1-2 0 0 0,-1 0 0 0 0,1-1 112 0 0,-2-1-32 0 0,-1-1-80 0 0,-2-1 0 0 0,1 1 72 0 0,-1 2-72 0 0,0 2 0 0 0,1 10 0 0 0,4 18 64 0 0,-1 6-64 0 0,0-2 0-509 2,4 0 64 13-2,2 1-64 496 0,0-7 0 0 0,-3-9 0 0 0,-4-11 0 0 0,-4-8 0 0 0,-1-1 0 0 0,-3 2 0 0 0,-3-1 0 0 0,-3-2 0 0 0,-6 2 0 0 0,-6-1 0 0 0,-4-2 0-521-3,-4-4-64 521 3,-2-1 64 0 0,-3 0 0-495 6,-1-2 0 495-6,0-1 0-544 3,-3 0 0-37-2,-1 2 0 581-1,0-1 0 0 0,-3 2 0 0 0,0 0 0-508-2,-9 7-72 508 2,-4 2 72 0 0,-1 0-80 0 0,0-3 80 0 0,2-4-96 0 0,1-5 96 0 0,3-4-104 0 0,4-4 40 0 0,4-4 64 0 0,6-4-64 0 0,4-3 64 0 0,0-2-160 0 0,2-2 64 0 0,2-5 0 0 0,2-4 0 0 0,0-9-1000-762-6,2-7 704 762 6,0-17-3887 0 0,3-9-1961 0 0,3 2-2728 0 0</inkml:trace>
  <inkml:trace contextRef="#ctx0" brushRef="#br0" timeOffset="6187.586">1656 292 8752 182915 47053,'0'0'384'0'0,"0"0"88"0"0,0-2-376 0 0,-2-3-96 0 0,-2-2 0 0 0,1-1 0 0 0,0 2 640 0 0,1 1 896 0 0,1 2-752 0 0,0 1-80 0 0,1 1-8 0 0,0 1-8 0 0,0 0 0 0 0,0 0-392 0 0,3 5 128 0 0,2 3-224 0 0,8 8 375 0 0,4 5-383 0 0,1 1 0 853 5,6 3 176-853-5,3 3-184 0 0,2-1 0 0 0,2 0 0 0 0,2 0 0 0 0,1 1 0 0 0,-2 0 0 0 0,-1 2 0 0 0,-4 1 0 0 0,-1 0 0 0 0,0 3-8 0 0,4 7 176 0 0,1 2-176 0 0,5 15 264 0 0,5 12-168 2 590,3 8-16-1-80,-3 0-128-1-510,-3-3-24 0 0,-6-5-8 0 0,-4-6 0 0 0,-6-5 0 0 0,-2-3-16 0 0,-1 6 64 0 0,2 11-72 0 0,-1 13 8 0 0,-1 1 0 0 0,-2-5-80 0 0,-1 1 72-1290-5,-3-5-72 719 6,-2-8 0 571-1,-2-8 64 0 0,-3-6-64 0 0,-2 3 0 0 0,-2 1 64 0 0,-2-2-64 0 0,-2 8 0 0 0,-4 10 64 0 0,-1 1-64 0 0,-2-4 0-581-2,-2 3 0-513 10,-5 5 64 1094-8,-5-4-64 0 0,-2-8 0 0 0,-6-1 0 0 0,-7-1 64 0 0,-3-5-64 0 0,0-10 0 0 0,2-7 0 0 0,2-9 0 0 0,3-6 0 0 0,2-7-176 0 0,2-4 8 0 0,3-4 0 0 0,4-5 0 0 0,-3-4-848 0 0,0-5 664 0 0,-4-11-1736 0 0,2-9 1360 0 0,0-15-4471 0 0,5-3-7121 0 0</inkml:trace>
  <inkml:trace contextRef="#ctx0" brushRef="#br0" timeOffset="7323.421">1678 630 2304 176868 49838,'0'0'200'0'0,"-1"-3"-200"1271"-3,0-4 0-1271 3,-1-4 1784 0 0,-1-3 312 0 0,0-2 64 546-2,-1-2 928-37 6,0 0-2424-509-4,-1 1-56 0 0,1 2 0 0 0,0 3-32 0 0,1 4 0 0 0,0 3 0 0 0,2 2 352 1031 3,1 3-345-1031-3,-1 0-295 0 0,3 3-32 510-2,1 6 248 1233-2,3 7 0-1160 10,2 4-240-583-6,1 2 0 0 0,1 1 0 0 0,2 1-32 0 0,1 1-8 0 0,1 2 0 0 0,4 12 184 0 0,7 16-72 0 0,10 21-40 0 0,4 5-184 0 0,0 0 0 0 0,3 6 96 0 0,0-2-120 0 0,-4-6 0 0 0,-5-6 0 0 0,-2-3-88 0 0,0 9 80 0 0,0 3 0 0 0,-2 1-80 0 0,-3-5 80 0 0,-2-2-80 0 0,-2-7 80-524-8,-4-2-80-34 9,1 3 64 558-1,-3 0 0 0 0,-3-3-64 0 0,-4-5 64 0 0,-3-2-64 0 0,-3-3 64 0 0,-3 1-64 0 0,-2 10 0 0 0,-3 4 64-510-2,-2-1-64-106 8,-1-4 0 24-3,-2-2 0 35-3,-1-5 0 557 0,-2-5 0 0 0,-2-4-72 0 0,-1-3 72 0 0,-2-4 0 0 0,-1-4-136 0 0,-1-3 24 0 0,1-4 8 0 0,-2 2-216 0 0,-4 2-152 0 0,-1-5 232-557-3,-6-7-1296-190 5,-1-11 1000 747-2,-2-18-1887-510-8,2-16-4137 510 8,7-4-3080 0 0</inkml:trace>
  <inkml:trace contextRef="#ctx0" brushRef="#br0" timeOffset="7889.388">1779 1111 920 179325 49808,'-2'-4'80'0'0,"0"-4"-80"0"0,0 0 0 0 0,0 1 1696 0 0,1 1 2400 0 0,0 2-2008 0 0,1 1-1000 0 0,0 2-192 0 0,-2 3 1400 0 0,0 4-1744 0 0,-1 3-8 0 0,0 4 0 0 0,0 3-152 0 0,2 4-32 0 0,-2 3-8 0 0,1 4 0 0 0,2 5-33 0 0,1 3 1 0 0,2 2-8 0 0,1 2 0 0 0,1 1-88 0 0,1 0-8 0 0,1 2-8 0 0,0 2 0 0 0,1 2-104 0 0,0 4-16 0 0,0 2-8 0 0,2 11 0 0 0,0 5-80 0 0,0 1 72 0 0,-1-1-72 0 0,-2-2 64 0 0,0-2-64 0 0,-2-2 64 0 0,-2 0-64 0 0,-1 2 128 0 0,-2 14 120 0 0,-4 6-128 0 0,0 0-120 0 0,-4 8-216 0 0,-4 8 128 0 0,-2-4 88 0 0,-1-10 0 0 0,0-15 64 0 0,1-12 0 0 0,-1-8 64 0 0,-3-3-320 0 0,1-9-128 0 0,0-8-16 0 0,2-10 0 0 0,-2-12-1527-639-5,-1-18-7785 639 5,3-6 2968 0 0</inkml:trace>
  <inkml:trace contextRef="#ctx0" brushRef="#br0" timeOffset="7890.388">1725 1572 6848 181362 49812,'0'0'304'0'0,"0"0"64"0"0,0 0-296 0 0,0 0-72 0 0,0 0 0 0 0,1 2 720 0 0,3 5 1000 0 0,0 10-160 0 0,2 12-280 0 0,0 7-648 0 0,-1 8-56 0 0,-1 5-16 0 0,-1 2 0 0 0,-2 12 504 0 0,-1 6-577 0 0,-1 1 1 0 0,-4 8 352 0 0,-3 2-520 0 0,-1-1-8 0 0,0-1 0 0 0,1-3-144 0 0,-1 9 112 0 0,-1-1-144-592 5,0-3-40-60-2,-1 3 88-828-11,0-4-96 971 11,1-9-88 509-3,2-9 0 0 0,1-10-96 0 0,2-5-1368-664-3,1-7-232 664 3,1-11-15023 0 0</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0:23.874"/>
    </inkml:context>
    <inkml:brush xml:id="br0">
      <inkml:brushProperty name="width" value="0.35" units="cm"/>
      <inkml:brushProperty name="height" value="2.1" units="cm"/>
      <inkml:brushProperty name="color" value="#FFE18B"/>
      <inkml:brushProperty name="inkEffects" value="pencil"/>
    </inkml:brush>
  </inkml:definitions>
  <inkml:trace contextRef="#ctx0" brushRef="#br0">253 88 456 212173 46003,'-1'-1'0'0'0,"0"0"0"0"0,-1 0 0 0 0,1-1 872 0 0,-2 0 136 0 0,-1 0 24 0 0,1 0 8 0 0,0 0-240 0 0,-1 1-56 0 0,-1 0-8 0 0,1 0 0 0 0,1 1 32 0 0,0 0 0 0 0,-2 0 0 0 0,0 1 0 0 0,0 1-160 0 0,2-1-24 0 0,-1 0-8-7-507,2 0 0 7 507,0-1 824 0 0,1 1-944 0 0,1-1-120 0 0,0 0-24 0 0,0 0-8 0 0,0 0 0 0 0,0-1 191 0 0,0 1-343 0 0,0 0-56 0 0,1 0-16 0 0,-1 0 0 0 0,0 0 64 0 0,0 0-144 0 0,1 0 96 0 0,1 0-32 0 0,3 2-64 0 0,3 1 80 0 0,3 2-80 0 0,1 0 80 0 0,3 3-80 0 0,3 3 0 0 0,-1 0 168 0 0,-1-1-8 0 0,-1 1 0 0 0,-2-1 0 0 0,-1 0-160 0 0,-1 0-128 0 0,0 1 16 0 0,1-1 8 0 0,0 1 104 0-569,0 1 0 0 569,1 1 0 0 0,0 1 0 0 0,0 0 0 0 0,0 1 72 0 0,-1-1-72 0 0,1 0 0 0 0,-1 0 0 0 0,0 1 0 0 0,3 1 0 0 0,-1 0 0 0 0,0 0 0 0 0,-2-1 0 0 0,-1-1 64 0 0,-1 0-64 0 0,-1-1 0 0 0,1 2 0 0 0,1 1 0 0 0,0 0 0 0 0,0 2 0 0 0,0-1 0 0 0,0 2 0 0 0,0-1 0 0 0,0-1 0 0 0,0 1 0 0 0,-2-1 0 0 0,1 1 0 0 0,-2 0 0 0 0,1 0 0 0 0,-1 0 64 0 0,-1 1-64 0 0,0 0 0 0 0,-1 0 0 0 0,-1 1 64 0 0,1 5 16 0 0,-2 3-80 0 0,0-1 80 0 0,-1 2 24 0 0,0-1-24 0 0,-2-2-8 0 0,0-1 0 0 0,-1-2-72 0 0,0-2 96 0 0,1 0-96 0 0,0-2 96 0 0,1 0-96 0 0,0-1 80 0 0,0-1-80 0 0,0 1 80 0 0,-1 0-16 0 0,1-1 0 0 0,-1 0 0 0 0,1 0 0 0 0,0-1-64 0 0,0 3 96 0 0,1 3 0 0 0,0 2 0 0 0,-2 0-96 0 0,-1 0 96 0 0,0-1-16 0 0,0-1 0 0 0,-1 0 0-494 2,1-1 0 494-2,-1 0-80-524-2,1 4 96 524 2,0 2 0 0 0,0 0-96 0 0,0-1 80 0 0,0-2-80-543 1,0 1 80 543-1,0-1-80 0 0,0 0 72 0 0,-1 1-176 0 0,-1-1-56 0 0,0-1-16 0 0,-1-2 0 0 0,0-1 304 0 0,0-2 56 0 0,-1 0 8 0 0,1 3 8-511-2,1 3-200 511 2,-1-2 0 0 0,-1 3 0-1059-3,-1 1 0 1059 3,-1-3 64 0 0,1-1-64 0 0,1-2 0 0 0,-1-1 0 0 0,1-2 0 0 0,-1-1 64 0 0,-1 0-64 0 0,-2 4 0-498 6,1 3 0 498-6,-2 7 0 0 0,1 1 0 0 0,1 0 0 0 0,-2 0 0 0 0,-2 2 0 0 0,1-3 0 0 0,0-2 0 0 0,0-3 0-535-7,1-3 64 535 7,-3 1-64-547 2,1-1 0 547-2,0-3 0 0 0,1-3 0 0 0,1-2 0 0 0,2-1 0 0 0,0-2 64 0 0,1-1-64 0 0,-1 0 0 0 0,1-1 0 0 0,0-2 0 0 0,1 1 0 0 0,0-1 72 0 0,1-2-72 0 0,2-1 144 0 0,1 0-144 0 0,0-1 64 0 0,1-1-64 0 0,0-1 0 0 0,0 0 72 0 0,0-1-72 0 0,2 1 72-503-1,6 1-72 503 1,8-2 0 0 0,4-3 64 0 0,0-2-64 0 0,1-2 0 0 0,-1-3 64 0 0,1-4-64 0 0,1-3 0 0 0,-1-1 0 0 0,1-4 64 0 0,-1-2-64 0 0,-1-1 0 0 0,-2 0 64 0 0,0-1-64 0 0,-2-1 0 0 0,-1-1 0 0 0,2-5 88 0 0,1-10 40 0 0,0-9 32 0 0,-1-2-56 0 0,0 3 0 0 0,0-3 96 0 0,0-3-8 0 0,-2 1-96 0 0,-2 4-32 0 0,-2 5-64 0 0,-3 5 88 0 0,-2-2-8 0 0,-1-7-16 0 0,-1 0-64 0 0,0-9 64 0 0,1 0 0 0 0,-2 3-64 0 0,-1 5 0 0 0,-1 6 0 0 0,-1-3 0 0 0,-2-4 0 0 0,-1 2 0 0 0,-2 4 0 0 0,0-1 0 0 0,-2-1 0 0 0,-1-3 64 0 0,0 2-64 0 0,-1 4 0 0 0,1 7 0 0 0,0 4 0 0 0,-1-2 0 0 0,-2-4 0 0 0,0 0 0 0 0,-1 2 0 0 0,1 5 0 0 0,0 4 0 493 4,0 3 0-493-4,0 4 0 0 0,-1 2 0 0 0,-1 1 0 0 0,-2 1 0 0 0,0 2 0 0 0,-1 0 0 0 0,-1 1 0 0 0,-4-2 0 0 0,-5-3 0 0 0,-1 0 0 0 0,2 0 0 0 0,3 1 0 0 0,3 1-72 0 0,1 1 72 0 0,1 0 0 0 0,1 2 0 0 0,2 0 0 0 0,-1-2 0 0 0,-1-3 0 0 0,-2-1 0 0 0,1 0 0 0 0,1 3 0 0 0,3 1 0 0 0,2 3 0 0 0,2 2 0 0 0,0 2 0 0 0,2 1 0 0 0,0 1 0 0 0,1 2-64 0 0,0 1 64 0 0,0 2 0 0 0,2 0 0 0 0,1 2-64 0 0,2 1 64 0 0,-2 2 0 0 0,1 0-72 0 0,0 1 72 0 0,1 2-72 0 0,0 1 72 0 0,1 4 0 0 0,2 0 0 0 0,1 2 0 0 0,2-1 0 0 0,4 2 0 0 0,3 1 0 0 0,1-1 0 0 0,2 2 0 0 0,4 2 0 0 0,3 1-64 0 0,3 3-32 0 0,-1 1 96 0 0,0-1 0 0 0,0 3 0 0 0,-1 1 0 0 0,-2-1 0 0 0,-1 1 0 0 0,-1-2 0 0 0,0 0 0 0 0,-2 0 64 0 0,2 1-64 0 0,-1 1 0 0 0,0 1 0 0 0,-2 0-64 0 0,0-2 64 0 0,0 4 64 0 0,-1 0-64 0 0,-1 0 0 0 0,1 3 0 0 0,-2-1-64 0 0,-1-1 64 0 0,-1-2 0 0 0,-3-2 0 0 0,0-2 0 0 0,0-1 0 0 0,-1 3 0 0 0,2 5 0 0 0,1 0 0 0 0,-1-2 0 616-1,1 2 0-616 1,0 3 64 0 0,1 4-64 0 0,-2 4 0 0 0,0-1 64 0 0,-1-1-64 0 0,-2-1 0 0 0,0-1 0 0 0,0 2-560 0 0,0-1 352 0 0,0-3 312 0 0,-1-4 64 0 0,0 7 88 0 0,1 1-424 0 0,0-3-16 0 0,0 3 0 0 0,-3-4 184 0 0,0-3 0 0 0,-1-3 0 0 0,0-5 128 0 0,1 3 272 0 0,-1 1-320 0 0,-2 3-472 0 0,-1-1 184 0 0,-1-1 336 0 0,-1-3 64 0 0,0-2 8 0 0,0-1 8 0 0,-3 6-728 0 0,-1 4 312 0 0,-2-1 208 0 0,1-1 0 0 0,1-3 0 0 0,-1-1 0 0 0,-1-1 128 0 0,0 4 288 0 0,-2 4-200 0 0,0 0-216 0 0,1-3 0 0 0,2-2 0 0 0,-3 4-544 0 0,1 0 328 0 0,-1-3 360 0 0,-2 0 296 0 0,-1-1-208 0 0,0-4-232 0 0,-1-3 0 0 0,0-2 0 0 0,-1-2 0 0 0,-1-1 0 0 0,0-2 0 0 0,-1-1 0 0 0,-2 0 0 0 0,-1 0 0 0 0,-5 2 0 0 0,-3 0 0 0 0,-6 5 0 0 0,-5 2-176 0 0,-4 3-248 0 0,-2 3 208 0 0,4-1 216 0 0,5-3 0 0 0,6-3 0 0 0,6-3 152 0 0,5-3 72 0 0,4-2 8 0 0,3-3 8 0 0,0 0-840 0 0,1-2 360 0 0,3-2 240 0 0,3-3 0 0 0,3-2 0 0 0,1-2 96 0 0,2-2 72 0 0,2-2 16 0 0,4-3-112 0 0,1-1-240 0 0,1-1-16 0 0,2 0 0 0 0,1 0 184 0 0,1 0 0 0 0,1 0 0 0 0,2 1 0 0 0,1-1 96 0 0,5-1 224 0 0,1-1-152 0 0,2 0-168 0 0,0-1 0 0 0,1 1 0 0 0,0 0 0 0 0,-1-1 0 0 0,3-2 0 0 0,5-4 0 0 0,0-2 0 0 0,-2 0 0 0 0,0 0 0 0 0,-1 0-136 0 0,2-5-168 0 0,4-5 224 0 0,1-5 328 0 0,-2-2-120 0 0,-4 2-208 0 0,-4-3-168 0 0,0-5 248 0 0,-2-8 376 0 0,-1-6-184 0 0,-3-1-192 0 0,-3 6-80 0 0,-5 5 80 0 0,-2 5 0 0 0,-3 5 0 0 0,-1 3 96 0 0,-1 2-24 0 0,-1 0-72 0 0,1-6 0 0 0,1-8 0 0 0,2-9 0 0 0,1-4 0 0 0,3-3 0 0 0,0 5 0 0 0,-1 6-120 0 0,0 8-40 0 0,-2 6 0 0 0,2 0-216 0 0,0-3-56 0 0,-1 2 216 0 0,-2-7-120 0 0,-3 0 232 0 0,-1 4 40 0 0,-2 5 64 0 0,-3 2-104 0 0,-3 5 40 0 0,-2 2 64 0 0,-2-1 0 0 0,-1-1 64 0 0,-2 1-64 0 0,-1 0-120 0 0,-2 3 32 0 0,-2-2 8 0 0,-1 2 80 0 0,0 2 0 0 0,-2 0 0 0 0,-3-1 0 0 0,0 0 0 0 0,2 2 0 0 0,3 2-64 0 0,1 1 64 0 0,3 2 0 0 0,1 3 0 0 0,-1-1 0 508-6,0 0 0-508 6,0 1 0 0 0,1 0 0 0 0,1 2 0 0 0,0 0 0 0 0,2 1 0 0 0,0 0 0 0 0,1 2 0 0 0,1 1 64 0 0,-1 0-64 0 0,0 2-64 0 0,0 2 64 0 0,2 1 0 0 0,2 2 0 0 0,0 2 0 0 0,2-1 0 0 0,-2 3 0 0 0,1 1 0 0 0,1-1 0 0 0,-1 4-64 0 0,0 1 64 0 0,2 2 0 0 0,0 0 0 0 0,2 2 0 0 0,0-2 0 0 0,0-1 0 0 0,1 0 0 0 0,3 2 0 0 0,2 3 0 0 0,1 3 0 0 0,1 1 0 0 0,1 2 0 0 0,0-1 0 0 0,0 2 0 0 0,0 0 0 0 0,0 1 0 0 0,0 0 0 0 0,-1 1 0 507 2,1 1 64-507-2,-1-1-64 0 0,0-1 72 0 0,0 0-72 0 0,0-1 80 0 0,-1 0-80 0 0,-1-1 96 0 0,1-1-96 0 0,-1 0 96 0 0,0 0-24 0 0,1-1 0 0 0,-1 1 0 0 0,-1-1 0 0 0,3 5 168 0 0,1 3-160 0 0,3 7 160 0 0,0 1-160 0 0,0-3-80 0 0,-1-2 0 0 0,-2-3 0 0 0,-1-3 0 0 0,0-1 128 0 0,-2 2 328 0 0,0 5-216 0 0,0 0-240 0 0,-2 5 64 0 0,-1-1-64 0 0,-2-2 0 0 0,1 2 88 0 0,-2-2-88 0 0,-1-2 96 0 0,2 2-96 0 0,0 0 0 0 0,1-3 0 0 0,-1 2 64 0 0,1 0-64 0 0,-2-2 0 0 0,0-1 0 0 0,-2-3 0 0 0,1-1 0 0 0,0-3 0 0 0,-2 2 64 0 0,1 3-64 0 0,-3 4 64 0 0,-2 3-64 0 0,-1 3 0 0 0,-1 1 0 0 0,0-5 64 0 0,0 1-64 0 0,0 2 64 0 0,0-3-64 0 0,3-2 0 0 0,2-3 0 0 0,1-3 64 0 0,1 2 144 0 0,0-3 16 0 0,-2-2 0 0 0,-1-1 0 0 0,0 5-768 0 0,2 0 328 0 0,-1-1 216 0 0,0 1 0 0 0,-2 3 0 0 0,-2 2 0 0 0,0 0 0 0 0,-1-3 0 0 0,0-1 0 0 0,1-3 0 0 0,0-2 64 0 0,1-1-64 0 0,-1-1 0 0 0,0-2 0 0 0,0-1 0 0 0,-1 1 0 0 0,1-1 0 0 0,-2 1 0 0 0,-2 1 0 0 0,-1 2 0 0 0,0 0 64 0 0,1-2-64 0 0,-2 0 0 0 0,0-2 0 0 0,1 0 0 0 0,-1 0 0 0 0,0 0 0 0 0,1 0 0 0 0,-1 1 0 0 0,0-1 0 0 0,1-2 0 0 0,0 0 0 0 0,0-1 0-529 4,-2 0 0 529-4,0 0 0 0 0,1-1 0 0 0,-2 0 0 0 0,-1 2 0 0 0,0-2 0 0 0,-2 0 64 0 0,-2 0-64 0 0,1-1 0-516-2,-1 1 64 516 2,-1 3-64 0 0,-1 3 0 0 0,-2 3 0 0 0,1 0 0 0 0,2-1 80 0 0,-1-1 208 0 0,2-1-136 0 0,2-2-152 0 0,-1 0 0 0 0,3 1 0 0 0,0 0-96 0 0,0 0-192 0 0,-1-1 232 0 0,-1-1 192 0 0,-2 2 168 0 0,0 0-304 0 0,2-1 0 0 0,1-2 0 0 0,2-1-96 0 0,1-2-40 0 0,1-2-16 0 0,1-1 0 0 0,-1 1 152 0 0,2-2 0 0 0,0-1 0 0 0,0 0 0 0 0,0 0 96 0 0,1 1 40 0 0,-1 1 16 0 0,0 0-96-495-1,-2 2-368 495 1,1 2 152 0 0,-1 0 160 0 0,0 1 0 0 0,2-1 80 0 0,3-2 72 0 0,1-1 8 0 0,2-2-160 0 0,1-1-496 0 0,-2 0-16 0 0,1-1 0 0 0,0-2-1048 0 0,-2-4-1512 0 0,2-1-14111 0 0</inkml:trace>
  <inkml:trace contextRef="#ctx0" brushRef="#br0" timeOffset="834.81">708 2073 6448 210663 44144,'0'0'480'0'0,"0"0"-288"0"0,0 0-192 0 0,-2 1 0 0 0,-1 2 0 0 0,-3 1 736 0 0,0 2 104-515 0,-1 1 24 515 0,0 0 8 0 0,-2 1-176 0 0,1 0-40 0 0,-1 1-8 0 0,-2 2 552-535 3,-1 2-664 535-3,-1 2-8 0 0,-4 3 512 0 0,-2 2-528 0 0,0 1-1 0 0,-4 2 353 0 0,-1 1-544 0 0,2-1 0 0 0,1-2-8 0 0,3-2-152 0 0,3 0-24 0 0,0-2-8 0 0,-2 2 88 0 0,0-2-144 0 0,-4 4 72 0 0,-4 2-144 0 0,1-2 0 0 0,1-2 0 0 0,-3 1 0 0 0,-4 0 264 0 0,-2 0 352 0 0,-2 0-144 0 0,2-2-336 0 0,5-3-8 0 0,6-3 0 0 0,3-2-40 0 0,4-2-16 0 0,2-2 0 0 0,3 0 0 0 0,0-1-72 0 0,1 2 0 0 0,2 0 0 0 0,0 0 0 0 0,2-1 0 0 0,0-1 0 0 0,3-1 0 0 0,0 0 0 0 0,0-1 0 0 0,3 0 0 0 0,1 0 0 0 0,-1-1 0 0 0,0 0 0 0 0,1-1 0 0 0,4-1 0 0 0,2 0 0 0 0,3-1 0 0 0,3 0 0 0 0,1-3 0 0 0,3-1-128 0 0,0-3 32 0 0,4-3 8 0 0,11-8-1096 0 0,5-5 760 0 0,5-9-1096 0 0,0-1 592 0 0,-5 2 145 0 0,-9 8 391 0 0,-10 5 216 0 0,-7 7 48 0 0,-6 5 0 0 0,-4 4 8 0 0,-7 3 120 0 0,-4 2 0 0 0,-2 3 0 0 0,-2 1 0 0 0,-1 2 0 0 0,0 1 0 0 0,-1 2 384 0 0,-1 1 96 0 0,-2 0 15 0 0,0 2 9 0 0,0 1-152 0 0,0 0-24 0 0,0-1-8 0 0,1 1 0 0 0,0-1-96 0 0,0 3 184 0 0,0 1-208 0 0,0 1-392 0 0,1-2 104 0 0,4-4 312 0 0,4-3-136 0 0,3-4-88 0 0,2-3 0 0 0,1-2-96 0 0,1-1 16 0 0,1-1 8 0 0,1-1 72 0 0,4-1 96 0 0,3-3-16 0 0,3-1-8 0 0,7-5-2008 0 0,9-7-8399 0 0,0 1 3175 0 0</inkml:trace>
  <inkml:trace contextRef="#ctx0" brushRef="#br0" timeOffset="1420.095">937 963 3224 205442 43749,'0'0'288'0'0,"0"-2"-288"609"-7,1-3 0-49 9,1-2 896-560-2,-1-1 1160 512 1,0-1-1008-512-1,0-1-160 0 0,-1-1-32 0 0,0 1-8 0 0,1 1 784 533 2,-1 3-96-533-2,0 2-768 0 0,-1 2-64 0 0,1 2 680 0 0,0-1-697 0 0,0 2-271 0 0,0-1-48 0 0,0 1-16 0 0,0 2 0 0 0,-1 6-152 0 0,0 3-32 0 0,0 6-8 0 0,0 9 96 0 0,0 7-168 0 0,0 3-8 0 0,2 4 0 0 0,1 2-80 0 0,1 2-112 0 0,0 4 24 0 0,1 1 8 0 0,-1 1-16 0 0,1 11-96 0 0,-1-5-18575 0 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0:33.130"/>
    </inkml:context>
    <inkml:brush xml:id="br0">
      <inkml:brushProperty name="width" value="0.35" units="cm"/>
      <inkml:brushProperty name="height" value="2.1" units="cm"/>
      <inkml:brushProperty name="color" value="#FFE18B"/>
      <inkml:brushProperty name="inkEffects" value="pencil"/>
    </inkml:brush>
  </inkml:definitions>
  <inkml:trace contextRef="#ctx0" brushRef="#br0">573 446 1840 193088 46157,'0'0'160'1399'-1,"0"0"-160"988"-3,0 0 0-1370 5,0 0 1544-91 6,0 0 2152 721-9,-3 0-768-297 2,-4 2-2056-550-2,-2 1-32 144 2,-1-1-8-302 0,-2 1-176-642 0,0-2-40 0 0,-2 1-8 0 0,-1-3 536 0 0,0-3-632 0 0,-1-1-1 0 0,0-3 1 0 0,0 0 0 0 0,0-2-8 0 0,1-2 0 0 0,0-2 0 0 0,-2-1-152 0 0,1-2-32 0 0,-1 0-8 0 0,1-1 0 0 0,-7-8 664 0 0,-2-4-648 519 3,-1 0-152 177-5,-1-1 104 628 2,-4 0-80-809 0,0 1-200-515 0,4 6 72 0 0,3 5-72 0 0,4 5 64 0 0,3 3-64 0 0,4 4 0 0 0,2 2 0 0 0,3 1 0 0 0,2 1 0 0 0,2 2 0 0 0,2 0 0 0 0,1 1 0 3-536,1 0 0-3 536,2 2 0 0 0,3 3 0 0 0,2 2 0 0 0,5 2 0 0 0,1 4 0 0 0,2 1 0 0 0,3 2 0 0 0,7 6-64 0 0,3 4 64 531 3,0 3 0 1-3,0 2 0-532 0,-1 1 0 0 0,4 7 0 0 0,2 3 0 0 0,-1 0 0 0 0,-2-2 0 0 0,-3-2 0 0 0,1-1 0 0 0,-3-3 0 0 0,-3-5 0 0 0,-4-5 0 0 0,-4-5 0 0 0,-4-5 0 0 0,-4-6 0 0 0,-3-4 0 0 0,-2-2 0 0 0,-1-2 0 0 0,-1-3 88 0 0,-1-2-88 0 0,-2-3 96 0 0,-1-5-96 0 0,-2-2 192 0 0,-3-5-24 0 0,0-4 0 0 0,-2-3 0 0 0,-2-3-168 0 0,-4-10-152 0 0,-3-4 80 0 0,-3-3 72 0 0,0 4 72 0 0,0 3-8 0 0,0 5-64 0 0,-1 3 0 0 0,0 3 0 0 0,-1 2 0 0 0,-6-3 0 0 0,-1 0 0 0 0,1 2 0 0 0,1 3 0 0 0,3 5 80 0 0,4 5-80 0 0,5 6 0 0 0,4 7-192 0 0,5 6 104 0 0,4 4 88 0 0,5 5 0 0 0,3 4-64 0 0,4 1 64 0 0,3 2-72 0-586,3 1 72 0 586,2-2 0 0 0,0-2-88 0 0,1-3 88 0 0,-3-4-64 0 0,-3-4 0 0 0,1-1 0 0 0,1-2 0 0 0,-1-1 0 0 0,-3 0 64 0 0,1-2-168 0 0,-1 1 168 0 0,1-2-176 0 0,0 0 24 0 0,-1 0 8 0 0,-3 0 0 0 0,7 5-1368 0 0,4 4-3991 0 0,2 4-1001 0 0,-3 1-1864 0 0</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0:28.843"/>
    </inkml:context>
    <inkml:brush xml:id="br0">
      <inkml:brushProperty name="width" value="0.35" units="cm"/>
      <inkml:brushProperty name="height" value="2.1" units="cm"/>
      <inkml:brushProperty name="color" value="#FFE18B"/>
      <inkml:brushProperty name="inkEffects" value="pencil"/>
    </inkml:brush>
  </inkml:definitions>
  <inkml:trace contextRef="#ctx0" brushRef="#br0">678 25 8288 208785 45427,'-2'-2'632'-1877'1,"0"0"-400"1371"-5,-5 0-232 506 4,-3 0 0 0 0,-3 1 0 0 0,0-2 864 0 0,2 1 128-537 0,1-1 32-48-1,3 0 504 585 1,3 1-1128 0 0,1 1-16 0 0,2 0 176 0 0,1 0-416 0 0,0 1-8 0 0,2 2 0 0 0,5 2-136-535 4,7 5 440 535-4,3 1 56 0 0,1 2 15 0 0,1 0 1 0 0,6 4-416 0 0,5 4-96 0 0,5 4 0 0 0,2 2 0 0 0,0 1 0 0 0,-4-3 0 0 0,-4-2 272 0 0,-1 0 344 0 0,-2 1-304 0 0,0-1-224 0 0,-1 1-88 0 0,0-1 64 0 0,-1 0-64 0 0,0 0 176 0 0,3 6 160 0 0,1 2-168 0 0,-2 0-168 0 0,1 2 0 0 0,-1 1 0 0 0,-3-2 0 0 0,2 2 0 0 0,2 3 0 0 0,0-1 0 0 0,-1-4 0 0 0,-2-3 0 0 0,-2-2 0 0 0,-2-5 0 0 0,0-1 0 0 0,2 2 0 0 0,1-1 0 0 0,-2 0 0 0 0,0-1 0 0 0,-1 0 448 0 0,-1-1 48 0 0,-2-1 16 0 0,0 0 0 0 0,-1 0-416 0 0,0 3-96 0 0,1 1 0 0 0,-2 2 0 0 0,-1 0 0 0 0,0 0 0 0 0,-1 2 0 0 0,0 0 0 0 0,0 2 0 0 0,0 1 0-533 1,0 0 0 533-1,-1 0 0 0 0,2 4-216-1081-4,4 5 128 1081 4,0-1 88 0 0,0-2 0 0 0,2 0 0 0 0,3 0 0 0 0,1-1 0 0 0,-3-1 0 0 0,-1-3 0 0 0,-1-4 0 0 0,2 3 0 0 0,1 1 0 0 0,-3-3 72 0 0,1 0 88 0 0,0 1-80 0 0,0 4-80 4 572,-4 0 0-4-572,-3-1 0 0 0,-4-2 0 0 0,-1-2 0-537 2,-2-1 0 537-2,1-1 0 0 0,0 2 0 0 0,2 5 0 0 0,0-1 0 0 0,-1 0 0-501-7,-2-2 0-35 14,-1-3 0-48-4,1 2 0 584-3,-1 3 0-510-4,1 1 0 510 4,-2-3 0 0 0,-2 2 0 0 0,0 3 0 0 0,-2 3 0 0 0,-2-2 0 0 0,0-1 0 0 0,-2 1 0 0 0,-1-2 0 0 0,0-3 0 0 0,-1 1 0 0 0,-1 5 0 0 0,0 5 0 0 0,0 2 0 0 0,0 1 0 0 0,1 0 0 0 0,0 2 0 0 0,-2 3 0 0 0,0-1 0 0 0,1-5 0 0 0,1 2 0 0 0,-2-3 0 0 0,0-5 0 0 0,-1-4 0 0 0,-2-4 0 0 0,-2 0 0 0 0,-1-1 0 0 0,-1-1 0 0 0,-2 0 0 0 0,1 0 0 0 0,0-3 0 0 0,-3 3 0 0 0,-3 3 0 0 0,-1 0 0 0 0,-5 8 0-502 1,0 1 0 502-1,1-2 0-6 534,0 0 0 6-534,1 2 0-517 2,1-2 0 517-2,4-3 0 0 0,1-2 0-1001 1,0-3 0 496 1,2-4 0 12-3,1-3 0 493 1,-6 5 744 0 0,-1 0-480 0 0,-7 4 488-546 3,-1-2-504 546-3,-5-1-248 0 0,0-3 0 0 0,2-4 0 0 0,0-3 0 0 0,0-2 0 0 0,2-2 0 0 0,0-2 0 0 0,1-1 0 0 0,-4 1-96 0 0,-2 0-72 0 0,3 1-16 0 0,2-1 0 0 0,3-1 296 0 0,3 1 56 0 0,2 0 16 0 0,-1 2-80 0 0,-1 3-376 0 0,-3 0 64 0 0,1 0 208 0 0,3-2-96 0 0,-1-3 96 0 0,3-2 0 0 0,2-1 0 0 0,-2-4 96 0 0,2-1 80 0 0,0-2 16 0 0,0-2 0 0 0,2 0-192 0 0,-4-1 0 0 0,-5 0-96 0 0,-8-1-224 0 0,0 1 152 0 0,1 1 168 0 0,4 0 0 0 0,6 1-72 0 0,0 3 192 0 0,-1 2 232 0 0,-2 2-304 0 0,0 3-464 0 0,3 1 200 0 0,3 1 216 0 0,4 0 0 0 0,4 0 96 0 0,3-2 344 0 0,4-3-376 0 0,6-1-560 0 0,3-2 240 0 0,2 1 192 0 0,4-2 64 0 0,8-2-72 0 0,3-4 72 0 0,2-1 0 0 0,5-4 0 0 0,5-2 0 0 0,2-3 0 0 0,1 0 0 0 0,-1 1 0 0 0,1 0 0 0 0,0 0 0 0 0,0 0 0 0 0,1 0 0 0 0,0 0 0 0 0,5-4 64 0 0,8-3 8 0 0,7-4 8 0 0,4-2-16 0 0,6-3 0 0 0,1 0 0 0 0,3-2 0 0 0,-5 2 32 0 0,-7 3-96 0 0,-2-2 96 0 0,0-3 0 0 0,-3 0 0 0 0,-6 2-96 0 0,-6 1 96 0 0,-5 2-96 0 0,0-5 96 0 0,1-4-32-4 543,1-5 0 4-543,-3-1 0 0 0,-4 1-64 0 0,-2-1 64 0 0,-2 2-64 0 0,-3 3 0 0 0,0-1 0 0 0,-2 1 64 0 0,-1 0-64 0 0,-1-4 64 0 0,0 0-64 0 0,-3 2 0 0 0,-1 1 64 0 0,-3 1-64 0 0,1-5 0 0 0,2-11 0 0 0,3-11-256 0 0,3-10 208 0 0,2-5 240 0 0,1-1-88 0 0,-1 2-104 0 0,-2 4 0 0 0,-4 10-64 0 0,-4 9 64 0 0,-4 7 0 0 0,-2 7 0 0 0,-3 3 0 0 0,-3 0 0 0 0,-2 1 0 0 0,-2-2 0 0 0,-3-10 0 0 0,-2-5 0 0 0,-1-1 0 0 0,-2 0 0 0 0,-2 2 64 0 0,-3-5-64 581 1,-4-6-248-41 3,-1 1 136-540-4,0 4 112 0 0,1-2-72 513-4,-3-6-104-513 4,-1-6-64 572 3,1 1 120-572-3,-1-8-504 546-5,3 5 408-546 5,-1-2-456 0 0,0 6 448 0 0,4 10 80 0 0,-3 3-112 0 0,0 5 128 0 0,-1 7 56 0 0,-1 6 72 0 0,1 6-104 0 0,-1 3 40 0 0,-1 3 64 0 0,-7-3 0 0 0,-3 0 0 0 0,0 2 0 0 0,0-3 0 0 0,1 1 0 0 0,2 2 64 0 0,3 1 80 0 0,3 3-72 0 0,3 2 40 0 0,4 1 128 0 0,3 3-48 0 0,3 4-128 0 0,5 3 0 0 0,2 3 0 0 0,3 2-64 0 0,1 3 0 0 0,2 0 0 0 0,0 1 0 0 0,2 3 72 0 0,5 3 72 0 0,5 2-72 0 0,2 3-72 0 0,3 1 0 0 0,1 1 0 0 0,6 1 0 0 0,3 1 0 0 0,2 0 0 0 0,0 0 0 0 0,0 0 0 0 0,6 2 0 0 0,0 1 0 0 0,0 0 0 0 0,-2-1 0 0 0,7 8 0 0 0,1 4 0 543 3,-4 0 0 42-1,0 6 0-585-2,1 8 0 0 0,2 8 0 0 0,-2 0 0 0 0,-2-3 0 0 0,0 2 0 0 0,-3-3-96 0 0,-2-4 16 0 0,0 3 8 0 0,1 3 296 0 0,-1 4-136 0 0,-3-3-88 0 0,-5-6 0 0 0,-6 0 0 0 0,-5-2 0 0 0,-4-4 64 0 0,-1 3-64 0 0,-1-1 0 0 0,-2-3 0 0 0,1-1 64 0 0,0-2-64 0 0,3 3 0 0 0,1 7 0 0 0,1-1 64 0 0,1-3-64 0 0,-2-3 0 0 0,0-3 64 0 0,0 2-64 0 0,1 1 64 0 0,-1-2-64 0 0,-1 0 0 0 0,-2-4 0 0 0,1 3 0 0 0,-1 0 0 0 0,-1-2 0 0 0,0-2 0 0 0,-1-1 64 0 0,-1-2-64 0 0,1-1 64 0 0,-1-1-64 0 0,-1 4 176 0 0,0 0-176 0 0,1-1 88 0 0,-2 1-8 0 0,-1 4-16 0 0,-1 5-64 0 0,-2 4 72 0 0,-1-1-72 0 0,0-5 0 0 0,-1-4 0 0 0,1-3 0 0 0,-2 0 64 0 0,-1 6-64 0 0,0 4 64 0 0,0 4 0 0 0,-2 2 64 0 0,-1-1 8 0 0,0-1 8 0 0,1-6-72 0 0,1-6-72 0 0,1-6 0 0 0,2-5 72 0 0,1-5-72 0 0,2-2 64 0 0,-1-4-64 0 0,1 0 64 0 0,-1-1-64 0 0,-1 2 0 0 0,0 0 0 0 0,-1 1 0 0 0,-2 5 64 0 0,-2 1-64 0 0,0 1 0-567 5,-2 1 64-467-12,-2 0-64 530 13,-1-1 0 504-6,0-3 0 0 0,1-2 64 0 0,0-1-64 0 0,-1 0 0 0 0,-2 1 0 0 0,-1 2 0 0 0,-2 2 0 0 0,0 0 0 0 0,1 0 0 0 0,-1 2 0 0 0,-1 0 0 0 0,-3 4 0 0 0,-2 3 0 0 0,-2 4 0 0 0,-1 1 64 0 0,1-3-64 0 0,3-3 0 0 0,0-2 0-5 544,1-2 64 5-544,1-3-64 0 0,-3-1 0 0 0,-2-1 0 0 0,1-1 0 0 0,-6 0 0 0 0,0 0 0 0 0,0 0 0 0 0,-4 1 0 0 0,-4 1 0 0 0,-1 2 0 0 0,1 2 0 0 0,3-2 0 0 0,5-1 0-499 2,5-2 0 499-2,2-2 0 0 0,2 1 0 0 0,0-1 0 0 0,2 1 0 0 0,-2 1 0 0 0,1 0 0 0 0,-1-2 0 0 0,2 0 0 0 0,1-1 0 0 0,0-1 0 0 0,0 0 0 0 0,2-1 0 0 0,-1 0 0 0 0,-4-1 0-520 3,-2-1 0 520-3,0-1 0 0 0,-3 0 0 0 0,-4-2 0-519 0,-1-1 0 519 0,2-1 0 0 0,3-2 0 0 0,1-1 0 0 0,2 0 0 0 0,2 1 0 0 0,-4 0 0 0 0,-5 0 0 0 0,-3 1 0 0 0,0 2 0-527 0,3 2 0 527 0,-1-3 0 0 0,4-2 0 0 0,4-1 0 0 0,4 0 0 0 0,4 0 0 0 0,1 1 0 0 0,2 1 0 0 0,1 2 0 0 0,-1 0 0 0 0,3 0 0 0 0,1 1-72 0 0,1 1-24 0 0,0 1-8 0 0,1-1 0 0 0,1 0 104 0 0,-1 1 0 0 0,-2 3 0 0 0,-1 0 128 0 0,0 1-24 0 0,2-3-8 0 0,2-1-96 0 0,2-3 0 0 0,3-3 0 0 0,0-1-64 0 0,2 0 64 0 0,2 0 0 0 0,3 2-80 0 0,3 2 80 0 0,3-1-64 0 0,2 0 64 0 0,3-2 0 0 0,2 0-72 0 0,3-2 72 0 0,2-2 0 0 0,1-2 0 0 0,1-2 0 0 0,6-3 0 0 0,9-5 0 0 0,4-3 0 0 0,1-1 0 0 0,-2-1 0 0 0,-3-1 0 0 0,3-2 0 0 0,5-2 0 0 0,3-1 0 0 0,4-1 0 0 0,1-1 0 0 0,-5 2 0 0 0,-6 3 0 0 0,-6 3 0 0 0,-6 2 0 0 0,-2 1 0 0 0,-2 1 0 0 0,3-4 0 0 0,4-6 0 0 0,1-3 0 0 0,-2 0 0 0 0,-1-1 0 0 0,-4 0 0 0 0,-3-1 0 0 0,-3-1 0 0 0,-1-1 0 0 0,-1-1 64 0 0,-1-1-64 0 0,-1-1 0 0 0,-1-1 0 0 0,-2-1 0 0 0,0 0 0 0 0,-1 1 0 0 0,3-5 0 0 0,-1 0 0 0 0,0 2 0 0 0,-1 1 0 0 0,-2 4 0 0 0,-2 0 0 0 0,-1 2 0 0 0,-1-1 0 0 0,-1-1 0 0 0,1-7 0 0 0,3-10-88 0 0,-1-4 88 0 0,-1-1-160 0 0,-1 1 0 0 0,-1 2 8 0 0,-1-5-160 0 0,0-5-8 0 0,0-4 48 0 0,0-3 64 0 0,-2-4 24 0 0,-3-4 40 510-7,-4-8-80 534 13,-4-6-104-1044-6,-4-5-240 0 0,-4-3-328 0 0,-5-1-192 0 0,-4 3-248 511-4,-1 10 664 18 4,-5-3-743-529 0,-1 7 959 0 0,-7-5-848 520-1,3 12-12096-520 1</inkml:trace>
  <inkml:trace contextRef="#ctx0" brushRef="#br0" timeOffset="1073.822">754 195 9216 206564 45464,'0'0'408'0'0,"0"0"80"0"0,0 0-392 0 0,-1 1-96 0 0,-2 1 0 0 0,-1 1 0 0 0,-1 0 488 0 0,-1 5 656 0 0,1 2-560 0 0,0 2-72 0 0,0 2-24 0 0,1 1 0 0 0,3 1 0 0 0,4 7 600 0 0,3 5-408 0 0,5 4-41 0 0,5 3-215 0 0,5-2-360 0 0,0-3-64 0 0,7 3 312 0 0,3-1-64 0 0,0-2 8 0 0,0-1 0 0 0,1-2-136 0 0,-1 0-24 0 0,0-1-8 0 0,1 0 0 0 0,2 1 8 0 0,5 6 112 0 0,8 9 40 0 0,6 9 56 0 0,-3 3-152-498 2,-4-1 8 498-2,-5-1 8-506 2,-6 0 0 2-4,-1 7 144 504 2,0 13-40-524 0,2 12-40 524 0,-2 2-136 0 0,-5-5-8 0 0,-3-7 0 0 0,-5-7-8 0 0,0 6 80 0 0,-1 13-80 0 0,-1 1-80 0 0,-4-3 0-543 2,-2-5 0-38-5,-5-7 0-39 4,-2-6-72 620-1,-5-4 72 0 0,-1-4-80 0 0,-2-3 80 0 0,-3-1 0 0 0,-2-2 0 0 0,-5 9 224 0 0,-5 5 56-529-1,-3-1 8-40 6,-2-1 8 569-5,-4-2-160 0 0,-9 5 64-1190-2,-13 8-8 94 1,-5-2-96 584-1,-2-6 0 8 7,0-7 0 504-5,2-8-96 0 0,-7-2 64 0 0,2-5-64 0 0,-9 0 0 0 0,1-5 0 0 0,7-7 0 0 0,8-6 0 0 0,8-7 0 0 0,1-4 0 0 0,0-3 0 0 0,4-4 0 0 0,6-4 0 0 0,8-2 0 0 0,7-2 0 0 0,5-2 0 0 0,4-3-88 0 0,3-2-8 0 0,2-3-8 0 0,2-3 0 0 0,2-1 104 0 0,2 0-88 0 0,2-2 88 0 0,5 0-80 0 0,3-2 192 0 0,2-1 40 0 0,2-1 8 0 0,3-1 0 0 0,9-12-760 0 0,3-5 368 0 0,8-19-600 0 0,2-8 552 0 0,-4-1 280 0 0,-3-6 0 0 0,-1-9 0 0 0,-3-8 0 0 0,-4-13 0 0 0,-5-15 0 0 0,-6-16 0 0 0,-4-14 0 0 0,-6 7 0 0 0,-2 12 0 514-6,-4 14 0-514 6,-1 13 0 0 0,-1-5 0 0 0,-1 4 0 0 0,0 11 0 0 0,0 10 0 0 0,-1 8 152 0 0,-1-2 336 0 0,-2-5-232 0 0,-2-1-256 533-3,-2 6 0 205 11,-1 9 0-738-8,-5-5-648 0 0,-2 6 392 0 0,-4 6 256 0 0,-5 10 0 1439-4,-3 14 0-1439 4,0 16 0 0 0,2 12 0 0 0,1 17 0 0 0,3 10 0 0 0,5 4 0 658-2,4 3 0-658 2,5 2 0 0 0,6 3 0 0 0,6 7 0 0 0,7 8 0 0 0,6 7 0 0 0,7 8 0 0 0,6 8 160 546 7,4 9 328-546-7,-1-1-232 0 0,-2-7-160 0 0,0 2-32 0 0,1 4 32 0 0,-2-2-96 0 0,-3-5 64 0 0,-4-6-64 0 0,-2-4 0 0 0,-3-2 72 0 0,-1-2-72 0 0,-3 2 64 0 0,-1 1-64 0 0,0 3 0 0 0,-2 1 0 0 0,0 2 64 0 0,-3 0-64 0 0,-2-1 64 0 0,-2 0-64 0 0,-3-1 64 0 0,-1 0-64 0 0,-2 1 64-507-5,-3 1-64 9 6,-6 11 128-9-2,-6 14 0 507 1,-5 1-64 0 0,-10 9-64 0 0,-8 0 0 0 0,-2-13 0 0 0,4-16 0-537 3,5-18 0 537-3,-2-13 0-996-6,4-13 0 996 6,4-11 0 0 0,2-6 0 0 0,1-4 0 0 0,3-5 0 0 0,0-3 0 0 0,3-3 0 0 0,-1-5-1360 0 0,2-5 848 0 0,2-12-1024 0 0,5-7 1024 0 0,5-14-3839 0 0,3-9-1889 0 0,2 6-2744 0 0</inkml:trace>
  <inkml:trace contextRef="#ctx0" brushRef="#br0" timeOffset="1692.312">528 1779 7368 201100 44623,'-3'-6'656'0'0,"-1"-5"-528"0"0,-2-4-128 0 0,-1-8 1056 0 0,0-8 1448 0 0,1-3-1224 0 0,1 1-448 0 0,1 5 632 0 0,1 7-744 0 0,1 6-49 0 0,1 7 1 0 0,1 4-8 0 0,0 3 0 0 0,0 2-360 0 0,1 3-72 0 0,0 3-8 0 0,0 4-8 0 0,1 3-24 0 0,0 5 0 0 0,3 2 0 0 0,2 3 0 0 0,1 1 24 0 0,3 1 0 0 0,1 2 0 0 0,2 2 0 0 0,0 2-48 0 0,1 4-8 0 0,0 4 0 0 0,1 4 0 0 0,1 4-160 0 0,0 4-160 0 0,1 2 32 0 0,1 0 8 0 0,2 1 288 0 0,-1-2 56 0 0,0-1 16 0 0,0-2 0 0 0,-2-1-152 0 0,1 7 8 0 0,1 11-16-4 512,-2 4-80 4-512,-2 0 64 0 0,-3-2-64-1 521,-3-3 88 1-521,-3-3-24 10 511,-3-3-64-10-511,-3-6 96 0 0,-3-4-32 0 0,-1-4-64 0 0,-3-3 88 0 0,-1-1-88 0 0,-3-1 120 0 0,-2-1-32-524-1,-2-2-8 20 4,-2-3 0 504-3,-2 1-80 0 0,-2-2 0 0 0,-2 1 0 0 0,-6 4 0 0 0,-4 4 0 0 0,-1 3 0 0 0,-1 0 0 0 0,1-1 88 0 0,3-3-24-662-2,-1-3-64-99 3,3-2 96 161-2,3-3-96 600 1,2-5-80-499 0,4-3 16 2-3,2-4 0 497 3,2-2-40 0 0,3-4-8 0 0,2-2 0 0 0,2-2-336 0 0,2-3-320-1086 0,1-4 376 1086 0,5-7-1120 0 0,2-9 1000 0 0,4-14-4199 0 0,4-28-481 0 0,1-5-4480 0 0</inkml:trace>
  <inkml:trace contextRef="#ctx0" brushRef="#br0" timeOffset="2264.771">346 1880 6448 198531 44795,'0'-5'576'0'0,"0"-5"-464"0"0,0-4-112 0 0,0-1 0 0 0,-1-9 3000 0 0,0-3-1920 0 0,-1 0-88 0 0,1 1-24 0 0,-2 1 0 0 0,-1 4 0 0 0,0 3 48 0 0,-1 4 7 0 0,1 4 1 0 0,0 4 0 0 0,2 2-416 0 0,0 7-88 0 0,-1 4-8 0 0,0 6-8 0 0,-1 5-400 0 0,0 2-104 0 0,0 4 0 0 0,2 4 0 0 0,1 3 392 0 0,3 5 40 523 1,1 4 8-9-1,2 7 0-514 0,3 4-296 0 0,2 5-56 0 0,2 2-16 0 0,3 0 0 0 0,1 1-72 0 0,1-1 0 0 0,0-2 0 0 0,0-3 0 0 0,0-2 0 0 0,1-2 0 0 0,-1 0 0 0 0,-1-1 0 0 0,-1 1 0 0 0,0 12 0 0 0,1 7 0 0 0,-3 0 0 0 0,-1 9 0 0 0,-3 8 0-525 2,-5 5 0 525-2,-6-6 0 0 0,-5-11 0 0 0,-4-11 0 0 0,-3-11 0 0 0,0-7 0 0 0,-3-3 0 0 0,-7 5 0 0 0,-9 10 424 0 0,-5 3 72 0 0,0-2 16 0 0,1-6 0 0 0,1-6-416-559-5,3-6-96 34 11,1-7 0 8-13,2-5 0 517 7,-5-1-1384 0 0,-3-5 776-511 539,2-5 608 511-539,6-7 0 6 521,6-6 0-593-514,6-8-1440-92-10,5-7 928 679 3,8-15-1216 0 0,6-8 1144 0 0,8-10-3159 0 0,4-12 1703 0 0,5-5-8 0 0,-1 8-9432 0 0</inkml:trace>
  <inkml:trace contextRef="#ctx0" brushRef="#br0" timeOffset="2319.824">522 1989 4608 198764 44576,'3'-5'200'0'0,"1"-4"48"0"0,4-3-248 0 0,1-2 0 0 0,2-2 0 0 0,0-1 0 0 0,2 0 864 0 0,0 0 128 0 0,-1 1 32 0 0,0 1 0 0 0,0 2 0 0 0,-3 3 1024 0 0,0 3-1024 0 0,-1 4-160 0 0,1 4-32 0 0,0 3-8 0 0,3 8 623 0 0,2 9-287 0 0,0 5-584 0 0,-1 4 0 0 0,2 8 576 0 0,1 12-400 0 0,3 13-584 0 0,0 11 248 0 0,1 1-24 0 0,-2-4 16 0 0,-2-7 0 0 0,-2-7-248 0 0,2 5 64-4 541,1 8-120 4-541,0 2-104 0 0,-2-1 0 0 0,-2-4 0 0 0,-3-3 0 0 0,0-2 0 0 0,-2-2 0 0 0,-1-3 0 0 0,-3-2 0 4 561,-3 8 0-4-561,-4 3 0 0 0,-4-1 264-9 533,-4 7 336 9-533,-4 0-296 0 0,-2-4-144 0 0,-3-5-32-611 1,-2-6-8-77 592,-2-2 0 688-593,-2-3-120 0 0,-1-3 0 0 0,-2-2 64 0 0,-3-1-64 0 0,-1 0-96 0 0,-7 3-176 0 0,1-2 128 0 0,-1-4-6760 0 0,6-10-10959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33.757"/>
    </inkml:context>
    <inkml:brush xml:id="br0">
      <inkml:brushProperty name="width" value="0.05" units="cm"/>
      <inkml:brushProperty name="height" value="0.05" units="cm"/>
      <inkml:brushProperty name="color" value="#008C3A"/>
    </inkml:brush>
  </inkml:definitions>
  <inkml:trace contextRef="#ctx0" brushRef="#br0">293 148 1840 0 0,'2'8'-1166'0'0,"0"6"6889"0"0,-2-14-5598 0 0,0 0 0 0 0,0 0 0 0 0,0 0 0 0 0,0 1 0 0 0,0-1 0 0 0,0 0 0 0 0,0 0 0 0 0,0 0 0 0 0,0 0 0 0 0,0 0 0 0 0,0 0 0 0 0,0 0 0 0 0,0 1 0 0 0,0-1 0 0 0,0 0 0 0 0,0 0 0 0 0,0 0 0 0 0,0 0 0 0 0,1 0 0 0 0,-1 0 0 0 0,0 0 0 0 0,0 1 0 0 0,0-1 0 0 0,0 0 0 0 0,0 0 0 0 0,0 0 0 0 0,0 0 0 0 0,0 0 0 0 0,0 0 0 0 0,0 0 0 0 0,0 0 0 0 0,1 0 0 0 0,-1 0 0 0 0,0 0 0 0 0,0 0 0 0 0,0 0 0 0 0,0 1 0 0 0,0-1 0 0 0,0 0 0 0 0,0 0 0 0 0,1 0 0 0 0,-1 0 0 0 0,0 0 0 0 0,0 0 0 0 0,0 0 0 0 0,0 0 0 0 0,0 0 0 0 0,0 0 0 0 0,0 0 0 0 0,1 0 0 0 0,-1 0 0 0 0,0-1 0 0 0,0 1 0 0 0,0 0 0 0 0,0 0 0 0 0,0 0 0 0 0,0 0 0 0 0,0 0 0 0 0,0 0 0 0 0,1 0 0 0 0,-1 0 0 0 0,0 0 1 0 0,0 0-1 0 0,0 0 0 0 0,0 0 0 0 0,0 0-125 0 0,1-2 230 0 0,-1 2-4 0 0,0 0-2 0 0,0-9 704 0 0,-1 8-814 0 0,1-1 1 0 0,-1 0 0 0 0,1 0 0 0 0,-1 1 0 0 0,0-1 0 0 0,0 1-1 0 0,0-1 1 0 0,0 0 0 0 0,0 1 0 0 0,0 0 0 0 0,0-1 0 0 0,-1 1-1 0 0,1 0 1 0 0,0-1 0 0 0,-2 1-115 0 0,3 0 141 0 0,-1 1-89 0 0,0-1 0 0 0,0 1-1 0 0,0-1 1 0 0,0 1 0 0 0,0 0 0 0 0,0-1-1 0 0,0 1 1 0 0,0 0 0 0 0,0 0-1 0 0,0 0 1 0 0,0 0 0 0 0,0 0-1 0 0,0 0 1 0 0,0 0 0 0 0,0 0-1 0 0,0 0 1 0 0,0 0 0 0 0,1 1-1 0 0,-1-1 1 0 0,0 0 0 0 0,0 0-1 0 0,0 1-51 0 0,-8 0 279 0 0,8 0-217 0 0,-1-1-1 0 0,0 1 0 0 0,1-1 0 0 0,-1 1 0 0 0,1 0 0 0 0,-1-1 0 0 0,1 1 1 0 0,-1 0-1 0 0,1 0 0 0 0,0 0 0 0 0,-2 1-61 0 0,-11 7 447 0 0,12-7-400 0 0,0-1-1 0 0,0 0 1 0 0,0 1-1 0 0,0 0 1 0 0,0-1-1 0 0,0 1 1 0 0,0 0-1 0 0,1 0 1 0 0,-1 0-1 0 0,1 0 1 0 0,-1 0-1 0 0,1 0 1 0 0,0 0-1 0 0,0 1 1 0 0,0-1-1 0 0,0 0 1 0 0,0 3-47 0 0,-8 14 33 0 0,-8 23 1 0 0,14-38 74 0 0,1 1 1 0 0,1 0 0 0 0,-1 0 0 0 0,1 0 0 0 0,-1 0-1 0 0,1 1 1 0 0,1-1 0 0 0,-1 0 0 0 0,1 0 0 0 0,0 2-109 0 0,-5 28 361 0 0,7-32-308 0 0,5 2 11 0 0,2 0-10 0 0,2 2-44 0 0,-1 0-10 0 0,-1-2 0 0 0,29 14 107 0 0,-25-17 53 0 0,-8-2-152 0 0,-3 0 0 0 0,-1 0 0 0 0,1 0 0 0 0,-1-1 0 0 0,1 1 1 0 0,0 0-1 0 0,-1 0 0 0 0,1-1 0 0 0,-1 1 0 0 0,1-1 0 0 0,-1 0 0 0 0,1 1 0 0 0,-1-1 1 0 0,0 0-1 0 0,1 0 0 0 0,-1 0 0 0 0,0 0 0 0 0,0 0 0 0 0,1 0 0 0 0,-1 0 0 0 0,0 0 0 0 0,0-1-8 0 0,3-1 22 0 0,-1 1 21 0 0,11-2-32 0 0,-11 1-12 0 0,-1 0 1 0 0,9-5-16 0 0,-8 4 36 0 0,1 0-1 0 0,-1 0 1 0 0,0 0-1 0 0,0 0 0 0 0,1-4-19 0 0,2-1 39 0 0,-3 6-39 0 0,-1 0 0 0 0,0 0 0 0 0,0 0 0 0 0,0-1 0 0 0,0 1 0 0 0,0 0 0 0 0,-1-1 0 0 0,1 0 0 0 0,-1 1 0 0 0,0-1 0 0 0,0 0 0 0 0,0-3 0 0 0,-2 6 2 0 0,6-9 50 0 0,2-4-43 0 0,-6 1 46 0 0,-1 13-51 0 0,1-3-3 0 0,0-1 0 0 0,0 1 0 0 0,-1-1 0 0 0,1 1-1 0 0,-1-1 1 0 0,1 1 0 0 0,-1-2-1 0 0,0-11 64 0 0,0 1 8 0 0,0 12-65 0 0,0 1-1 0 0,0-1 0 0 0,0 0 1 0 0,0 1-1 0 0,-1-1 0 0 0,1 0 1 0 0,-1 1-1 0 0,1-1 1 0 0,-2-2-7 0 0,-3-4-333 0 0,5 7 429 0 0,-1 1-1 0 0,0-1 1 0 0,0 0-1 0 0,0 1 1 0 0,0-1-1 0 0,0 1 1 0 0,-1-1-1 0 0,1 1 1 0 0,0-1-1 0 0,-1 1-95 0 0,1 0 91 0 0,0 0-22 0 0,-1-1-3 0 0,-2 0-12 0 0,1 1 0 0 0,-1-1 0 0 0,1 1 0 0 0,-1 0 0 0 0,1 1 0 0 0,-1-1 0 0 0,0 0 0 0 0,0 1 0 0 0,1 0 0 0 0,-1 0 0 0 0,0 0 0 0 0,-1 1-54 0 0,1-1 54 0 0,-6-1 113 0 0,10 1-165 0 0,-1 0 0 0 0,1 0 0 0 0,-1 0-1 0 0,1 0 1 0 0,-1 0 0 0 0,1 0 0 0 0,0 0 0 0 0,-1 0-1 0 0,1 0 1 0 0,-1 0 0 0 0,1 0 0 0 0,-1 0 0 0 0,1 0 0 0 0,-1 0-1 0 0,1 0 1 0 0,-1 1 0 0 0,1-1 0 0 0,0 0 0 0 0,-1 0-1 0 0,1 1 1 0 0,0-1 0 0 0,-1 0 0 0 0,1 1 0 0 0,0-1 0 0 0,-1 0-1 0 0,1 1 1 0 0,0-1 0 0 0,-1 0 0 0 0,1 1 0 0 0,0-1 0 0 0,0 0-1 0 0,-1 1 1 0 0,1-1 0 0 0,0 1 0 0 0,0-1 0 0 0,0 1-1 0 0,0-1 1 0 0,0 1-2 0 0,-6 11 17 0 0,5-10-11 0 0,1-1 1 0 0,-1 1 0 0 0,0 0-1 0 0,0-1 1 0 0,0 1-1 0 0,0 0 1 0 0,0-1 0 0 0,-1 1-1 0 0,0 0-6 0 0,2 0 13 0 0,-2 0 20 0 0,-13 2-15 0 0,14-3-15 0 0,0-1 0 0 0,0 1-1 0 0,0-1 1 0 0,0 0 0 0 0,0 1-1 0 0,0 0 1 0 0,0-1 0 0 0,0 1 0 0 0,0 0-1 0 0,0-1 1 0 0,0 1 0 0 0,0 0-3 0 0,0 0 2 0 0,0 0 1 0 0,0 0 0 0 0,1-1-1 0 0,-1 1 1 0 0,0 0-1 0 0,0-1 1 0 0,0 1 0 0 0,0-1-1 0 0,0 1 1 0 0,0-1 0 0 0,0 1-1 0 0,-1-1-2 0 0,-4 2 3 0 0,6-2-2 0 0,-1 0 1 0 0,0 1 0 0 0,0-1-1 0 0,0 0 1 0 0,1 0 0 0 0,-1 1-1 0 0,0-1 1 0 0,0 0 0 0 0,0 0-1 0 0,0 0 1 0 0,0 0 0 0 0,1 0-1 0 0,-1 0 1 0 0,0 0 0 0 0,0-1-1 0 0,0 1 1 0 0,0 0 0 0 0,1 0-1 0 0,-1-1 1 0 0,0 1 0 0 0,0 0-1 0 0,0-1 1 0 0,1 1 0 0 0,-1-1-1 0 0,0 1 1 0 0,1-1 0 0 0,-1 1-1 0 0,0-1 1 0 0,1 1 0 0 0,-1-1-1 0 0,1 0 1 0 0,-1 1 0 0 0,1-1-1 0 0,-1 0 1 0 0,1 1 0 0 0,-1-1-1 0 0,1 0-1 0 0,-1 0 0 0 0,1 0 0 0 0,0 0 0 0 0,-1 1 0 0 0,0-1 0 0 0,1 0 0 0 0,-1 1 0 0 0,1-1 0 0 0,-1 0 0 0 0,0 1 0 0 0,1-1 0 0 0,-1 1 0 0 0,0-1 0 0 0,0 1 0 0 0,0-1 0 0 0,1 1 0 0 0,-1-1 0 0 0,0 1 0 0 0,0 0 0 0 0,0 0 0 0 0,0-1 0 0 0,0 1 0 0 0,0 0 0 0 0,1 0 0 0 0,-1 0 0 0 0,0 0 0 0 0,0 0 0 0 0,0 0 0 0 0,0 0 0 0 0,0 0 0 0 0,0 1 0 0 0,0-1 0 0 0,0 0 0 0 0,1 0 0 0 0,-1 1 0 0 0,0-1 0 0 0,0 1 0 0 0,0-1 0 0 0,1 0 0 0 0,-1 1 0 0 0,0 0 0 0 0,0-1 0 0 0,1 1 0 0 0,-1-1 0 0 0,0 1 0 0 0,1 0 0 0 0,-1-1 0 0 0,1 1 0 0 0,-1 0 0 0 0,1 0 0 0 0,-1 0 0 0 0,1-1 0 0 0,-24 40 0 0 0,16-23 0 0 0,3-3 0 0 0,3-10-2 0 0,0 0-1 0 0,0 0 0 0 0,1 0 1 0 0,-1 0-1 0 0,1 0 0 0 0,0 0 1 0 0,0 1-1 0 0,1-1 0 0 0,-1 1 3 0 0,1 0-12 0 0,-1 0 0 0 0,0 0 0 0 0,0 0 0 0 0,-1 0 0 0 0,1 0 0 0 0,-2 1 12 0 0,2-3-19 0 0,0 0 0 0 0,0 0 0 0 0,1 0-1 0 0,-1 1 1 0 0,1-1 0 0 0,0 0 0 0 0,0 0 0 0 0,0 0 0 0 0,0 1 19 0 0,0 0-15 0 0,0-1 0 0 0,0 0 0 0 0,0 0 0 0 0,0 0 0 0 0,-1 0 0 0 0,0 0 0 0 0,0 3 15 0 0,0 2 290 0 0,1-3 16 0 0,2 5-214 0 0,1-2-41 0 0,-3-7-47 0 0,0 1 0 0 0,0-1 1 0 0,1 0-1 0 0,-1 0 1 0 0,0 0-1 0 0,0 0 1 0 0,1 1-1 0 0,-1-1 1 0 0,0 0-1 0 0,1 0 1 0 0,-1 0-1 0 0,1 0 1 0 0,0 0-1 0 0,-1 0 1 0 0,1 0-1 0 0,0 0 1 0 0,-1 0-1 0 0,1 0 1 0 0,0-1-1 0 0,0 1 0 0 0,0 0 1 0 0,0 0-1 0 0,1 0-4 0 0,1 1 36 0 0,4 3 18 0 0,2 0-33 0 0,3 2 22 0 0,1-4-33 0 0,21 4 54 0 0,-22-6-64 0 0,0-2 0 0 0,1-2 0 0 0,1-1 0 0 0,26-4 64 0 0,-38 8-64 0 0,0-1 0 0 0,8-8 0 0 0,-1 2 0 0 0,-7 6 0 0 0,1 0 0 0 0,-1-1 0 0 0,0 1 0 0 0,1 0 0 0 0,-1-1 0 0 0,0 1 0 0 0,0-1 0 0 0,0 0 0 0 0,0 0 0 0 0,0 0 0 0 0,0 0 0 0 0,5-6 0 0 0,-4 6 0 0 0,7-10 0 0 0,-9 9 4 0 0,0 1 0 0 0,0 0 1 0 0,1 0-1 0 0,-2 0 0 0 0,1-1 0 0 0,0 1 0 0 0,0-1 0 0 0,-1 1 0 0 0,1 0 0 0 0,-1-1-4 0 0,3-8 23 0 0,0 7-23 0 0,6-19 0 0 0,0 0 0 0 0,-8 22 3 0 0,-1 0-1 0 0,0 0 1 0 0,1 0 0 0 0,-1 0-1 0 0,0 1 1 0 0,1-1 0 0 0,-1 0-1 0 0,0 0 1 0 0,0 0 0 0 0,0 0-1 0 0,0 0 1 0 0,0 0 0 0 0,0 0-1 0 0,0 0 1 0 0,0 0-3 0 0,-2-14 24 0 0,3 11-24 0 0,-1 3 0 0 0,0 0 0 0 0,0 0 0 0 0,0 0 0 0 0,0 1 0 0 0,0-1 0 0 0,0 0 0 0 0,0 0 0 0 0,0 0 0 0 0,0 1 0 0 0,0-1 0 0 0,0 0 0 0 0,-1 0 0 0 0,1 1 0 0 0,0-1 0 0 0,-1 0 0 0 0,1 0 0 0 0,0 1 0 0 0,-1-1 0 0 0,1 0 0 0 0,-1 1 0 0 0,1-1 0 0 0,-1 0 0 0 0,0 0 0 0 0,-1 0 8 0 0,-5-15 36 0 0,6 14-42 0 0,-2-6 5 0 0,1 1-6 0 0,0 1-1 0 0,-1 0 0 0 0,0 0 1 0 0,0 0-1 0 0,0 0 0 0 0,-1 1 1 0 0,0-1-1 0 0,0 1 0 0 0,-1-1 0 0 0,-3-7 0 0 0,7 11 0 0 0,0 0 0 0 0,0 1 0 0 0,0-1 0 0 0,0 1 0 0 0,-1-1 0 0 0,1 1 0 0 0,0 0 0 0 0,-1 0 0 0 0,0-1 0 0 0,-3-3 0 0 0,3 3 8 0 0,0 0 0 0 0,-1-1 0 0 0,1 1 0 0 0,-1 0 0 0 0,1 0 0 0 0,-1 1 0 0 0,0-1 0 0 0,-2-1-8 0 0,-11-4 0 0 0,6 7 0 0 0,7 1 0 0 0,2 1 0 0 0,-24 3 11 0 0,22-5-6 0 0,-1 0-1 0 0,0 0 1 0 0,1 1 0 0 0,-1-1-1 0 0,1 1 1 0 0,-1 0 0 0 0,1 0-1 0 0,0 0 1 0 0,-1 1 0 0 0,1-1-1 0 0,-2 2-4 0 0,-9 4 2 0 0,0-6-2 0 0,13-1 0 0 0,0 0 0 0 0,0 0 0 0 0,0 0 0 0 0,0 0 0 0 0,0 0 0 0 0,-1 0 0 0 0,1 0 0 0 0,0 0 0 0 0,0 1 0 0 0,0-1 0 0 0,0 0 0 0 0,0 1 0 0 0,0-1 0 0 0,0 1 0 0 0,-14 8 9 0 0,10-7-3 0 0,1 0-1 0 0,0 1 1 0 0,0-1-1 0 0,0 1 1 0 0,0 0-1 0 0,0 0 1 0 0,1 1-1 0 0,-1-1 1 0 0,1 1-1 0 0,-3 3-5 0 0,6-6 0 0 0,-1 0 0 0 0,1-1 0 0 0,-1 1 0 0 0,1-1 0 0 0,-1 1 0 0 0,0-1 0 0 0,1 1 0 0 0,-1-1 0 0 0,0 1 0 0 0,0-1 0 0 0,1 0 0 0 0,-1 1 0 0 0,0-1 0 0 0,0 0 0 0 0,0 0 0 0 0,-8 4 0 0 0,5 1 0 0 0,-18 23 0 0 0,7-5 23 0 0,14-21-19 0 0,-1 0 0 0 0,1 1 0 0 0,-1-1-1 0 0,1 1 1 0 0,0-1 0 0 0,-1 1-1 0 0,1 0 1 0 0,1-1 0 0 0,-1 1-1 0 0,0 0 1 0 0,0 2-4 0 0,1 4 0 0 0,8 20 0 0 0,-3-21 0 0 0,16 18 0 0 0,-13-19 0 0 0,9 4 0 0 0,-14-8 0 0 0,1-1 0 0 0,1 0 0 0 0,-1 0 0 0 0,0 0 0 0 0,0 0 0 0 0,1-1 0 0 0,-1 0 0 0 0,1 0 0 0 0,4 1 0 0 0,5-1 0 0 0,0 0 0 0 0,9-1 0 0 0,-8 0 0 0 0,-12 0 0 0 0,-1 0 0 0 0,1 0 0 0 0,-1-1 0 0 0,1 1 0 0 0,-1 0 0 0 0,0-1 0 0 0,1 0 0 0 0,-1 1 0 0 0,3-2 0 0 0,6-2 0 0 0,-8 3 5 0 0,0 0-1 0 0,0 0 1 0 0,0 0-1 0 0,0-1 1 0 0,0 1 0 0 0,0-1-1 0 0,0 0 1 0 0,-1 0-1 0 0,1 0 1 0 0,0 0-1 0 0,-1-1 1 0 0,0 1 0 0 0,0-1-1 0 0,2-1-4 0 0,30-49 0 0 0,-14 8 64 0 0,-11 13-64 0 0,-8 29 0 0 0,1 0 0 0 0,-1 0 0 0 0,-1 0 0 0 0,1-1 0 0 0,0 1 0 0 0,-1 0 0 0 0,0-3 0 0 0,3-11 0 0 0,0 10 11 0 0,-2 6 12 0 0,-1 1-23 0 0,0-1 1 0 0,0 1 0 0 0,0 0 0 0 0,0 0 0 0 0,0-1 0 0 0,0 1-1 0 0,1 0 1 0 0,-1 0 0 0 0,0 0 0 0 0,0-1 0 0 0,0 1 0 0 0,0 0-1 0 0,0 0 1 0 0,0-1 0 0 0,0 1 0 0 0,0 0 0 0 0,0 0 0 0 0,0-1-1 0 0,0 1 1 0 0,0 0 0 0 0,0 0 0 0 0,-1-1 0 0 0,1 1 0 0 0,0 0-1 0 0,0 0 1 0 0,0-1 0 0 0,0 1 0 0 0,0 0 0 0 0,0 0 0 0 0,-1 0-1 0 0,1-1 1 0 0,0 1 0 0 0,0 0-1 0 0,-3-7 3 0 0,-1-12 50 0 0,-2-3-42 0 0,2 15-11 0 0,-3 2 0 0 0,-2-1 0 0 0,1 1 0 0 0,4 4 0 0 0,0 0 0 0 0,1 0 0 0 0,-1 0 0 0 0,0 1 0 0 0,0-1 0 0 0,1 1 0 0 0,-1 0 0 0 0,0 0 0 0 0,0 1 0 0 0,0-1 0 0 0,-1 1 0 0 0,4-1 0 0 0,0 0 0 0 0,0 0 0 0 0,0 0 0 0 0,-1 0 0 0 0,1 1 0 0 0,0-1 0 0 0,0 0 0 0 0,0 1 0 0 0,0-1 0 0 0,0 1 0 0 0,0-1 0 0 0,-1 1 0 0 0,1-1 0 0 0,0 1 0 0 0,1 0 0 0 0,-2 0 0 0 0,0 1 0 0 0,0 0 0 0 0,0 0 0 0 0,-1-1 0 0 0,1 1 0 0 0,0-1 0 0 0,-1 0 0 0 0,1 0 0 0 0,-3 1 0 0 0,-14 7 0 0 0,17-9 0 0 0,0 1 0 0 0,1 0 0 0 0,-1 0 0 0 0,0-1 0 0 0,1 1 0 0 0,-1 0 0 0 0,1 1 0 0 0,-1-1 0 0 0,1 0 0 0 0,-1 1 0 0 0,2-2 0 0 0,-1 0 0 0 0,0 1 0 0 0,1-1 0 0 0,-1 0 0 0 0,1 1 0 0 0,-1-1 0 0 0,1 1 0 0 0,-1-1 0 0 0,1 1 0 0 0,-1-1 0 0 0,1 1 0 0 0,-1 0 0 0 0,1-1 0 0 0,0 1 0 0 0,-1-1 0 0 0,1 1 0 0 0,0 0 0 0 0,-1-1 0 0 0,1 1 0 0 0,0 0 0 0 0,-1 2 0 0 0,-1 0 0 0 0,0-1 0 0 0,0 1 0 0 0,1 0 0 0 0,-1-1 0 0 0,1 1 0 0 0,0 0 0 0 0,-1 1 0 0 0,-9 21 0 0 0,7-9 0 0 0,0-8 0 0 0,3-7 0 0 0,0 0 0 0 0,0 1 0 0 0,1-1 0 0 0,-1 0 0 0 0,1 0 0 0 0,-1 0 0 0 0,1 0 0 0 0,-1 1 0 0 0,1-1 0 0 0,0 0 0 0 0,0 0 0 0 0,-1 1 0 0 0,1-1 0 0 0,0 0 0 0 0,0 1 0 0 0,0-1 0 0 0,0 0 0 0 0,1 1 0 0 0,-1-1 0 0 0,0 6 0 0 0,0-6 0 0 0,-1 0 0 0 0,1 0 0 0 0,0-1 0 0 0,-1 1 0 0 0,1 0 0 0 0,0 0 0 0 0,0 0 0 0 0,0 0 0 0 0,0 0 0 0 0,-1 0 0 0 0,1 0 0 0 0,0 0 0 0 0,1 0 0 0 0,-1 0 0 0 0,0 0 0 0 0,0 0 0 0 0,0 0 0 0 0,1 0 0 0 0,-1-1 0 0 0,0 1 0 0 0,1 0 0 0 0,-1 0 0 0 0,1 0 0 0 0,-1 0 0 0 0,1 0 0 0 0,7 14 0 0 0,0 4 11 0 0,-3-9 31 0 0,5 2-28 0 0,4-1-17 0 0,-5-4 3 0 0,0 0 0 0 0,-1-2 0 0 0,5 5 0 0 0,-12-10 0 0 0,26 8 0 0 0,-19-5 0 0 0,-8-2 0 0 0,1-1 0 0 0,0 0 0 0 0,-1 1 0 0 0,1-1 0 0 0,-1 0 0 0 0,1 0 0 0 0,-1 1 0 0 0,1-1 0 0 0,0 0 0 0 0,-1 0 0 0 0,1 0 0 0 0,0 0 0 0 0,-1 0 0 0 0,1 0 0 0 0,-1 0 0 0 0,1 0 0 0 0,0 0 0 0 0,-1 0 0 0 0,1 0 0 0 0,0 0 0 0 0,-1 0 0 0 0,1 0 0 0 0,-1-1 0 0 0,1 1 0 0 0,0 0 0 0 0,-1-1 0 0 0,1 1 0 0 0,16-7 0 0 0,-7 2 0 0 0,-6 4 4 0 0,0-1 1 0 0,0-1-1 0 0,-1 1 0 0 0,1 0 1 0 0,0-1-1 0 0,-1 0 0 0 0,0 0 1 0 0,0 0-1 0 0,1 0 0 0 0,-2 0 1 0 0,3-3-5 0 0,10-11 16 0 0,1-3-16 0 0,-15 20 0 0 0,0-1 0 0 0,0 1 0 0 0,-1-1 0 0 0,1 0 0 0 0,0 1 0 0 0,0-1 0 0 0,-1 0 0 0 0,1 0 0 0 0,0 0 0 0 0,-1 0 0 0 0,1 1 0 0 0,-1-1 0 0 0,1 0 0 0 0,-1 0 0 0 0,1-1 0 0 0,1-3 0 0 0,3-5 0 0 0,3-2 0 0 0,-6 9 3 0 0,0 1 0 0 0,0-1 0 0 0,0 0 0 0 0,0 0 0 0 0,-1 0 0 0 0,0 0 0 0 0,1 0 0 0 0,-1-1 0 0 0,0 1 0 0 0,0 0 0 0 0,-1-1 0 0 0,1 1 1 0 0,-1 0-1 0 0,1-2-3 0 0,-1 2 3 0 0,1-1 1 0 0,-1 0-1 0 0,1 1 1 0 0,0-1 0 0 0,0 1-1 0 0,2-3-3 0 0,-1-1 0 0 0,0 0 0 0 0,-1 0 0 0 0,1 0 0 0 0,-2 0 0 0 0,1 0 0 0 0,-1 0 0 0 0,0 0 0 0 0,0-4 0 0 0,4-9 53 0 0,-4 13-42 0 0,-4 0-11 0 0,4-1 0 0 0,-1 1 0 0 0,-1 0 0 0 0,1-1 0 0 0,-2 0 0 0 0,1 0 0 0 0,-2 1 0 0 0,0 1 11 0 0,2 5 31 0 0,-4 1-31 0 0,1 0-11 0 0,-3-4 0 0 0,-1 1 0 0 0,1 2 0 0 0,3-1 0 0 0,4 2 0 0 0,0-1 0 0 0,0 1 0 0 0,0-1 0 0 0,0 1 0 0 0,0 0 0 0 0,0-1 0 0 0,0 1 0 0 0,-1 0 0 0 0,1 0 0 0 0,0 0 0 0 0,0 0 0 0 0,0 0 0 0 0,0 0 0 0 0,-1 0 0 0 0,1 0 0 0 0,0 0 0 0 0,0 0 0 0 0,0 1 0 0 0,0-1 0 0 0,0 0 0 0 0,0 1 0 0 0,-1 0 0 0 0,-14 5 0 0 0,11-4-57 0 0,0 0 0 0 0,0 0 0 0 0,0 1 0 0 0,0 0 0 0 0,0 0 0 0 0,1 0 0 0 0,-1 0 0 0 0,1 1 0 0 0,0 0 0 0 0,0 0 0 0 0,1 0 0 0 0,-1 0 0 0 0,1 0 0 0 0,-1 1 0 0 0,2-1 0 0 0,-2 2 57 0 0,-4 9-882 0 0,-1 0-28 0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0:01.946"/>
    </inkml:context>
    <inkml:brush xml:id="br0">
      <inkml:brushProperty name="width" value="0.35" units="cm"/>
      <inkml:brushProperty name="height" value="2.1" units="cm"/>
      <inkml:brushProperty name="color" value="#B08200"/>
      <inkml:brushProperty name="inkEffects" value="pencil"/>
    </inkml:brush>
  </inkml:definitions>
  <inkml:trace contextRef="#ctx0" brushRef="#br0">572 535 456 191818 43886,'0'0'0'1740'-5,"0"0"0"-168"14,0 0 0-157-10,0 0 0-152-4,0 0 576 1843 9,0 0-384-2154-10,0 0-72 29 14,-1-1-24-78-12,-2-1 0-67 6,0 0 0-92-4,0 0 192-76 2,-1 0 40-79 4,0-1 8-54-9,-3 1 0-535 5,1-1 248 534 2,1 2 56-534-2,0 0 0 0 0,0 0 688 0 0,-1 1-640 0 0,0 0 0 0 0,-1 0 576 0 0,1 0-704 0 0,2 0-8 0 0,1 0 424 0 0,2 0-184 0 0,0 1-80 0 0,1-1-400 0 0,-2 2-8 0 0,-1 3 0 0 0,1 0-64 0 0,0 5 208 0 0,2 2-224 0 0,1 2-16 0 0,4 1 192 0 0,3 2-200 0 0,1 0-64 0 0,3 3 112 0 0,0 0-128 0 0,1 0-16 0 0,2 1 104 0 0,2 4-40 0 0,3 4-104 0 0,3 5 32 0 0,-1 2-96 0 0,-2-1 0 0 0,-4 0 0 0 0,-1-1 0 0 0,-3 1 0 0 0,1 0 0 0 0,-1 2 0 0 0,5 13-512 0 0,0 6 304 0 0,-1-2 208 0 0,1 3 0 0 0,-3-3 0 0 0,-2-5 0 0 0,-2-6 0 0 0,-1-6 0 0 0,-3 2 144 0 0,-2-3 72 0 0,-2-1 8 0 0,-1-3 8 0 0,-4 9-808 0 0,-2 4 344 0 0,-1-1 320 0 0,-1 3 224 0 0,-2 1-144 0 0,-3 0-248 0 0,-1-2-48 0 0,-1-4-16 0 0,1-3 0 0 0,-6 4-1256 0 0,-2-4-4288 0 0,3-8-2712 0 0</inkml:trace>
  <inkml:trace contextRef="#ctx0" brushRef="#br0" timeOffset="1647.835">289 553 3768 208211 40249,'0'0'160'0'0,"0"0"48"0"0,0 0-208 0 0,0-3 0 0 0,0-1 0 0 0,0 0 712 0 0,0-1 936 0 0,0 1-168 0 0,0 1-280 0 0,0 0-608 0 0,0 2-208 0 0,0 0-32 0 0,0 2-16 0 0,0 5 288 0 0,0 4-336 0 0,0 1-8 0 0,0 3 0 0 0,1 1-32 0 0,1 0-8 0 0,0 3 0 0 0,1 1 0 0 0,0 3-48 0 0,0 0 0 0 0,1 1-8 0 0,1 6 96 0 0,1 2-208 0 0,2 3 0 0 0,1 8 0 0 0,3 12 0 0 0,1 4-72 0 0,1 2 0 0 0,-1-1 64 0 0,-1-3-64 0 0,-1-2 0 0 0,-1-3 0 0 0,1 1 0 0 0,1-2 0 0 0,-2-1 0 1 514,1 0 0 0 30,1 5 0-1-544,1 10 64 0 0,0 2-64 0 0,-2-2 64 0 0,-1 3-64 0 526,-3-3 0 0-526,-4-8 0 0 0,-1-6-64 0 0,-3-6 64 0 0,-2-6 0 0 0,-2-4 0 0 0,-1-2-160 0 0,-2-1 64 0 0,-1-5 0 0 0,-1-3 0 0 0,-5 2-960 0 0,-5-3-456-1371 595,0-7 224 1371-595,3-5-8952 0 0</inkml:trace>
  <inkml:trace contextRef="#ctx0" brushRef="#br0" timeOffset="2234.826">386 864 6736 207133 39226,'0'0'296'0'0,"0"0"64"0"0,-1-2-288 0 0,0-1-72 0 0,-1-2 0 0 0,1 1 0 0 0,1-1 824 0 0,-1 0 1144 0 0,1 2-176 0 0,0 1-1056 0 0,0 1 0 0 0,0 0 376 0 0,0 1-800 0 0,2 1-16 0 0,3 2 0 0 0,3 2-72 0 0,3 6 176 0 0,2 4-200 0 0,0 4-17 0 0,-1 2-7 0 0,-1 3 0 0 0,-2 3 0 0 0,0 0 48 0 0,0 5 256 0 0,2 9-16 0 0,2 9-32 0 0,2 8-72 0 0,1 7-104 0 0,0-1-128 0 0,-1-6-64 1 581,-1-7-64-1-581,-2-5 72 0 0,1 3 0 0 0,-2 1-72 0 0,-1-2 64 0 0,-1-1-64 0 0,-3-3 0 0 0,0 4 64 0 0,0 2-64 0 0,-2-2 0-499 519,-1 4 0 499-519,-1 6-256 0 0,-1 2-304 0 0,-1-1-744 0 0,-2-7-1087 0 0,-1-11-3825 0 0,0-13-2808 0 0</inkml:trace>
  <inkml:trace contextRef="#ctx0" brushRef="#br0" timeOffset="2235.826">910 1 4608 210486 40546,'0'0'408'0'0,"0"0"-328"0"0,0 0-80 0 0,0 0 1184 0 0,0 0 1656 0 0,-1 1-1384 0 0,0 1-304 0 0,-2-1-64 0 0,0 0-16 0 0,-2 1 0 0 0,0 1-400 0 0,0 0-88 0 0,0 1-9 0 0,1 1-7 0 0,1-2-248 0 0,2 2-56 0 0,2 2-8 0 0,2 1 0 0 0,1 2-88 0 0,4 5 128 0 0,5 4-64 0 0,2 2-160 0 0,1 1 0 0 0,0-3 0 0 0,-2 1 8 0 0,4 2 80 0 0,0 1-80 0 0,2 0 24 0 0,-1 1 8 0 0,1 2 0 0 0,0 1 0 0 0,1 2-32 0 0,0 2-8 0 0,0 2 0 0 0,1 4 0 0 0,-1 1-72 0 0,4 7 96 0 0,0 3 0 0 0,-1 0-96 0 0,0-1 0 0 0,-1-2 0 0 0,-3-1 0 0 0,-2-3 72 0 0,-1 0-72 0 0,-2-1 80 0 0,2 8-80 0 0,1 9 64 0 0,0 11-64-4 505,-3 1 0 4-505,-3-3 64 0 0,-2 3-64-3 537,-3-1 64 3-537,-3-5-64 0 0,-1 2 0-1019-6,-3 8 0 507 9,-3 1 0 512-3,-2-5 0 0 0,-1-5-96 0 0,-3-4 96-521 2,-1-3-104 521-2,-1-4 104 0 0,-1-2-96 0 0,-1-3 96 3 506,-4 1-288-3-506,-4 3-120 0 0,0-3 200-504 5,-1 1-3215 506 623,0-5-3233-2-628,4-10-3024 0 0</inkml:trace>
  <inkml:trace contextRef="#ctx0" brushRef="#br0" timeOffset="3813.59">760 254 2760 209383 40484,'0'0'248'0'0,"0"0"-248"0"0,0 0 0 0 0,-1-2 1040 0 0,-1-3 160 0 0,-2-2 32 0 0,-2-4 8 0 0,2-1-152 0 0,0 1-24 0 0,-1-4 1880 0 0,1-2-2168 0 0,0-3 1304 0 0,0 2-1113 0 0,2 4-55 0 0,1 4-80 0 0,0 4-96 0 0,1 3-448 0 0,0 2 0 0 0,0 3 0 0 0,4 9-40 0 0,3 6-184 0 0,3 3-64 0 0,7 7 64 0 0,4 8 120 0 0,4 3-56 0 0,-1 0 0 0 0,3 4 0 0 0,0 1-64 0 0,-2-2-64 0 0,-2-2 0 0 0,-2-2 256 0 0,2 6 272 0 0,0 2-264 0 0,-2 1-264 0 0,-1-1 0 0 0,5 18 0 0 0,1 7 0 0 0,0 0 0 0 0,-3-5 0 0 0,0-3-64 0 0,-2-3-72 0 0,-1-2-16 0 0,0-1 0 0 0,-1-2 152 0 0,-1 1 0 0 0,0-1 0 0 0,-2 2 0 0 0,0 0 0 0 0,-1 8 0 0 0,-1 3 0 0 0,0 14-1448-1130 1,-1-5-18639 1130-1</inkml:trace>
  <inkml:trace contextRef="#ctx0" brushRef="#br0" timeOffset="5907.205">44 850 5552 205909 40177,'0'0'248'0'0,"0"0"48"0"0,0 0-232 0 0,0 0-64 0 0,0 0 0 0 0,0 0 808 0 0,0 0 152 0 0,1 1 32 0 0,3 3 840 0 0,4 3-256 0 0,0 3-792 0 0,2 2-208 0 0,1 4 472 0 0,2 7-168 0 0,0 3-552 0 0,-2 2-8 0 0,-1-1-1 0 0,-1 0-111 0 0,0 5 152 0 0,1 2-184 0 0,0 2-96 0 0,0 9-16 0 0,1 4 32 0 0,-1 2-96 0 0,0 9 64 0 0,-2 1-64 0 0,0 15 64 0 0,0 15-64 0 0,1 13-104 0 0,1 15-10231 0 0,-1-13 3079 0 0</inkml:trace>
  <inkml:trace contextRef="#ctx0" brushRef="#br0" timeOffset="41325.69">0 2415 0 206810 41700,'0'0'0'0'0,"0"0"0"0"0,0 0 0 0 0,0 0 0 0 0,0 0 680 0 0,0 0-136 0 0,0 0 104 0 0,0 0 24 0 0,0 0-256 0 0,0 0-64 0 0,0 0 0 0 0,0 0-8 0 0,0 0-32 0 0,0 0-8 0 0,0 0 0 0 0,0 0 0 0 0,0 0 48 0 0,0 0 16 0 0,0 0 0 0 0,0 0 0 0 0,0 0-216 0 0,0 0-48 0 0,0 0-8 0 0,0 0 0 0 0,0 0 376 0 0,0 0 72 0 0,0 0 8 0 0,0 0 8 0 0,0 0-296 0 0,0 0-56 0 0,0 0-16 0 0,0 0 0 0 0,0 0-32 0 0,0 0-16 0 0,0 0 0 0 0,0 0 0 0 0,0 0-24 0 0,0 0-8 0 0,0 0 0 0 0,0 0 0 0 0,0 0-112 0 0,0 0 0 0 0,0 0 64 0 0,0 0-64 0 0,0 0 160 0 0,0 0 192 0 0,0 0-32 0 0,0 0-48 0 0,0 0-24 0 0,2 0-40 0 0,2 0-104 0 0,3 0-104 0 0,2 0 64 0 0,0 0-64 0 0,-2 0 80 0 0,1 0-8 0 0,-2 0 0 0 0,0 1 0 0 0,-1 2-72 0 0,1-1 0 0 0,2 2-80 0 0,3 2 80 0 0,1 0 0 0 0,-1 0 0 0 0,-2-1 0 0 0,0 1 0 0 0,1 2 0 0 0,-1-1 0 0 0,-2 1 0 0 0,1-1 0 0 0,-2 0 0 0 0,-1 0 0 0 0,-1-1 0 0 0,0 0 0 0 0,-1 2 64 0 0,1 2-64 0 0,1 1 0 0 0,0 2 0 0 0,1 0 0 0 0,-2-2 0 0 0,0 0 0 0 0,-1-3 0 0 0,0 0-152 0 0,0-3 24 0 0,-1-1 0 0 0,-1-1-1272 0 0,0-2-10032 0 0</inkml:trace>
  <inkml:trace contextRef="#ctx0" brushRef="#br0" timeOffset="42285.978">160 2361 6648 207176 42044,'0'0'288'0'0,"0"0"72"0"0,0 0-288 0 0,0 0-72 0 0,0 0 0 0 0,0 0 0 0 0,0 0 2064 0 0,0 0-1320 0 0,0 0-336 0 0,0 0-72 0 0,0 0-16 0 0,0 0 0 0 0,0 0-176 0 0,0 0-40 0 0,0 0-8 0 0,0 0 0 0 0,0 0-16 0 0,2 1 64 0 0,3 1-72 0 0,1 2 24 0 0,3 2-96 0 0,0 0 96 0 0,0 0-24 0 0,0 0 0 0 0,0 1 0 0 0,0 1 120 0 0,0 3-64 0 0,-1 0 0 0 0,0 0 0 0 0,-1 1-24 0 0,1 1 0 0 0,-2-1 0 0 0,2 2 80 0 0,0 1-112 0 0,-2-1 0 0 0,0 0 0 0 0,0 0-8 0 0,-1-2 32 0 0,0-1-32 0 0,0 1-64 0 0,0-3 0 0 0,-2 0 0 0 0,0-3 64 0 0,0 0-64 0 0,0-1 64 0 0,-1-1 0 0 0,-1-2-64 0 0,0-1 80 0 0,-1 0-80 0 0,0-1 80 0 0,0-1-80 0 0,0 1 0 0 0,0 0 0 0 0,0 0 64 0 0,0 0-64 0 0,-1-1-128 0 0,1 1 32 0 0,0-1 8 0 0,-1-7-744 0 0,0-4 536 0 0,-2-6-752 0 0,-1-3 696 0 0,-2-5-656 0 0,-1-1 512 0 0,0-1 264 0 0,1 3 120 0 0,0 5 112 0 0,3 3 0 0 0,0 4 0 0 0,2 2 0 0 0,1 1 160 0 0,0 2 48 0 0,0 1 16 0 0,0 1 352 0 0,0 0-192 0 0,1 2 8 0 0,-1 2 272 0 0,0 1-176 0 0,0 0-120 0 0,0 1-152 0 0,0 0-112 0 0,0 1-16 0 0,3-1-8 0 0,0 0 0 0 0,3 2 0 0 0,3 1-80 0 0,0 1 80 0 0,1 1-80 0 0,1 1 80 0 0,1 2-80 0 0,-1 1 64 0 0,0 0-64 0 0,0 1 64 0 0,0 1-64 0 0,-1-1 0 0 0,-1 1 0 0 0,0 1 0 0 0,-1-1 0 0 0,-1 1 0 0 0,-1-1 0 0 0,0 1 64 0 0,1 1-64 0 0,-1 0 0 0 0,0 1 0 0 0,0 2 0 0 0,0 0 64 0 0,-1 0-64 0 0,-1-1 0 0 0,0 0 64 0 0,-2-2-64 0 0,1-1 64 0 0,-2-1-64 0 0,0-2 0 0 0,1-1 64 0 0,0-2-64 0 0,-1-1 0 0 0,0-2 0 0 0,-1-1-128 0 0,1-1 24 0 0,-2-1-392 0 0,0-4-416 0 0,-2-5-160 0 0,0-5-216 0 0,-1-5 0 0 0,-1-6 24 0 0,0 0 632 0 0,-1-5-1288 0 0,-1 0 1280 0 0,-1 0-176 0 0,1 2 576 0 0,1 3 368 0 0,2 5 64 0 0,0 3 24 0 0,2 3 0 0 0,0 3 560 0 0,0 2 120 0 0,0 1 16 0 0,0 2 8 0 0,1 2-64 0 0,0 2-16 0 0,1 1 0 0 0,0 1 440 0 0,0 0-928 0 0,0 0-8 0 0,0 0 192 0 0,0 1-360 0 0,0-1-8 0 0,0 0 0 0 0,2 2-56 0 0,3 2-16 0 0,1 0 0 0 0,1 3 0 0 0,1 0 0 0 0,1 3-8 0 0,0 0 0 0 0,1 4 0 0 0,1 4 8 0 0,0 0 0 0 0,-2 0-96 0 0,-1 3 64 0 0,-2 3 0 0 0,-1 1-64 0 0,-1-1 0 0 0,-2-2 0 0 0,0-2 64 0 0,-1-2-64 0 0,0-1 64 0 0,0-2-64 0 0,-1-1 64 0 0,0 1-64 0 0,-1-2 0 0 0,0-3 64 0 0,0-3-64 0 0,1-2 64 0 0,-1-3-152 0 0,1-1-32 0 0,0-1-8 0 0,0 0 0 0 0,2-5-1288 0 0,2-3 912 0 0,1-9-2352 0 0,0-1-6984 0 0</inkml:trace>
  <inkml:trace contextRef="#ctx0" brushRef="#br0" timeOffset="42892.06">643 2391 920 207047 44818,'0'0'0'0'0,"0"0"80"0"0,0 0-80 0 0,0 0 0 0 0,0 0 0-3-542,0 0 1576 3 542,0 0 304 0 0,0 0 56 0 0,0 0 656 0 0,0 0-1872 0 0,0 0-400 0 0,1 2-128 0 0,2 4 136 0 0,1 5-72 0 0,1 6-88 0 0,0 1-88 0 0,0 8-16 0 0,-1 7 0 0 0,-2 3-64 0 0,1-2 64 0 0,-1 1-64 0 0,-2-1 0 0 0,0-4 0 0 0,-2-1 64 0 0,1 1 0 0 0,-1-3-64 0 0,-1-3 0 0 0,1-5 0 0 0,0-4 0 0 0,1-4 0 0 0,0-5 0 0 0,1-3 64 0 0,0-2-64 0 0,-2-2 0 0 0,0-1 64 0 0,0-3-64 0 0,0-3-96 0 0,1-4 96 0 0,0-3-152 0 0,1-5-80 0 0,1-8-160 0 0,1-5-240 0 0,1 0 312 0 0,1-4-1408 0 0,0 4 1128 0 0,1 3-648 0 0,0 6 848 0 0,0 4 280 0 0,-2 5 120 0 0,0 6-96 0 0,-1 4 96 0 0,-1 2 64 0 0,0 3 64 0 0,-1 1 24 0 0,-1 0 0 0 0,1 0 368 0 0,0-1 80 0 0,0 1 8 0 0,0 0 8 0 0,0-1-104 0 0,0 0-16 0 0,0 0-8 0 0,0 0 0 0 0,0 0-160 0 0,0 0 256 0 0,1 4-296 0 0,1 4-432 0 0,1 6 248 0 0,-1 4 376 0 0,-1 3-232 0 0,0 1-184 0 0,-1-1-64 0 0,0-2 0 0 0,-1 3 0 0 0,-2 5 0 0 0,-1 7 64 0 0,-1 4-64 0 0,-2 1 64 0 0,0-3-64 0 0,1-4 0 0 0,0-7 0 0 0,2-8 0 0 0,1-6-200 0 0,1-5-288 0 0,1-7-232 0 0,0-6-320 0 0,0-5 512 0 0,1-10-1320 0 0,0-1-5712 0 0</inkml:trace>
  <inkml:trace contextRef="#ctx0" brushRef="#br0" timeOffset="43960.936">766 2391 3680 208843 41385,'0'0'160'0'0,"0"0"40"0"0,0 0-200 0 0,0 0 0 0 0,0 0 1344 0 0,0 0 232 0 0,0 0 48 0 0,0 0 8 0 0,0 0-1064 0 0,0 2-216 0 0,0 3-32 0 0,0 2-16 0 0,0 2-144 0 0,-1 1 88 0 0,-2 5-64 0 0,0 1-184 0 0,-1 2 88 0 0,-1 0-88 0 0,0 1 80 0 0,0 0-80 0 0,0 1 64 0 0,-1 1-64 0 0,-1 1 64 0 0,0 1-64 0 0,-2 1 64 0 0,-1 0-64 0 0,0 1 0 0 0,-2 0 0 0 0,0 0 64 0 0,-1 0-64 0 0,0-2 0 0 0,-1-1 0 0 0,1-1 0 0 0,0-3 0 0 0,1-2 0 0 0,1-2 0 0 0,2-2 0 0 0,1-2 64 0 0,2-1-64 0 0,-1-3 0 0 0,2-2 0 0 0,0-2 64 0 0,1-1-64 0 0,1-2 0 0 0,3-4 0 0 0,0-1-128 0 0,2-3 0 0 0,1-2 8 0 0,1-1 0 0 0,1-2-24 0 0,1-3-160 0 0,1-3 152 0 0,0 0 32 0 0,-1 0 8 0 0,0 0 0 0 0,0 2 0 0 0,0-1-24 0 0,-1 2-8 0 0,1 0 0 0 0,0-2-120 0 0,2 0 152 0 0,-1 0 0 0 0,1 2 0 0 0,-1 2 112 0 0,-2 3-72 0 0,-1 3 72 0 0,-1 5 0 0 0,-2 1 0 0 0,0 3 0 0 0,-1 0 96 0 0,-1 0 72 0 0,1 1-88 0 0,1 1 24 0 0,1 5 120 0 0,0 3-112 0 0,0 3 16 0 0,-1 1 0 0 0,-1 0 0 0 0,-3 1 0 0 0,-1-1-16 0 0,-3 3 112 0 0,-4 6-8 0 0,-5 6-8 0 0,-1 3-104 0 0,-1 0-8 0 0,0 0 80 0 0,-1 0-24-508-1,2-3-88 508 1,2-3 0 0 0,4-5 0-498 2,-1-3 0 498-2,4-3 0 0 0,1-5-64 0 0,4-4 0 0 0,1-3 0 0 0,1-2 0 0 507,1-1 0 0-507,0-1 0 0 0,5-4 64 0 0,7-8-64 0 0,4-8 0 0 0,6-7 0 0 0,3-7-128 0 0,3-4-120 0 0,0-1-56 0 0,-4 3 112 0 0,-4 4-8 0 0,-5 7 0 0 0,-3 4 32 0 0,-5 7 8 0 0,-2 3 0 0 0,-2 5-88 0 0,-1 3 184 0 0,-2 2 0 0 0,0 2 0 0 0,-1 1 64 0 0,1 0-96 0 0,-1-1 96 0 0,-2 2-96 0 0,1 1 96 0 0,-1 2 0 0 0,-1 2 0 0 0,-1 0 0 0 0,-2 3 64 0 0,1 1 24 0 0,-1 3 8 0 0,-2 4 224 0 0,-3 5 200 0 0,-4 5 0 0 0,1 1-272 0 0,1-2 0 0 0,1 0 144 0 0,1-3-144 0 0,1-2-128 0 0,2-6-40 0 0,3-4 64 0 0,1-4-72 0 0,3-3 8 0 0,1-3-80 0 0,0-1 80 0 0,2-2 16 0 0,-1 0 0 0 0,4-7-16 0 0,3-5 0 0 0,2-7-80 0 0,2-4 64 0 0,0-1-64 0 0,0-1 0 0 0,-1 0 0 0 0,-1 3 64 0 0,0 0-64 0 0,0 0 0 0 0,1-1 0 0 0,-2 2 0 0 0,-1 2 0 0 0,-2 5 0 0 0,-2 3 0 0 0,-1 4 64 0 0,-1 3 64 0 0,-1 3 16 0 0,0 1 0 0 0,-1 1 0 0 0,1 1 32 0 0,0 1 8 0 0,-1 3 0 0 0,-1 5 128 0 0,-2 6-64 0 0,1 7-41 0 0,-2 6-47 0 0,0 1-8 0 0,-1-1-80 0 0,0 0 72 0 0,-2-4-64 0 0,2-1 0 0 0,0-6-80 0 0,2-4 0 0 0,0-5 64 0 0,1-3-64 0 0,2-3 0 0 0,0-2 72 0 0,1-1-72 0 0,0-1 144 0 0,0-1-144 0 0,1-3 0 0 0,2-2 0 0 0,0-1 0 0 0,1-3 0 0 0,1-2 64 0 0,1-1-64 0 0,1-2 0 0 0,1-2 0 0 0,0 0 0 0 0,0-1 0 0 0,2-6 0 0 0,0-2 0 0 0,1 3 0 0 0,-1 2 0 0 0,-1 1 0 0 0,1 0 0 0 0,0 0 0 0 0,0-3 0 0 0,0 0 0 0 0,-1 3 0 0 0,0-1 0 0 0,0 3 0 0 0,0 3 0 0 0,1 0-104 0 0,-1 1 32 0 0,0 2 72 0 0,-1 1 0 0 0,0 1 0 0 0,-1 1 0 0 0,2 0 0 0 0,-1 1-96 0 0,1 2 96 0 0,-2 2-96 0 0,0 0-4015 0 0,-1 2-3721 0 0,-2 1 2544 0 0</inkml:trace>
  <inkml:trace contextRef="#ctx0" brushRef="#br0" timeOffset="45605.868">792 2353 1840 206028 39675,'0'0'160'0'0,"0"0"-160"0"0,0 0 1136 0 0,0 0 192 0 0,0 0 40 0 0,0 0 8 0 0,0 0-576 0 0,0 0 544 0 0,0 0-48 0 0,0 0-664 0 0,0 0 0 0 0,0 0 248 0 0,0 0-552 0 0,0 0 312 0 0,0 0-80 0 0,0 0 16 0 0,0 0 0 0 0,0 0-304 0 0,0 0-56 0 0,0 0-16 0 0,0 0 127 0 0,0 0-223 0 0,0 0 0 0 0,0 0 0 0 0,-2 0-104 0 0,-3 1 72 0 0,-3 2-8 0 0,-3 3-64 0 0,-1 2 0 0 0,-4 4 0 0 0,-4 6 64 0 0,-3 4-64 0 0,2 0 64 6 581,0 2 0-6-581,1 0-64 0 0,3-3 64 0 0,1-1-64-8 526,3-5 64 8-526,4-4 8 0 0,5-7-8 4 534,2-6-64-4-534,3-6 64 0 0,3-4-64 0 0,2-3 0 0 0,1-2 0 0 0,0-1 0 0 0,0 0 0 0 0,2-1 0 0 0,0-3 0 0 0,0-2 64 0 0,-1-3-64 0 0,-1 2 0 0 0,-3 5 0 0 0,-1 6 64 0 0,-2 6-64 0 0,-2 3 0 0 0,-3 5 0-3 497,-4 2 0 3-497,-2 2 0 0 0,-1 2 0 0 0,-1 0 0 9 515,-3 3 72-9-515,0 1 8 0 0,1 1 0 0 0,0 3 0 0 0,1 2 16 0 0,4 3 0 0 0,2 1-96 0 0,5-2-80 0 0,3-2-4735 0 0,5-2-945 0 0,0-4-1672 0 0</inkml:trace>
  <inkml:trace contextRef="#ctx0" brushRef="#br0" timeOffset="46178.746">750 2343 6648 205788 42767,'0'0'288'0'0,"0"0"72"0"0,-1-1-288 0 0,-2-2-72 0 0,-2-3 0 0 0,1-2 824 0 0,-1-1 144 0 0,0 0 32 0 0,1-2 8 0 0,-2 0-288 0 0,2-1-56 0 0,0 1-16 0 0,-1-1 0 0 0,2 3 920 0 0,0 2-1056 0 0,2 3-288 0 0,0 1-56 0 0,0 5-9 0 0,-1 6 169 0 0,1 8 40 0 0,0 6-184 0 0,1 3-256 0 0,0 1-56 0 0,0 1 0 0 0,2 1 72 0 0,-1 1 312 0 0,1 0-1631 0 0,-1-3-473 0 0,1-6-64 0 0,-1-6-8 0 0,-1-7-8256 0 0</inkml:trace>
  <inkml:trace contextRef="#ctx0" brushRef="#br0" timeOffset="46253.174">493 688 3224 210373 40915,'-3'-4'136'0'0,"-1"-1"40"0"0,-3-1-176 0 0,-1 0 0 0 0,-2-1 0 0 0,1-1 952 0 0,0 0 152 0 0,0-1 32 0 0,0 0 8 0 0,1-2-376 0 0,0 1-80 0 0,1-2-16 0 0,1 0 0 0 0,0-2-104 0 0,0 1-24 0 0,2-1-8 0 0,1-1 0 0 0,0 1-120 0 0,1-1-32 0 0,1 1 0 0 0,-1 0 0 0 0,0 0 0 0 0,1 2-8 0 0,0 0 0 0 0,0 2 0 0 0,1 1-144 0 0,0 2-24 0 0,0 0-9 0 0,0 3 1 0 0,0 0-72 0 0,0 2-8 0 0,0 1-8 0 0,0 1 0 0 0,2 1-112 0 0,4 6 64 0 0,3 3-64 0 0,2 3 0 0 0,0 1 64 0 0,1 3-64 0 0,3 5 160 0 0,3 7 112 0 0,3 6-136 0 0,2 6-136 0 0,0 1-72 0 0,-2-2 136 0 0,-1-2 32 0 0,-2-2 8 0 0,-2-1 0 0 0,-1 0-16 0 0,-2 0-8 0 0,-1 1 0 0 0,-2 1 0 0 0,2 0 0 0 0,1 1 0 0 0,2 0 0 0 0,1 0 0 0 0,2 0-16 0 0,2 0 0 0 0,0 1 0 0 0,1-2 0 0 0,0 0-64 0 0,6 6 0 0 0,0 2 0 0 0,-2-1 0 0 0,-4-3 0 0 0,-3-1 72 0 0,-3-2-72 0 0,-3-2 0 0 0,-2 0 0 0 0,-1 0 0 0 0,-1 0 64 0 0,-1-1-64 0 0,-1 1 72 0 0,-2 0-72-549-1,-2 6 80 549 1,-1 4-80 0 0,-3-1 72-528 0,-2 0-72 528 0,-1-2 0 0 0,-1 0 72 0 0,0 0-72 0 0,0 1 0 0 0,0 0 96-545 1,-2-1-32 545-1,-5 13 0 0 0,-2 3-176 0 0,-1-5 8 0 0,1-5 0 0 0,0-8 104 0 0,3-6 0 0 0,1-6 0 0 0,3-4 0 0 0,1-5 0 0 0,3-6 0 0 0,1-6 0-515-1,1-3 0 515 1,1-3-184 0 0,1-2-8 0 0,-1-3-8 0 0,-3-2 0 0 0,-3-5-3103-493 2,-2-10 1471 493-2,-2-7-16 0 0,2 1-9872 0 0</inkml:trace>
  <inkml:trace contextRef="#ctx0" brushRef="#br0" timeOffset="48890.32">333 1558 5872 206244 39406,'-1'-3'256'0'0,"-1"-3"64"0"0,1-3-256 0 0,0-2-64 0 0,0-3 0 0 0,1-5 880 0 0,-1-8 1248 0 0,1-3-1040 0 0,-1 1-192 0 0,0 1-32 0 0,-1 3 0 0 0,-1 3-8 0 0,0 3-184 0 0,1 6-32 0 0,0 4 0 0 0,1 4 311 0 0,1 3-687 0 0,-1 3-8 0 0,0 8 56 0 0,0 6-312 0 0,1 4 0 0 0,0 3 72 0 0,3 3-72 0 0,0 2 0 0 0,1 2 72 0 0,1 3-72 0 0,-1 1 64 0 0,1 1-64 0 0,2 15 144 0 0,1 5-144 0 0,-1 0 0 0 0,-2-4 0 0 0,-2-5 0 0 0,0-1 0 0 0,0-3 0 0 0,-2-5 80 0 0,0-6-80 0 0,0-5 80 0 0,0-8-80 0 0,0-6 368 0 0,0-5-56-5 563,-1-6-88 3-48,0-6 0 2-515,0-8 144 0 0,1-13-112 0 0,1-5-128 0 0,0-4-56 0 0,1-2-8 0 0,0-1-64 0 0,0 1 96 0 0,0 2-24 0 0,-1 3-8 0 0,0 1 0 0 0,-3 0 80 2 514,-2 3-64-2-514,-1 3 0 0 0,0 7 0 0 0,-2 3 0 0 0,0 4 0 0 0,-1 3 0 0 0,-2 1 0 0 0,0 4-80 0 0,-1 2 0 0 0,0 2 72 0 0,1 3-72 0 0,-1 4 0 0 0,1 3 0 0 0,0 3 0 0 0,-2 3 0 0 0,2 2 0 0 0,0 4 0 0 0,1 4 0 0 0,3 4 0 0 0,2 3-168 0 0,2 1 8 0 0,1 1 0 0 0,4 2 0 0 0,8 8-4839 0 0,2-2-10777 0 0</inkml:trace>
  <inkml:trace contextRef="#ctx0" brushRef="#br0" timeOffset="50109.982">669 796 5984 209280 41166,'-3'-3'264'0'0,"-1"-2"56"0"0,-3-1-256 0 0,0-2-64 0 0,-3-2 1280 0 0,-2-1 248 0 0,0 1 40 0 0,0 0 16 0 0,1 0-624 0 0,0 2 672 0 0,1-1-321 0 0,2 1-407 0 0,2 1-312 0 0,4 0-416 0 0,0 0-96 0 0,3 2 0 0 0,-1 2 0 0 0,3 1 0 0 0,5 3 64 0 0,4 3-144 0 0,1 3 96 0 0,3 3-32 0 0,2 2-64 0 0,1 4 0 0 0,-1 4 0 0 0,1 1 0 0 0,-1 4 0 0 0,1 3 0 0 0,-1 4 64 0 0,-1 4-64 0 0,0 3 80 0 0,1 5-80 0 0,5 25 184 0 0,3 21-104 0 0,-1 6-80 0 0,-2-2 0 0 0,-4-8-160 0 0,-3-8 32 0 0,-4-7-7455 0 0,-4-15-3745 0 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39:58.339"/>
    </inkml:context>
    <inkml:brush xml:id="br0">
      <inkml:brushProperty name="width" value="0.35" units="cm"/>
      <inkml:brushProperty name="height" value="2.1" units="cm"/>
      <inkml:brushProperty name="color" value="#B08200"/>
      <inkml:brushProperty name="inkEffects" value="pencil"/>
    </inkml:brush>
  </inkml:definitions>
  <inkml:trace contextRef="#ctx0" brushRef="#br0">115 1290 1376 203681 40765,'0'0'64'0'0,"0"0"8"0"0,0 0-72 0 0,0 0 0 0 0,0 0 0 0 0,0 0 1136 0 0,0 0 208 0 0,0 0 48 0 0,0 0 8 0 0,0 1-784 0 0,0-1-152 0 0,0 0-32 0 0,0 0-8 0 0,0 0-72 0 0,-2 0 328 0 0,0 1-344 0 0,0-1-40 0 0,-1 1 280 0 0,1 0-288 0 0,-2 2-112 0 0,0 0-24 0 0,0 1-8 0 0,1-1 0 0 0,-2 1 168 0 0,38-29 32 0 0,12-9 8 0 0,-2 2 0 0 0,-8 7-352 0 0,-11 9-176 0 0,-11 9 16 0 0,-8 8 8 0 0,-7 4 152 0 0,-32 27 64 0 0,-11 9-64 0 0,1 0 96 0 0,8-5 8 0 0,9-7 0 0 0,8-7 0 0 0,8-3 0 0 0,3-2-104 0 0,4 0 0 0 0,-2 3 0 0 0,-1 1 0 0 0,1 1 0 0 0,0-1 0 0 0,2-1 0 0 0,0 0 208 0 0,0 0 48 0 0,2 0 0 0 0,-1 2 8 0 0,0 1-192 0 0,0 2-72 0 0,2 1 0 0 0,0 2 72 0 0,0-1-72 0 0,1 1 64 0 0,0 0-64 0 0,1 3 64 0 0,0 2-64 0 0,1 0 0 0 0,-1-2 64 0 0,0-2-64 0 0,0-2 0 0 0,-1 0 0 0 0,1 4 160 0 0,1 7 184 0 0,1 1-168 0 0,1 0-272 0 0,-1-1-48 0 0,1-1-16-512 0,-1-1 0 512 0,1 0 160 0 0,-1 2 0 0 0,2-2 0 0 0,1 4 0-1019 2,3 3 0 1019-2,1 1 0 0 0,1-3 0 0 0,2 1 0 0 0,2-1 0 0 0,0-2 0 0 0,1-4 0 0 0,0-2 0 0 0,1-3 0 0 0,0-2 0 0 0,1 2 0 0 0,2 2 0-551 1,0 0 0 551-1,-2-2 0 0 0,0-4 0 0 0,-3-3 0 0 0,0-2 0 0 0,-1-1 0 0 0,0 0 0 0 0,0 1 0 0 0,2 5 0 0 0,3 5-248 0 0,1 2 56 0 0,0-2 0-529-7,1 0-1088 529 7,-2-2 0 0 0,-3-7-10280 0 0</inkml:trace>
  <inkml:trace contextRef="#ctx0" brushRef="#br0" timeOffset="625.454">335 1325 920 199993 42034,'0'0'80'0'0,"0"0"-80"0"0,0 0 0 0 0,0 0 0 0 0,0 0 1000 0 0,-1-1 184 0 0,-1 0 40 0 0,0-1 8 0 0,0-1-520 0 0,-1-3 488 0 0,0-1-616 0 0,0-1 864 0 0,0 2-976 0 0,0 2 832 0 0,-2 1-872 0 0,1 3-176 0 0,0 3-32 0 0,-1 2 0 0 0,-1 1-8 0 0,1 0-56 0 0,0 3-16 0 0,0 1 0 0 0,0 6 160 0 0,0 7 32 0 0,-2 10 24 0 0,0 5-168 0 0,1 2 0 0 0,0 2 0 0 0,0 1-56 0 0,0 0-8 0 0,1 1 0 0 0,-1 0 0 0 0,1 0-32 0 0,2 6 64 0 0,0 4-80 0 0,1-1 24 0 0,3 5 120 0 0,2 0-112 0 0,1-2 0 0 0,1-2 0 0 0,1-3 0 0 0,3 11 87 0 0,2 4-119 0 0,3 2 0 0 0,3 10 0 0 0,4 0 0-522 4,1-4-80-141-9,0-7 80 663 5,-2-6-80 0 0,0-7 0 0 0,-2-4 0 0 0,-1-5 64 0 0,0-3-64 0 0,1-1 64 0 0,0-1-64 0 0,1 0 64 0 0,1 0-64 0 0,3 9 0 0 0,5 10-176-713 1085,1 2 0 157-1085,1-4 0 556 0,-1-6 0 0 0,3 5-1367-498-3,0-4-2505 498 3,-3-7-704 0 0,-6-10-1360 0 0</inkml:trace>
  <inkml:trace contextRef="#ctx0" brushRef="#br0" timeOffset="1241.458">356 1301 1376 191671 44582,'0'0'128'0'0,"0"0"-128"1313"6,0 0 1024-1313-6,0 0 176 0 0,0 0 40 0 0,0 0 8 0 0,-1 4 448 0 0,-1 3-1192 532-3,-1 6 608 220 0,-1 3-752-752 3,-2 2-32 567 7,0 0-8-567-7,-1 0 0 0 0,1 0 0 0 0,-1 0-80 0 0,1 3 200 0 0,1-1-224 0 0,1 6 144 0 0,1 7-184 0 0,2 9-112 0 0,1 7 32 0 0,4 4 16 0 0,3 13 112 0 0,2 5-112 0 0,3 1-8 0 0,2-2 0 0 0,0-2 0 0 0,7 10 96 0 0,3 2-112 0 0,1 2 0 0 0,1-2 0 0 0,-1-4-88 0 0,0-3 96 0 0,0-4-96 0 0,4 6 96 0 0,6 8-96 0 0,8 8-680 0 0,6 4-1080 0 0,0-4 864 0 0,-8-18-9952 0 0</inkml:trace>
  <inkml:trace contextRef="#ctx0" brushRef="#br0" timeOffset="55539.186">313 89 3224 205916 43275,'0'0'288'624'-3,"0"0"-288"-67"2,1 3 0-557 1,0 1 0 0 0,1 1 1480 0 0,-1-2 248 0 0,-1 0 40 0 0,1-2 16 0 0,-1 0-664 647 3,0-1-128-647-3,0 0-24-7 512,0 0-8 7-512,0-3-224 0 0,0-6 639 0 0,0-4-695 0 0,0-2-56 0 0,0-1 592 555 3,0 0-608-555-3,0 3-128-5 513,0 2 424 5-513,0 5-456 0 0,0 2-216 0 0,0 2-40 0 0,0 1-16 0 0,0 2 0 0 0,0-1-48 0 0,1 2 0 0 0,0 2-8 0 0,2 4 0 0 0,1 1 0 0 0,2 5 120 0 0,0 1-120 0 0,0 1 8 703-1,-1-1 0-703 1,1 1 0-3 515,-2 0 0 3-515,0-1-32 0 0,-1 1 0 538 0,0 1 0-39-1,-2 1 0-499 1,1 0-16 0 0,-1 6 64 0 0,1 5-72 2 666,-1 1-72-2-666,-1 0 0 0 0,-1-1 64 0 0,0-2-64 2 598,-1 3 0-2-598,-1 0 0 0 0,-1-1 0 0 0,0-2 64 0 0,0-3-64 0 0,0-3 0 0 0,0-1 256 0 0,2-1 16 0 0,0-2 0 0 0,1-3 0 0 0,0 2-1616 0 0,-1-3 832 0 0,1-2 592 0 0,0-4 112 0 0,1-3 32 0 0,-2 0 0 0 0,-3-1-224 0 0,1 0 0 0 0,-2-2-96 0 0,-2 0 96 0 0,0-3-1136 0 0,-1 0 752 0 0,0-7-4752 0 0,0-4-2103 0 0,2 1-3161 0 0</inkml:trace>
  <inkml:trace contextRef="#ctx0" brushRef="#br0" timeOffset="57637.505">388 51 1840 208083 48852,'0'0'80'0'0,"0"0"16"0"0,-1-1-96 0 0,1-2 0 0 0,-1-2 7136 171-526,2-2-4552-171 526,0 7-224 649-2,1 8-1736-649 2,-2 11 848-886 4,0 6-601 886-4,-3 4-127-527-6,0 0-376 527 6,-2-3-112 0 0,0-4-32 0 0,0-1 0 0 0,-2 4 104 0 0,-3 6-176 0 0,-2 7-80 0 0,-1 7-72 0 0,0-1 64 0 0,0-4-64 0 0,-2-3 0 0 0,2-3 0 0 0,1 0 0 0 0,2 0 0 0 0,0-3-72 0 0,0-4-160 0 0,1-5-24 0 0,0-6-112 0 0,1-6-168 0 0,2-7-88 0 0,1-8-104 0 0,0-7-295 0 0,3-7-417 0 0,3-7 40 0 0,3-10 88 0 0,2 2-10192 0 0</inkml:trace>
  <inkml:trace contextRef="#ctx0" brushRef="#br0" timeOffset="58198.974">394 140 1840 206587 47188,'0'2'160'0'0,"2"2"-160"0"0,0 1 0 0 0,0-1 1624 0 0,1 3 288 0 0,-1 2 56 610-2,0 1 16-610 2,0 3-1024 0 0,0 6 504 0 0,1 5-248 0 0,-1 8-272 0 0,1 4-152 536 3,0 8-192-536-3,-1 3-64 0 0,0-1-312 0 0,-2-4-1 0 0,2-4 1 0 0,-1-5-88 0 0,-1 0 96 0 0,0 0-56 0 0,-1-1-112 0 0,0-7 32 0 0,0-8 0 0 0,1-6 80 0 0,0-5-88 0 0,0-4 8 0 0,0-2 112 0 0,-1-5-40 0 0,0-3-104 0 0,0-3-64 0 0,1-3 96 0 0,2-4-96 0 0,1-7 0 0 0,1-3 0 0 0,1-1 0 0 0,1-4 0 0 0,1-1 0 0 0,1 1 96 0 0,2-3-32 0 0,0-3 384 0 0,0-4 352 0 0,-1 1-72 0 0,-1 5-136 0 0,-2 9-296 0 0,-2 9-232 549-3,-2 7-64-549 3,-1 7 0 0 0,1 5 288 0 0,0 4 16 0 0,3 4 8 5 508,0 6 152-5-508,-1 4-344 0 0,1 0-8 0 0,-2 4 96 0 0,1 3-16 1 510,-1 7-16-1-510,-1 4-104 0 0,-1-2 0 0 0,0 1 0-3 554,-1 0-8 3-554,-1-1 0 0 0,0-6 8 0 0,-1-8-72 0 0,1-8 64 0 0,0-5-64 0 0,1-4 0 0 0,-1-3 72 0 0,1-1-72 0 0,0-1 96 0 0,0 1-96 0 0,0 0 64 0 0,0-2-64 0 0,0-2 0 0 0,0-6 0 0 0,1-3 0 0 0,1-3 0 0 0,0-8 0 1 1047,1-5 0-1-1047,1-1 0 0 0,2-7-120 0 0,0-7-288 0 0,1-2 192 0 0,-1 2 216 0 0,1 0 0 0 0,0 4 0 0 0,0 5 0 0 0,-2 9 0 0 0,0 9 0 678 3,-2 8 0-678-3,-1 7 0 0 0,-1 7 0 557 1,0 9 0-557-1,0 7 0 0 0,-1 3 0 0 0,0 5 0 0 0,0 4 0 0 0,0-1 136 0 0,0 0 72 0 0,0-1 16 0 0,0 2 0 0 0,-1 3-160 0 0,-1 2-64 0 0,0-3 0 0 0,0-4 0 0 0,-1-5 0 0 0,1-5 64 0 0,0-6-64 0 0,1-7 0 0 0,0-3 64 0 0,0-3-64 0 0,1-1 0 0 0,0-1 64 0 0,0-2-64 0 0,-2-4 0 0 0,-1-5 64 0 0,-1-9-64 0 0,-1-7 0 0 0,3-8 0 0 0,2-4 0 0 0,1 2 0 0 0,2 3 0 0 0,0 5 0 0 0,0 6 0 0 0,-1 5 0 0 0,1 3 0 0 0,-2 2 0 0 0,0 4-72 504-7,-1 4 72-504 7,0 3 0 0 0,0 4 0 0 0,0 4 0 0 0,0 6 0 0 0,0 8 0 0 0,0 5 0 0 0,-1 2 0 0 0,-1 6 0 0 0,-2 6 0 0 0,-1 2 0 0 0,-1-2 0 0 0,-1 0 0 0 0,-1 0 0 0 0,0-5 0 0 0,0-4 0 0 0,0-3 208 0 0,-2 1 248 0 0,-1 2-392 0 0,-1-2-584 0 0,1-4 248 0 0,3-6 160 0 0,2-7 32 0 0,0-5 8 0 0,-1-6 0 0 0,-1-4-24 0 0,-1-8-112 0 0,1-8 0 0 0,0-6 0 0 0,3-6-32 0 0,2-6-48 0 0,1-1 144-525 3,1 2 48-32-4,1 3 0 557 1,-1 2 8 0 0,0-5 0 0 0,-1-3 88 0 0,-1 1 0 0 0,1 4 0 0 0,-1 5 0 0 0,0 7 200 0 0,0 9 56 0 0,1 6 16 0 0,-3 8 0 0 0,-1 8-368 0 0,2 5 0 0 0,-2 8 0 0 0,-2 8 264 0 0,-2 8-32 0 0,0 3-136 0 0,0-2 96 0 0,1 2-32 0 0,-1 3 8 0 0,1-4-72 0 0,2-4 0 0 0,0-2 0 0 0,1-1 64 0 0,0-4-64 0 0,1-6 0 0 0,2-7 0 0 0,1-6 0 0 0,1-4 0 0 0,1-3 64 0 0,-1-3-64 0 0,0-6 0 0 0,0-8 0 0 0,0-5-96 0 0,2-1 96 0 0,1-6-200 0 0,3 0 88 0 0,0-2 0 0 0,1-3-72-567-2,1-3 56 567 2,-1-1 64 0 0,-1 4 64 0 0,-2 5 0 0 0,-1 8 0 0 0,-1 8 200 0 0,0 5 8 0 0,-2 6-80 0 0,-3 6 8 0 0,0 4 0 0 0,-2 3-56 0 0,1 4-16 0 0,-1 2 0 0 0,2 2 0 0 0,-1 0-64 0 0,1 2 96 0 0,1 0-96 0 0,-1 7 96 0 0,0 4-96 0 0,1 2 0 0 0,3 10-528 0 0,6 15-848 0 0,3 2-7631 0 0,1-7-4313 0 0</inkml:trace>
  <inkml:trace contextRef="#ctx0" brushRef="#br0" timeOffset="58624.894">538 1016 8232 209043 50987,'0'0'616'0'0,"1"-4"-376"-571"-3,1-3-240 58 4,-1-3 0 513-1,1-3 888 0 0,0-5 1168-1073 4,0-1-1008 1073-4,-1 4-144 0 0,0-1 848 0 0,1 3-145 0 0,-1 3-207 0 0,0 2-704 0 0,-1 4-160 0 0,0 1-32 0 0,1 2-8 0 0,-3 1 360 0 0,-1 2-520 0 0,-3 2-8 0 0,0 3 0 0 0,-1 3-136 0 0,1 4-32 0 0,-2 3-8 0 0,1 2 0 0 0,0 2-56 0 0,0 2-16 0 0,1 2 0 0 0,0 1 0 0 0,-1 1-80 0 0,1 2 64 0 0,1 1-64 0 0,0 9 64 0 0,1 11-64 0 0,0 3 0 0 0,1-2 0 0 0,1-1 0 0 0,2-2 0 0 0,2-2 0 0 0,1-2 0 0 0,2 4 0 0 0,2 3-360 0 0,1 2-272 0 0,-1-8 312 0 0,-1-8-1960 0 0,-3-11 1480 0 0,-1-18-4919 0 0,-1-9-8113 0 0</inkml:trace>
  <inkml:trace contextRef="#ctx0" brushRef="#br0" timeOffset="59202.291">548 1102 11864 206115 53470,'0'0'520'0'0,"0"0"120"0"0,0 0-512 0 0,0 0-128 1-581,0 0 808-1 581,-1 3 1120 0 0,-4 6-425 0 0,-4 7-655 0 0,0 9-80 0 0,-2 7-64 0 0,2 3-352 0 0,1-1-72 0 0,4-3-24 0 0,1-2 0 0 0,2-3 0 0 0,1-2-104 0 0,1 5 96 0 0,0 0-128 0 0,0 0-120 0 0,2 1 64 0 0,-1-1-64 0 0,0 3 64 0 0,0 1-64 0 0,-1-3 0 0 0,-1-4 72 0 0,0-5-72 0 0,0-4 0 0 0,0-4 64 0 0,0-6 8 0 0,-1-9 72 0 0,0-9-8 0 0,-1-8-136 0 0,1-4 96 0 0,-1-3-32 0 0,1-2-64 0 0,1-5 72 0 0,1-6-72 0 0,-1 1 0 0 0,0 1 0 0 0,2 2 64 0 0,-1 1-64 0 0,1 3 0 0 0,-1 6 0 0 0,-1 9 64 0 0,1 6-64 0 0,-1 5 0 0 0,1 6 0 0 0,2 8 0 0 0,1 5 0 0 0,0 3 0 0 0,1 4 0 0 0,1 6 0 0 0,1 2 0 0 0,-1 3 0 0 0,0 5 0 0 0,0 13 0 0 0,0 6 0 0 0,-1 2 0 0 0,1 0 0 0 0,-1-1 0 0 0,3 10-200 0 0,0 4-8775 0 0,0-11-4457 0 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7:43.356"/>
    </inkml:context>
    <inkml:brush xml:id="br0">
      <inkml:brushProperty name="width" value="0.1" units="cm"/>
      <inkml:brushProperty name="height" value="0.1" units="cm"/>
    </inkml:brush>
  </inkml:definitions>
  <inkml:trace contextRef="#ctx0" brushRef="#br0">74 80 2704 0 0,'0'0'124'0'0,"-1"-1"-8"0"0,-4-1-81 0 0,4 2 81 0 0,-1-1 0 0 0,1 0 1 0 0,0 0-1 0 0,0 0 0 0 0,0 1 1 0 0,0-1-1 0 0,0 0 1 0 0,0 0-1 0 0,0 0 0 0 0,0-1 1 0 0,0 1-1 0 0,1 0 0 0 0,-1 0 1 0 0,0 0-1 0 0,1-1 1 0 0,-1 1-1 0 0,1 0 0 0 0,-1-1 1 0 0,1 1-117 0 0,-1-1 138 0 0,1 1 1 0 0,-1 0 0 0 0,1 0-1 0 0,-1-1 1 0 0,1 1-1 0 0,-1 0 1 0 0,0 0 0 0 0,1 0-1 0 0,-1 0 1 0 0,0 0 0 0 0,0 0-1 0 0,0 0 1 0 0,0 0-139 0 0,0 0 442 0 0,1 1-20 0 0,-1-1-165 0 0,-1 0 1 0 0,1 0 0 0 0,0 0-1 0 0,-1 0 1 0 0,1 0 0 0 0,0-1-1 0 0,0 1 1 0 0,0 0 0 0 0,0-1-1 0 0,0 1-257 0 0,-5-7 717 0 0,5 8-412 0 0,-1-3 126 0 0,0 1 0 0 0,1 0 0 0 0,-1 1 0 0 0,0-1 0 0 0,0 0 1 0 0,-1 0-1 0 0,1 1-431 0 0,1 0 186 0 0,1 1-23 0 0,-2-2 821 0 0,3 6-831 0 0,0-3-329 0 0,-1-1-14 0 0,2 2 291 0 0,-1 1 1 0 0,1-1 0 0 0,0 0-1 0 0,0 0 1 0 0,1-1 0 0 0,-1 1 0 0 0,0 0-1 0 0,1-1 1 0 0,0 1-102 0 0,3 2 163 0 0,-1 3 62 0 0,-4-6-1 0 0,8 7-117 0 0,7 6-318 0 0,-3-3 291 0 0,16 15 123 0 0,-15-9 5 0 0,2 3-64 0 0,-9-12-88 0 0,2 0 21 0 0,0-1-10 0 0,5 2-49 0 0,-12-7-13 0 0,27 21 103 0 0,6 6-34 0 0,-34-27-83 0 0,1-1 0 0 0,-1 0 0 0 0,0 1 0 0 0,0-1-1 0 0,0 1 1 0 0,0-1 0 0 0,0 1 0 0 0,0-1 0 0 0,0 1 0 0 0,-1 0-1 0 0,1 0 10 0 0,2 5-157 0 0,-2-6 131 0 0,0-1 0 0 0,-1 1 1 0 0,1 0-1 0 0,0 0 0 0 0,0 0 1 0 0,0 0-1 0 0,-1-1 0 0 0,1 1 1 0 0,0 0-1 0 0,0-1 0 0 0,0 1 1 0 0,1 0 25 0 0,8 6 88 0 0,-6 1 81 0 0,-3-6 20 0 0,1-1-29 0 0,3 0-133 0 0,-3 0-27 0 0,0-1 1 0 0,0 1-1 0 0,0 0 1 0 0,0 0-1 0 0,0 0 0 0 0,0 0 1 0 0,-1 0-1 0 0,1 0 1 0 0,0 0-1 0 0,-1 1 1 0 0,1-1-1 0 0,0 1 0 0 0,0 1 0 0 0,11 7 0 0 0,-9-9 0 0 0,0-1 0 0 0,16 12 0 0 0,2-1 0 0 0,-4 3 0 0 0,-14-12 0 0 0,12 12 0 0 0,9 5 0 0 0,-12-9 0 0 0,-11-6 0 0 0,0-1 0 0 0,2 2 0 0 0,17 14 0 0 0,-12-11 0 0 0,-1 0 0 0 0,0 1 0 0 0,4 6 0 0 0,23 26 0 0 0,-13-18 0 0 0,-15-15 0 0 0,30 28-634 0 0,-23-20 1013 0 0,-9-9-248 0 0,-2-5-112 0 0,-2-2-18 0 0,-1 1-1 0 0,1-1 1 0 0,0 1-1 0 0,-1 0 1 0 0,1-1-1 0 0,-1 1 0 0 0,1-1 1 0 0,-1 1-1 0 0,1 0 1 0 0,-1-1-1 0 0,1 1 1 0 0,-1 0-1 0 0,1 0 1 0 0,-1-1-1 0 0,0 1 1 0 0,0 0-1 0 0,1 0 1 0 0,-1 0-1 0 0,0-1 0 0 0,0 1 0 0 0,7 10 0 0 0,-4-8 0 0 0,0-1 0 0 0,0 1 0 0 0,-1 0 0 0 0,0 0 0 0 0,0 0 0 0 0,1 2 0 0 0,18 28-53 0 0,-21-33 53 0 0,0 1-1 0 0,1 0 1 0 0,-1 0-1 0 0,0 0 1 0 0,1-1-1 0 0,-1 1 1 0 0,1 0-1 0 0,-1-1 1 0 0,1 1-1 0 0,-1 0 0 0 0,1-1 1 0 0,0 1-1 0 0,-1-1 1 0 0,1 1-1 0 0,0-1 1 0 0,-1 1-1 0 0,1-1 1 0 0,0 1-1 0 0,0-1 1 0 0,-1 0 0 0 0,0 0-1 0 0,0 0 0 0 0,0 0 1 0 0,1 0-1 0 0,-1 1 0 0 0,0-1 1 0 0,0 0-1 0 0,0 0 0 0 0,0 0 1 0 0,1 0-1 0 0,-1 0 0 0 0,0 0 1 0 0,0 1-1 0 0,0-1 0 0 0,0 0 1 0 0,0 0-1 0 0,0 0 0 0 0,0 0 1 0 0,0 1-1 0 0,1-1 0 0 0,-1 0 1 0 0,0 0-1 0 0,0 0 0 0 0,0 0 1 0 0,0 1-1 0 0,0-1 0 0 0,0 0 1 0 0,0 0-1 0 0,0 0 0 0 0,0 1 1 0 0,0-1-1 0 0,0 0 0 0 0,0 0 0 0 0,0 0 1 0 0,0 1-1 0 0,0-1 0 0 0,-1 0 1 0 0,2 1-31 0 0,-1 0-1 0 0,1 1 1 0 0,-1-1-1 0 0,1 0 1 0 0,-1 0-1 0 0,1 0 1 0 0,-1 0-1 0 0,1 0 1 0 0,0 0-1 0 0,0 0 1 0 0,0 1 31 0 0,4 4-136 0 0,-5-5 135 0 0,0 1-1 0 0,1-1 1 0 0,0 0 0 0 0,-1 0-1 0 0,1 0 1 0 0,0 1 0 0 0,-1-1 0 0 0,1 0-1 0 0,0 0 1 0 0,0 0 0 0 0,0 0-1 0 0,0 0 1 0 0,0 0 0 0 0,0-1 0 0 0,0 1-1 0 0,0 0 1 0 0,1 0 1 0 0,13 9 0 0 0,19 15 207 0 0,7 15-118 0 0,17 5-171 0 0,-50-35 31 0 0,-7-9 50 0 0,-1 0 0 0 0,1 0 1 0 0,0 0-1 0 0,0 0 0 0 0,0 0 0 0 0,0 0 1 0 0,0 0-1 0 0,0 0 0 0 0,0 0 1 0 0,0 0-1 0 0,0 0 0 0 0,0-1 0 0 0,1 1 1 0 0,-1 0-1 0 0,0-1 0 0 0,0 1 1 0 0,1-1-1 0 0,0 1 1 0 0,-1-1-4 0 0,-1 1 0 0 0,1-1 0 0 0,0 1 0 0 0,-1-1 0 0 0,1 1 0 0 0,-1-1 0 0 0,1 1 0 0 0,0-1 0 0 0,-1 1 1 0 0,1-1-1 0 0,-1 1 0 0 0,0 0 0 0 0,1 0 0 0 0,-1-1 0 0 0,1 2 4 0 0,-1-2-8 0 0,7 12-93 0 0,2 0 71 0 0,6 1 30 0 0,10 11 0 0 0,-21-20 0 0 0,0-1 0 0 0,0 0 0 0 0,1 0 0 0 0,-1-1 0 0 0,1 1 0 0 0,-1-1 0 0 0,4 1 0 0 0,12 7 0 0 0,26 17-117 0 0,0 2 106 0 0,-20-10 1 0 0,-24-18 4 0 0,-1 0 1 0 0,1-1-1 0 0,-1 1 1 0 0,1 1 0 0 0,-1-1-1 0 0,1 0 1 0 0,-1 0-1 0 0,0 0 1 0 0,0 1-1 0 0,1 0 6 0 0,3 3 1 0 0,10 9-1 0 0,-10-9 0 0 0,-4-5 0 0 0,0 0 0 0 0,0 1 0 0 0,0-1 0 0 0,0 1 0 0 0,0-1 0 0 0,0 1 0 0 0,-1-1 0 0 0,1 1 0 0 0,0 0 0 0 0,0-1 0 0 0,-1 1 0 0 0,1 0 0 0 0,-1 0 0 0 0,1 0 0 0 0,0-1 0 0 0,-1 1 0 0 0,1 0 0 0 0,-1 0 0 0 0,0 0 0 0 0,1 0 0 0 0,-1 0 0 0 0,0 0 0 0 0,3 6 0 0 0,6 2 7 0 0,-5-6-16 0 0,-1 0 0 0 0,0 0 1 0 0,1 1-1 0 0,-1 0 0 0 0,-1-1 0 0 0,1 1 0 0 0,0 0 0 0 0,1 4 9 0 0,-4-5 0 0 0,12 9 0 0 0,2 3-53 0 0,-13-14 51 0 0,0 0 0 0 0,0 0 0 0 0,0 0 0 0 0,0 0 0 0 0,0 0 1 0 0,1 0-1 0 0,-1 0 0 0 0,0 0 0 0 0,1-1 0 0 0,-1 1 0 0 0,1-1 2 0 0,1 3-56 0 0,7 10 58 0 0,-3-2-2 0 0,-7-10 0 0 0,0-1 0 0 0,0 1 0 0 0,0-1 0 0 0,0 1 0 0 0,1-1 0 0 0,-1 1 0 0 0,0-1 0 0 0,0 1 0 0 0,0-1 0 0 0,0 1 0 0 0,1-1 0 0 0,-1 1 0 0 0,0-1 0 0 0,1 1 0 0 0,-1-1 0 0 0,0 1 0 0 0,1-1 0 0 0,-1 0 0 0 0,0 1 0 0 0,1-1 0 0 0,-1 0 0 0 0,1 1 0 0 0,0-1 0 0 0,11 16 0 0 0,4-4 0 0 0,-11-3 0 0 0,-4-7 1 0 0,0 0-1 0 0,1 0 0 0 0,-1 0 1 0 0,0 0-1 0 0,1 0 0 0 0,-1 0 1 0 0,1 0-1 0 0,0-1 0 0 0,0 1 0 0 0,0 0 0 0 0,11 11-67 0 0,-6-6 67 0 0,-4-5 0 0 0,3 11 0 0 0,-5-10-1 0 0,-1-2 6 0 0,10 11-73 0 0,-6-5 68 0 0,-4-6 0 0 0,0 0 0 0 0,1 0 0 0 0,-1 0 0 0 0,1 0 0 0 0,-1 0 0 0 0,1 0 0 0 0,0 0 0 0 0,-1-1 0 0 0,1 1 0 0 0,0 0 0 0 0,0 0 0 0 0,-1 0 0 0 0,1-1 0 0 0,0 1 0 0 0,0 0 0 0 0,0-1 0 0 0,0 1 0 0 0,0-1 0 0 0,0 1 0 0 0,7 6 0 0 0,2 5-2 0 0,-8-9 0 0 0,0 0 0 0 0,1-1 1 0 0,-1 1-1 0 0,1 0 0 0 0,0-1 1 0 0,0 0-1 0 0,0 1 2 0 0,17 13-50 0 0,-11-10 50 0 0,-1 0 0 0 0,-7-3 0 0 0,1-1 0 0 0,0 0 0 0 0,-1 1 0 0 0,1-1 0 0 0,0 0 0 0 0,0 0 0 0 0,1 0 0 0 0,-1 0 0 0 0,2 0 0 0 0,0 1 0 0 0,4 0-10 0 0,-7 0-33 0 0,-1-3 43 0 0,0 1-1 0 0,0-1 1 0 0,0 1 0 0 0,0-1 0 0 0,0 1-1 0 0,0 0 1 0 0,0-1 0 0 0,0 1-1 0 0,0-1 1 0 0,0 1 0 0 0,0-1-1 0 0,0 1 1 0 0,0 0 0 0 0,0-1-1 0 0,0 1 1 0 0,1-1 0 0 0,-1 1-1 0 0,0-1 1 0 0,0 1 0 0 0,1-1-1 0 0,-1 1 1 0 0,0-1 0 0 0,1 1-1 0 0,-1-1 1 0 0,1 1 0 0 0,-1-1-1 0 0,0 0 1 0 0,1 1 0 0 0,-1-1-1 0 0,1 0 1 0 0,1 1-1 0 0,15 18 2 0 0,4 0-12 0 0,-4-1-43 0 0,-5-9 54 0 0,5 2 0 0 0,20 15 0 0 0,-31-19 0 0 0,3 0 0 0 0,15 9 0 0 0,43 24 0 0 0,-36-20 343 0 0,17 16-343 0 0,-32-20-460 0 0,4 6 449 0 0,35 25-42 0 0,-31-27-24 0 0,-7-6-471 0 0,-12-10 595 0 0,1 1 0 0 0,-1 0-1 0 0,0 0 1 0 0,0 0 0 0 0,0 1 0 0 0,2 3-47 0 0,4 5-255 0 0,4 2-198 0 0,-5-8 411 0 0,-9-8 47 0 0,0 1 0 0 0,0-1 0 0 0,0 0 0 0 0,-1 1 0 0 0,1 0 0 0 0,0-1 0 0 0,0 1 0 0 0,-1-1 0 0 0,1 1 0 0 0,0 0 0 0 0,-1 0 0 0 0,1-1 0 0 0,-1 1 0 0 0,1 0 0 0 0,-1 0 0 0 0,1 0 0 0 0,-1 0 0 0 0,1-1 0 0 0,-1 1 0 0 0,0 0 0 0 0,0 0 0 0 0,1 1-5 0 0,-1-1 17 0 0,0-1 1 0 0,1 1-1 0 0,-1 0 0 0 0,1 0 0 0 0,-1-1 0 0 0,1 1 1 0 0,-1 0-1 0 0,1-1 0 0 0,0 1 0 0 0,-1-1 0 0 0,1 1 1 0 0,0 0-1 0 0,-1-1 0 0 0,1 0 0 0 0,0 1 0 0 0,0 0-17 0 0,1 0 44 0 0,24 21 131 0 0,-20-18-175 0 0,10 12 0 0 0,17 14 0 0 0,-10-11 0 0 0,1 0 0 0 0,4 1 0 0 0,-11-9 0 0 0,9 3 0 0 0,-24-14 0 0 0,-1 1 0 0 0,0-1 0 0 0,1 1 0 0 0,-1-1 0 0 0,1 1 0 0 0,-1 0 0 0 0,0 0 0 0 0,1-1 0 0 0,-1 1 0 0 0,0 0 0 0 0,0 0 0 0 0,1 0 0 0 0,-1 0 0 0 0,0 0 0 0 0,0 1 0 0 0,3 2 0 0 0,21 13 0 0 0,0 0 0 0 0,-1 2 0 0 0,2 3 0 0 0,-14-11 0 0 0,-11-10 0 0 0,0 0 0 0 0,0 0 0 0 0,0 0 0 0 0,1 0 0 0 0,-1 0 0 0 0,0 0 0 0 0,1 0 0 0 0,-1-1 0 0 0,0 1 0 0 0,1 0 0 0 0,-1-1 0 0 0,1 1 0 0 0,0-1 0 0 0,19 14 0 0 0,-9-5 0 0 0,-10-8-4 0 0,0 0 1 0 0,0 1-1 0 0,1-1 1 0 0,-1 0-1 0 0,0 0 1 0 0,1 0 0 0 0,-1-1-1 0 0,1 1 1 0 0,-1 0-1 0 0,2-1 4 0 0,-3 1-1 0 0,1-1 0 0 0,0 0-1 0 0,-1 1 1 0 0,1-1-1 0 0,-1 1 1 0 0,1-1-1 0 0,-1 1 1 0 0,0 0 0 0 0,1 0-1 0 0,-1 0 1 0 0,0 0-1 0 0,1 0 1 0 0,-1 0-1 0 0,0 0 1 0 0,0 0 0 0 0,0 0-1 0 0,0 0 1 0 0,0 1-1 0 0,0-1 1 0 0,0 0 0 0 0,-1 1 1 0 0,14 8 0 0 0,-2-1 0 0 0,3 4-53 0 0,-13-12 52 0 0,0 1-1 0 0,0-1 1 0 0,0 1-1 0 0,0 0 1 0 0,0-1-1 0 0,0 1 1 0 0,-1 0 0 0 0,2 2 1 0 0,4 4 0 0 0,17 17 0 0 0,32 27-483 0 0,-25-21 790 0 0,-23-22-349 0 0,18 19-220 0 0,-13-18 372 0 0,-11-9-100 0 0,0-1 0 0 0,0 2 0 0 0,-1-1 0 0 0,1 0-1 0 0,-1 0 1 0 0,1 0 0 0 0,-1 1 0 0 0,1-1 0 0 0,-1 1-1 0 0,0-1 1 0 0,0 1 0 0 0,0 0 0 0 0,0-1 0 0 0,0 1-10 0 0,0-1 0 0 0,0 1 0 0 0,-1-1 0 0 0,1 0 0 0 0,0 0 0 0 0,0 0 0 0 0,0 0 0 0 0,0 0 0 0 0,0 0 0 0 0,0 0 0 0 0,0 0 0 0 0,0-1 0 0 0,0 1 0 0 0,1 1 0 0 0,0-2 0 0 0,-1 1 0 0 0,0 0 0 0 0,0 0 0 0 0,1 0 0 0 0,-1 0 0 0 0,0 0 0 0 0,0 0 0 0 0,0 1 0 0 0,0-1 0 0 0,0 0 0 0 0,0 1 0 0 0,0-1 0 0 0,4 5 0 0 0,0 0 0 0 0,0 0 0 0 0,0 0 0 0 0,4 1 0 0 0,9 12 0 0 0,-13-14 0 0 0,-1-1 1 0 0,1 1 0 0 0,0-1 0 0 0,1 0 0 0 0,-1 0 0 0 0,1 0-1 0 0,2 1 0 0 0,-4-3-9 0 0,0 0 0 0 0,-1 0-1 0 0,1 1 1 0 0,-1-1-1 0 0,0 1 1 0 0,0 0 0 0 0,1 1 9 0 0,-1-1-10 0 0,1 0 1 0 0,-1 0 0 0 0,1 0-1 0 0,0-1 1 0 0,0 1 0 0 0,0-1 9 0 0,0 0-12 0 0,0 0 0 0 0,-1 1 0 0 0,1-1 0 0 0,-1 1 0 0 0,0-1 0 0 0,0 1 0 0 0,1 1 12 0 0,19 18-27 0 0,-5-6-10 0 0,-16-14 37 0 0,-1-1 0 0 0,11 4 0 0 0,25 17 0 0 0,-32-19 0 0 0,1 0 0 0 0,0 1 0 0 0,-1-1 0 0 0,1 2 0 0 0,-1-1 0 0 0,0 0 0 0 0,0 1 0 0 0,-1 0 0 0 0,37 33 0 0 0,-28-29 0 0 0,-11-7 0 0 0,13 18 0 0 0,-7-14 0 0 0,-6-5 0 0 0,0-1 0 0 0,-1 1 0 0 0,1 0 0 0 0,0 0 0 0 0,-1 0 0 0 0,1 1 0 0 0,-1-1 0 0 0,1 0 0 0 0,-1 1 0 0 0,1-1 0 0 0,-1 0 0 0 0,1 2 0 0 0,3 4-17 0 0,23 20-30 0 0,-22-23 47 0 0,-4-3 0 0 0,0 0 0 0 0,-1 0 0 0 0,1 0 0 0 0,0 0 0 0 0,-1 1 0 0 0,1-1 0 0 0,-1 1 0 0 0,1-1 0 0 0,-1 1 0 0 0,0-1 0 0 0,1 3 0 0 0,14 11 0 0 0,-3-5 1 0 0,-12-5-1 0 0,0-2-12 0 0,16 13-55 0 0,8 10-70 0 0,42 41-356 0 0,-41-44 339 0 0,-20-18 108 0 0,0 0 0 0 0,0 0 0 0 0,4 6 46 0 0,7 4-80 0 0,-1 3 56 0 0,10 8-24 0 0,21 24-16 0 0,-26-32 5 0 0,12 11-506 0 0,14 7 565 0 0,-1-2 252 0 0,23 25-252 0 0,22 30 388 0 0,-20-29-43 0 0,-44-37-226 0 0,1-2 1 0 0,22 14-120 0 0,-8-5 53 0 0,-41-30-52 0 0,0 1 0 0 0,1-1 0 0 0,-1 1 1 0 0,0 0-1 0 0,0 0 0 0 0,0 0 0 0 0,0-1 1 0 0,0 1-1 0 0,0 0 0 0 0,0 0 0 0 0,0 1 0 0 0,0-1 1 0 0,-1 0-1 0 0,1 0-1 0 0,2 3 16 0 0,33 31 374 0 0,-24-23-503 0 0,0 0-1 0 0,0-1 1 0 0,4 2 113 0 0,-6-6 0 0 0,-1 1 0 0 0,-1 0 0 0 0,1 1 0 0 0,5 8 0 0 0,16 9 0 0 0,-24-19 0 0 0,1 0 0 0 0,0 0 0 0 0,1 0 0 0 0,5 3 0 0 0,9 9 0 0 0,15 9 0 0 0,-27-21 0 0 0,-1 0 0 0 0,0 1 0 0 0,0 0 0 0 0,-1 0 0 0 0,3 3 0 0 0,-8-8 0 0 0,-1 0 0 0 0,1 0 0 0 0,1-1 0 0 0,-1 1 0 0 0,0-1 0 0 0,1 0 0 0 0,0 1 0 0 0,0-1 0 0 0,0 0 0 0 0,-1 0 0 0 0,1 1 0 0 0,-1-1 0 0 0,0 1 0 0 0,1 0 0 0 0,0 1 0 0 0,25 26 0 0 0,24 15 0 0 0,-45-36 27 0 0,-3-4-21 0 0,0 0 0 0 0,0-1 0 0 0,0 0 0 0 0,1 0 0 0 0,-1 0 1 0 0,4 1-7 0 0,-6-3 0 0 0,10 9 0 0 0,-9-7 0 0 0,-2-2 0 0 0,1-1 0 0 0,-1 1 0 0 0,0 0 0 0 0,0-1 0 0 0,1 1 0 0 0,-1-1 0 0 0,1 0 0 0 0,0 1 0 0 0,38 17 12 0 0,-29-13 36 0 0,-5-2-50 0 0,0-1 0 0 0,0 1 0 0 0,0 1 0 0 0,-1-1 0 0 0,1 1 0 0 0,0 1 2 0 0,-4-4 0 0 0,-2-1 0 0 0,8 14 0 0 0,-8-13 0 0 0,1 1 0 0 0,0-1 0 0 0,0 0 0 0 0,0 0 0 0 0,0 0 0 0 0,0 0 0 0 0,1 0 0 0 0,-1-1 0 0 0,2 2 0 0 0,20 14 0 0 0,-13-8 0 0 0,-2 1 0 0 0,-6-7 12 0 0,-1 1 0 0 0,1-1 0 0 0,0 1 1 0 0,0-1-1 0 0,0 0 0 0 0,0 0 0 0 0,0 0 1 0 0,1 0-1 0 0,2 1-12 0 0,0 0 46 0 0,-4-2-40 0 0,1 0 0 0 0,-1 0 0 0 0,1 0 1 0 0,-1 1-1 0 0,1-1 0 0 0,-1 1 1 0 0,0 0-7 0 0,5 5-104 0 0,-1 0 0 0 0,2 0 0 0 0,7 6 104 0 0,0-4-470 0 0,-14-10 218 0 0,0 1-10 0 0,3 1-2 0 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7:48.400"/>
    </inkml:context>
    <inkml:brush xml:id="br0">
      <inkml:brushProperty name="width" value="0.1" units="cm"/>
      <inkml:brushProperty name="height" value="0.1" units="cm"/>
    </inkml:brush>
  </inkml:definitions>
  <inkml:trace contextRef="#ctx0" brushRef="#br0">1 1 1840 0 0,'0'0'83'0'0,"0"0"31"0"0,0 0 94 0 0,0 0 43 0 0,0 0 5 0 0,0 0 48 0 0,0 0 201 0 0,0 0 87 0 0,0 0 16 0 0,0 0-13 0 0,0 0-83 0 0,0 0-38 0 0,0 0-8 0 0,0 0-26 0 0,0 0-100 0 0,0 0-42 0 0,0 0-8 0 0,0 0-18 0 0,0 0-67 0 0,0 0-28 0 0,0 0-7 0 0,0 0 3 0 0,0 0 23 0 0,0 0 11 0 0,0 0 1 0 0,0 0-3 0 0,0 0-10 0 0,0 0-3 0 0,2 1 0 0 0,6 4-11 0 0,-6-4-44 0 0,-2-1-17 0 0,12 1 555 0 0,-9 0-562 0 0,1 0 1 0 0,-1 1-1 0 0,1-1 1 0 0,-1 1-1 0 0,0 0 1 0 0,0 0-1 0 0,0 0 1 0 0,0 0-1 0 0,0 1 0 0 0,0-1 1 0 0,1 3-114 0 0,-3-4 167 0 0,6 5 1 0 0,-7-6-168 0 0,1 0 0 0 0,-1 0 0 0 0,1 0-1 0 0,-1 1 1 0 0,0-1 0 0 0,1 0 0 0 0,-1 0 0 0 0,0 0 0 0 0,1 1 0 0 0,-1-1 0 0 0,0 0 0 0 0,0 1 0 0 0,1-1 0 0 0,-1 0 0 0 0,0 0 0 0 0,0 1 0 0 0,1-1 0 0 0,-1 0 0 0 0,0 1 0 0 0,0-1 0 0 0,0 1 0 0 0,0-1 0 0 0,0 0 0 0 0,1 1 0 0 0,-1-1 0 0 0,0 1 0 0 0,0-1 0 0 0,0 1 0 0 0,0-1 0 0 0,0 0 1 0 0,0 1-1 0 0,0-1 0 0 0,0 1 1 0 0,0-1-1 0 0,0 1 1 0 0,0-1-1 0 0,1 1 1 0 0,-1-1-1 0 0,0 1 1 0 0,0-1-1 0 0,0 0 0 0 0,1 1 1 0 0,-1-1-1 0 0,0 1 1 0 0,0-1-1 0 0,1 0 1 0 0,-1 1-1 0 0,1-1 1 0 0,-1 0-1 0 0,0 1 0 0 0,1-1 1 0 0,-1 0-1 0 0,0 0 1 0 0,1 1-1 0 0,0-1 0 0 0,1 1 12 0 0,-1 0-9 0 0,-1-1-1 0 0,1 1 1 0 0,0-1 0 0 0,-1 1-1 0 0,1-1 1 0 0,-1 1-1 0 0,1-1 1 0 0,-1 1 0 0 0,1-1-1 0 0,-1 1 1 0 0,0-1-1 0 0,1 1 1 0 0,-1 0 0 0 0,1-1-1 0 0,-1 1 1 0 0,0 0-1 0 0,0-1 1 0 0,1 1 0 0 0,-1 0-1 0 0,0 0-2 0 0,2 1 43 0 0,5 1-22 0 0,-2 4 33 0 0,3 1-1 0 0,3 2-42 0 0,-9-9-11 0 0,10 15 0 0 0,0 4 46 0 0,-11-19-128 0 0,0 0-1 0 0,41 35 258 0 0,-34-30-175 0 0,0 0 0 0 0,24 13-163 0 0,-30-18 271 0 0,-1 0 11 0 0,6 4-19 0 0,4 2-65 0 0,-10-7-50 0 0,0 1 1 0 0,0-1 0 0 0,0 1 0 0 0,0-1-1 0 0,0 1 1 0 0,0 0 0 0 0,-1-1-1 0 0,1 1 1 0 0,0 0 0 0 0,0 0-1 0 0,-1 0 1 0 0,1 0 14 0 0,2 2-46 0 0,-1 1-44 0 0,12 11 248 0 0,-8-10-133 0 0,1 2 29 0 0,15 19-78 0 0,-18-20 24 0 0,-1-2-15 0 0,-2-3-58 0 0,1 0-15 0 0,28 11-67 0 0,-17-4 186 0 0,-7-3-69 0 0,-2-5 111 0 0,-3 0-60 0 0,0 0 0 0 0,0 1 1 0 0,0-1-1 0 0,0 0 0 0 0,0 0 0 0 0,0 0 0 0 0,0 1 1 0 0,0-1-1 0 0,0 0 0 0 0,0 1 0 0 0,-1-1 0 0 0,1 1 1 0 0,0-1-1 0 0,0 1 0 0 0,-1 0 0 0 0,1-1 1 0 0,0 1-14 0 0,29 22 0 0 0,-21-16 0 0 0,-1-3 0 0 0,0 0 0 0 0,1 2 0 0 0,24 19 0 0 0,-24-19 0 0 0,-1-1 0 0 0,-4-3 0 0 0,15 9 0 0 0,0-3 0 0 0,-5 3 0 0 0,-8-7 0 0 0,0-1 0 0 0,0-1 0 0 0,0 1 0 0 0,3 0 0 0 0,8 0 0 0 0,7 4 0 0 0,16 13 0 0 0,-35-19 0 0 0,9 8 0 0 0,-9-7 0 0 0,57 39 0 0 0,-40-30 0 0 0,-19-10 0 0 0,1 0 0 0 0,9 2 0 0 0,1 0 13 0 0,-11-1 4 0 0,2 2-43 0 0,19 7-101 0 0,-23-10-504 0 0,-1-1-191 0 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7:52.403"/>
    </inkml:context>
    <inkml:brush xml:id="br0">
      <inkml:brushProperty name="width" value="0.1" units="cm"/>
      <inkml:brushProperty name="height" value="0.1" units="cm"/>
    </inkml:brush>
  </inkml:definitions>
  <inkml:trace contextRef="#ctx0" brushRef="#br0">3128 30 456 0 0,'1'0'911'0'0,"6"0"101"0"0,-5 0 864 0 0,-1 0-1834 0 0,0 0 0 0 0,-1 0 1 0 0,1 0-1 0 0,0 0 0 0 0,-1 0 1 0 0,1 0-1 0 0,-1 0 1 0 0,1 0-1 0 0,0 0 0 0 0,-1 0 1 0 0,1-1-1 0 0,0 1 1 0 0,-1 0-1 0 0,1-1 0 0 0,-1 1 1 0 0,1 0-1 0 0,-1-1 1 0 0,1 1-1 0 0,-1 0 0 0 0,1-1 1 0 0,-1 1-1 0 0,1-1 0 0 0,-1 1 1 0 0,1-1-43 0 0,-1 0 336 0 0,0 1 0 0 0,2-1-167 0 0,1 0 0 0 0,-1 0 0 0 0,0 1 0 0 0,0-1 1 0 0,-1 0-1 0 0,1-1 0 0 0,0 1 0 0 0,0 0 0 0 0,0 0 0 0 0,-1-1 0 0 0,1 1 1 0 0,-1-1-1 0 0,1 0 0 0 0,-1 1 0 0 0,1-2-169 0 0,-1 2 263 0 0,-1 1 1 0 0,0 0 9 0 0,0 0 40 0 0,0 0 21 0 0,0 0 2 0 0,0 0-18 0 0,0 0-71 0 0,0 0-30 0 0,0 0-7 0 0,1 0-206 0 0,-1 0 95 0 0,0 0 1 0 0,0 0 0 0 0,0 0-1 0 0,0 0 1 0 0,0 0 0 0 0,0 1-1 0 0,0-1 1 0 0,0 0 0 0 0,-1 0-1 0 0,1 0 1 0 0,0 0 0 0 0,0 0-1 0 0,0 0 1 0 0,0 0 0 0 0,0 1-1 0 0,0-1 1 0 0,0 0 0 0 0,0 0-1 0 0,1 0 1 0 0,-1 0 0 0 0,0 0-1 0 0,0 0 1 0 0,0 0 0 0 0,0 0-1 0 0,0 1 1 0 0,0-1 0 0 0,0 0-1 0 0,0 0 1 0 0,0 0 0 0 0,0 0-1 0 0,0 0 1 0 0,0 0 0 0 0,0 0-1 0 0,0 0 1 0 0,0 0 0 0 0,1 1-1 0 0,-1-1 1 0 0,0 0 0 0 0,0 0-1 0 0,0 0 1 0 0,0 0 0 0 0,0 0-1 0 0,0 0 1 0 0,0 0 0 0 0,1 0-1 0 0,-1 0 1 0 0,0 0 0 0 0,0 0-1 0 0,0 0 1 0 0,0 0 0 0 0,0 0-1 0 0,0 0 1 0 0,0 0 0 0 0,1 0-1 0 0,-1 0-99 0 0,-4 6-644 0 0,3-5 646 0 0,0 0 1 0 0,1 1-1 0 0,-1-1 0 0 0,0 0 1 0 0,0 1-1 0 0,0-1 0 0 0,0 0 1 0 0,-1 0-1 0 0,1 0 0 0 0,-1 1-2 0 0,-3 3 0 0 0,-3 9 6 0 0,-17 25 142 0 0,12-19-61 0 0,11-16-68 0 0,0-1 0 0 0,0 0 0 0 0,0 1 0 0 0,0-1-1 0 0,-1 0 1 0 0,-2 2-19 0 0,0 1 23 0 0,0 0 0 0 0,0 0 0 0 0,1 0 0 0 0,0 1 1 0 0,0-1-1 0 0,0 2-23 0 0,0 0 18 0 0,-1-1 1 0 0,0 1 0 0 0,0-1-1 0 0,-1 0-18 0 0,0-1 1 0 0,4-3 8 0 0,-1-1 0 0 0,1 1 0 0 0,-1 0 0 0 0,1 0 0 0 0,0 1 0 0 0,0-1 0 0 0,0 1-9 0 0,-4 6 9 0 0,-1 1 0 0 0,0-1-1 0 0,0 0 1 0 0,-1-1-9 0 0,1-1 29 0 0,0 1 1 0 0,1-1-1 0 0,0 1 0 0 0,0 0 1 0 0,-3 9-30 0 0,4-7 8 0 0,0-1 1 0 0,-1-1-1 0 0,-1 1 0 0 0,-5 7-8 0 0,-16 24 95 0 0,24-34-83 0 0,-1 1 1 0 0,-1-1 0 0 0,1-1-1 0 0,-1 1 1 0 0,0-1-1 0 0,-1 1-12 0 0,-25 26 11 0 0,9-7 59 0 0,17-20-52 0 0,0 1 0 0 0,0-1 0 0 0,-3 7-18 0 0,-4 6 3 0 0,6-10 17 0 0,1 0 1 0 0,1 0-1 0 0,-2 5-20 0 0,-1 0 159 0 0,-1-1 0 0 0,0 0 0 0 0,0 0-1 0 0,-6 4-158 0 0,-11 16 5 0 0,14-17-7 0 0,7-11-23 0 0,1 0 0 0 0,0 0 0 0 0,1 1 0 0 0,-1-1-1 0 0,-1 6 26 0 0,-8 15-128 0 0,0-1 0 0 0,-1 0 0 0 0,-2-1 128 0 0,4-10 0 0 0,-2 2 0 0 0,-39 71 75 0 0,43-72-41 0 0,1-2-2 0 0,0 0 1 0 0,2 0 0 0 0,0 1 0 0 0,0 0-1 0 0,-4 13-32 0 0,8-19 3 0 0,0 0 0 0 0,-1 0 0 0 0,0 0 0 0 0,-6 7-3 0 0,5-8 10 0 0,1 0 1 0 0,0 1-1 0 0,0 0 1 0 0,0 0-1 0 0,-1 7-10 0 0,-7 10 0 0 0,3-9 0 0 0,3-4 0 0 0,-1 0 0 0 0,0-1 0 0 0,0 1 0 0 0,-8 7 0 0 0,-5 9 0 0 0,8-15-1 0 0,11-11 7 0 0,-1 0 0 0 0,1-1 0 0 0,-1 1 0 0 0,1 0 0 0 0,-1 0 0 0 0,1 0 1 0 0,0 0-1 0 0,0 0 0 0 0,-1 2-6 0 0,-1 3 11 0 0,-1-1-1 0 0,0 0 1 0 0,0 0 0 0 0,-1 0 0 0 0,0 0 0 0 0,0-1-1 0 0,0 1 1 0 0,-1-1 0 0 0,-2 1-11 0 0,0 1 47 0 0,0 1 0 0 0,1-1 0 0 0,-1 1 0 0 0,-4 8-47 0 0,-2 6 35 0 0,9-13-16 0 0,0 0 0 0 0,-1-1 0 0 0,-1 1 0 0 0,1-1 0 0 0,-1-1 0 0 0,-3 3-19 0 0,7-7 5 0 0,1 0-1 0 0,-1 1 0 0 0,0-1 0 0 0,1 1 0 0 0,0-1 1 0 0,0 1-1 0 0,-1 2-4 0 0,-5 10 34 0 0,6-14-34 0 0,1 1 0 0 0,0-1 0 0 0,0 1 0 0 0,0-1 0 0 0,0 1 0 0 0,0 0 0 0 0,0 2 0 0 0,1-2 0 0 0,-1-1 0 0 0,1 0 0 0 0,-1 1 0 0 0,0-1 0 0 0,0 0 0 0 0,0 0 0 0 0,0 1 0 0 0,0-1 0 0 0,-1 1 0 0 0,-3 4 0 0 0,1 0 0 0 0,0-1 0 0 0,0 1 0 0 0,1 2 0 0 0,-15 22 0 0 0,-40 60-888 0 0,52-83 885 0 0,1 1-1 0 0,0 0 1 0 0,1 0-1 0 0,-3 7 4 0 0,4-8 38 0 0,-1 1 0 0 0,0 0-1 0 0,-1-1 1 0 0,1 0 0 0 0,-4 3-38 0 0,0 0 392 0 0,0 1-1 0 0,-3 7-391 0 0,5-9-10 0 0,0 0 0 0 0,0 0 0 0 0,-8 8 10 0 0,12-15 0 0 0,-1 1 0 0 0,1 0 0 0 0,0 0 0 0 0,0 0 0 0 0,-2 3 0 0 0,-6 13 0 0 0,-12 17 0 0 0,1 1 0 0 0,-2 11 0 0 0,22-47 0 0 0,-29 60 0 0 0,-16 33 0 0 0,36-74 0 0 0,0-1 0 0 0,-2 0 0 0 0,0-1 0 0 0,-8 9 0 0 0,10-11 0 0 0,7-13 0 0 0,1 0 0 0 0,-1 0 0 0 0,1-1 0 0 0,-1 1 0 0 0,-3 2 0 0 0,-10 16 0 0 0,2-3 0 0 0,-1 0 0 0 0,10-13 0 0 0,1 0 0 0 0,-1-1 0 0 0,0 1 0 0 0,-3 1 0 0 0,5-5 0 0 0,-1 1 0 0 0,1 0 0 0 0,0 0 0 0 0,0 0 0 0 0,0 1 0 0 0,1-1 0 0 0,-1 1 0 0 0,1-1 0 0 0,0 1 0 0 0,0 0 0 0 0,0 0 0 0 0,0 0 0 0 0,2-3 0 0 0,-1 1 0 0 0,0-1 0 0 0,0 0 0 0 0,0 1 0 0 0,0-1 0 0 0,0 0 0 0 0,0 0 0 0 0,0 0 0 0 0,0 0 0 0 0,0 0 0 0 0,-1 0 0 0 0,0 0 0 0 0,-8 10 0 0 0,-15 16 0 0 0,22-24 0 0 0,-1 0 0 0 0,1 1 0 0 0,0 0 0 0 0,0-1 0 0 0,0 1 0 0 0,0 0 0 0 0,0 0 0 0 0,1 1 0 0 0,-2 2 0 0 0,-4 12 0 0 0,7-15 0 0 0,-1-1 0 0 0,1 1 0 0 0,-1-1 0 0 0,1 1 0 0 0,0-1 0 0 0,0 1 0 0 0,1 0 0 0 0,-1-1 0 0 0,0 0 0 0 0,0 1 0 0 0,0-1 0 0 0,0 0 0 0 0,-1 0 0 0 0,1 0 0 0 0,-1-1 0 0 0,0 1 0 0 0,-1 2 0 0 0,-7 13 0 0 0,4-7 0 0 0,1 1 0 0 0,1 0 0 0 0,0 0 0 0 0,1 0 0 0 0,0 3 0 0 0,-13 22 0 0 0,15-33 0 0 0,1 1 0 0 0,-1-1 0 0 0,-1 0 0 0 0,1 0 0 0 0,-1 0 0 0 0,1 0 0 0 0,-1-1 0 0 0,-1 2 0 0 0,-4 15 0 0 0,6-18 0 0 0,0 1 0 0 0,1 0 0 0 0,-2-1 0 0 0,1 1 0 0 0,0 0 0 0 0,0-1 0 0 0,-2 2 0 0 0,-6 8 16 0 0,-1 1 0 0 0,2 1 0 0 0,0 0 0 0 0,-4 7-16 0 0,-2 2 0 0 0,12-20 0 0 0,0-1 0 0 0,0 1 0 0 0,0 0 0 0 0,1 0 0 0 0,-1 0 0 0 0,1 0 0 0 0,-1 0 0 0 0,1 0 0 0 0,0 1 0 0 0,-3 9 0 0 0,0 0 0 0 0,-7 12 0 0 0,6-12 0 0 0,-9 18 0 0 0,14-30 0 0 0,-1 1 0 0 0,0-1 0 0 0,0 1 0 0 0,1-1 0 0 0,-1 1 0 0 0,0-1 0 0 0,0 1 0 0 0,-1-1 0 0 0,0 1 0 0 0,-7 11 0 0 0,-13 22 0 0 0,10-20 0 0 0,10-12 0 0 0,0-1 0 0 0,0 1 0 0 0,0 0 0 0 0,0-1 0 0 0,0 1 0 0 0,1 0 0 0 0,-1 0 0 0 0,1 1 0 0 0,0-1 0 0 0,0 0 0 0 0,-2 6 0 0 0,0 0 0 0 0,0-1 0 0 0,-4 7 0 0 0,-18 36 0 0 0,17-32 0 0 0,7-15 0 0 0,0 0 0 0 0,0-1 0 0 0,-1 0 0 0 0,1 1 0 0 0,-1-1 0 0 0,0 1 0 0 0,-26 40 0 0 0,24-33 0 0 0,-6 12 0 0 0,7-17 0 0 0,0 0 0 0 0,1 0 0 0 0,0 1 0 0 0,-1 2 0 0 0,1-2 0 0 0,0 0 0 0 0,0-1 0 0 0,-1 1 0 0 0,0-1 0 0 0,-2 3 0 0 0,2-4 0 0 0,1 1 0 0 0,-1-1 0 0 0,1 1 0 0 0,0 0 0 0 0,0 0 0 0 0,-1 4 0 0 0,2-4 0 0 0,-1 0 0 0 0,0-1 0 0 0,0 1 0 0 0,-1-1 0 0 0,0 1 0 0 0,0-1 0 0 0,-3 5 0 0 0,3-6 0 0 0,0 1 0 0 0,0 0 0 0 0,0 0 0 0 0,1 0 0 0 0,0 0 0 0 0,0 0 0 0 0,0 1 0 0 0,2-2 0 0 0,0-3 0 0 0,-1-1 0 0 0,1 1 0 0 0,0 0 0 0 0,-1 0 0 0 0,1 0 0 0 0,-1 0 0 0 0,1 0 0 0 0,-1 0 0 0 0,1 0 0 0 0,-1-1 0 0 0,1 1 0 0 0,-1 0 0 0 0,0 0 0 0 0,0-1 0 0 0,1 1 0 0 0,-1 0 0 0 0,-1-1 0 0 0,-2 5 0 0 0,-8 13 0 0 0,-3 5 0 0 0,-1 4 0 0 0,15-26 0 0 0,0 0 0 0 0,0 0 0 0 0,0 0 0 0 0,1 0 0 0 0,-1 1 0 0 0,0-1 0 0 0,1 0 0 0 0,-1 1 0 0 0,1-1 0 0 0,-1 0 0 0 0,1 1 0 0 0,0-1 0 0 0,-1 1 0 0 0,-3 11 0 0 0,1-11 0 0 0,1 0 0 0 0,-1 7 0 0 0,2-7 0 0 0,1-1 0 0 0,-1 1 0 0 0,0-1 0 0 0,0 0 0 0 0,0 1 0 0 0,0-1 0 0 0,0 0 0 0 0,0 1 0 0 0,0-1 0 0 0,0 0 0 0 0,0 0 0 0 0,0 0 0 0 0,-1 0 0 0 0,0 0 0 0 0,-7 6 0 0 0,2 2 0 0 0,5 0 0 0 0,1-5 0 0 0,0-1 0 0 0,0 0 0 0 0,0 1 0 0 0,-1-1 0 0 0,1 0 0 0 0,-1 0 0 0 0,0 0 0 0 0,-2 2 0 0 0,2-2 0 0 0,0 0 0 0 0,0 0 0 0 0,0 1 0 0 0,1-1 0 0 0,-1 1 0 0 0,0 2 0 0 0,-6 13 0 0 0,-5 37 0 0 0,9-45 0 0 0,4-9 0 0 0,-1 0 0 0 0,1 0 0 0 0,-1 0 0 0 0,0 0 0 0 0,0 0 0 0 0,0 0 0 0 0,0 0 0 0 0,0 0 0 0 0,-5 7 0 0 0,1 0 0 0 0,0 0 0 0 0,1 0 0 0 0,-1 2 0 0 0,-2 6 0 0 0,-18 20 0 0 0,4-1 0 0 0,13-23 0 0 0,1 0 0 0 0,-3 9 0 0 0,9-19 0 0 0,1-2 0 0 0,0 1 0 0 0,0-1 0 0 0,0 0 0 0 0,-1 0 0 0 0,1 0 0 0 0,-1 0 0 0 0,1 0 0 0 0,-1 0 0 0 0,1 0 0 0 0,-1 0 0 0 0,1 0 0 0 0,-1 0 0 0 0,0 0 0 0 0,0 0 0 0 0,1 0 0 0 0,-2 0 0 0 0,-6 14 0 0 0,0-1 0 0 0,1 1 0 0 0,1 1 0 0 0,-2 6 0 0 0,0-3 0 0 0,7-13 0 0 0,0-4 0 0 0,1-1 0 0 0,-1 1 0 0 0,1 0 0 0 0,-1-1 0 0 0,0 1 0 0 0,0-1 0 0 0,0 1 0 0 0,0-1 0 0 0,0 1 0 0 0,0-1 0 0 0,0 0 0 0 0,0 0 0 0 0,-1 1 0 0 0,-30 47 0 0 0,27-39 0 0 0,4-9 0 0 0,1 1 0 0 0,-1 0 0 0 0,0-1 0 0 0,0 1 0 0 0,0-1 0 0 0,0 1 0 0 0,0-1 0 0 0,0 1 0 0 0,-1-1 0 0 0,1 0 0 0 0,0 0 0 0 0,-1 0 0 0 0,0 1 0 0 0,-4 4 0 0 0,0 1 0 0 0,0 0 0 0 0,1 0 0 0 0,-4 7 0 0 0,-13 16 0 0 0,21-30 0 0 0,0 1 0 0 0,1 0 0 0 0,-1 0 0 0 0,1 0 0 0 0,-1-1 0 0 0,1 1 0 0 0,0 0 0 0 0,-1 0 0 0 0,1 0 0 0 0,0 0 0 0 0,0 0 0 0 0,-1 0 0 0 0,1-1 0 0 0,0 2 0 0 0,-4 12 0 0 0,-50 67 0 0 0,44-69 0 0 0,8-10 0 0 0,0 1 0 0 0,0-1 0 0 0,0 1 0 0 0,1-1 0 0 0,-1 1 0 0 0,1 0 0 0 0,-1 0 0 0 0,0 1 0 0 0,0 2 0 0 0,-1 0 0 0 0,1-1 0 0 0,-1 1 0 0 0,-1-1 0 0 0,1 1 0 0 0,-4 3 0 0 0,-11 18 0 0 0,11-14 0 0 0,-1-1 0 0 0,-5 6 0 0 0,6-8 0 0 0,1-1 0 0 0,0 1 0 0 0,0 0 0 0 0,0 2 0 0 0,2-4 0 0 0,0-1 0 0 0,0 1 0 0 0,-1-1 0 0 0,0 1 0 0 0,-2-1 0 0 0,-10 17 0 0 0,14-20 0 0 0,0-1 0 0 0,0 0 0 0 0,0 0 0 0 0,-1 0 0 0 0,1 0 0 0 0,-2 1 0 0 0,3-3 0 0 0,-1 1 0 0 0,1 0 0 0 0,-1 0 0 0 0,1 0 0 0 0,0 0 0 0 0,0 0 0 0 0,0 0 0 0 0,0 0 0 0 0,0 1 0 0 0,1-1 0 0 0,-1 1 0 0 0,1 0 0 0 0,-1-1 0 0 0,1 1 0 0 0,0 0 0 0 0,-1 2 0 0 0,2-4 0 0 0,0 1 0 0 0,-1-1 0 0 0,1 0 0 0 0,-1 0 0 0 0,0 1 0 0 0,1-1 0 0 0,-1 0 0 0 0,0 0 0 0 0,0 0 0 0 0,0 1 0 0 0,0-1 0 0 0,1 0 0 0 0,-1 0 0 0 0,0 0 0 0 0,0 0 0 0 0,1 0 0 0 0,-1 0 0 0 0,1 0 0 0 0,-1 0 0 0 0,1 1 0 0 0,-1-1 0 0 0,1 0 0 0 0,0 0 0 0 0,0 1 0 0 0,-1-1 0 0 0,1 0 0 0 0,1 0 0 0 0,-1-1 0 0 0,0 1 0 0 0,0-1 0 0 0,0 1 0 0 0,0-1 0 0 0,0 1 0 0 0,0-1 0 0 0,0 1 0 0 0,0-1 0 0 0,0 1 0 0 0,-1 0 0 0 0,1-1 0 0 0,0 1 0 0 0,0-1 0 0 0,0 1 0 0 0,-1-1 0 0 0,1 1 0 0 0,0-1 0 0 0,0 0 0 0 0,-1 1 0 0 0,1-1 0 0 0,0 1 0 0 0,-1-1 0 0 0,1 1 0 0 0,-1-1 0 0 0,1 0 0 0 0,-1 1 0 0 0,1-1 0 0 0,0 0 0 0 0,-1 0 0 0 0,0 1 0 0 0,0 0 0 0 0,-14 24 0 0 0,5-17 0 0 0,5 0 0 0 0,3-4 0 0 0,-1-1 0 0 0,1 1 0 0 0,-1 0 0 0 0,1-1 0 0 0,-4 4 0 0 0,-1 1 0 0 0,6-7 0 0 0,0 0 0 0 0,0 1 0 0 0,0-1 0 0 0,0 0 0 0 0,0 1 0 0 0,0-1 0 0 0,1 0 0 0 0,-1 1 0 0 0,0-1 0 0 0,1 1 0 0 0,-1-1 0 0 0,1 1 0 0 0,0 0 0 0 0,-3 5 0 0 0,-13 14 0 0 0,14-19 0 0 0,-2 5 0 0 0,-3 8 0 0 0,0-5 0 0 0,5-8 0 0 0,0 1 0 0 0,1-1 0 0 0,-1 0 0 0 0,1 1 0 0 0,-1 0 0 0 0,1-1 0 0 0,0 1 0 0 0,0 0 0 0 0,0 1 0 0 0,-2 9 0 0 0,-2 0 0 0 0,-8 27-1093 0 0,12-38 917 0 0,0-1 0 0 0,1 1 0 0 0,-1-1 0 0 0,0 1 0 0 0,1 0 0 0 0,0-1 0 0 0,-1 1 0 0 0,1-1 0 0 0,0 1 0 0 0,0 1 176 0 0,0 5-1018 0 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7:58.738"/>
    </inkml:context>
    <inkml:brush xml:id="br0">
      <inkml:brushProperty name="width" value="0.1" units="cm"/>
      <inkml:brushProperty name="height" value="0.1" units="cm"/>
    </inkml:brush>
  </inkml:definitions>
  <inkml:trace contextRef="#ctx0" brushRef="#br0">1 251 3224 0 0,'3'5'829'0'0,"-2"-1"2374"0"0,-1 0-2598 0 0,0-1 1 0 0,1 1 0 0 0,-1 0 0 0 0,1-1-1 0 0,-1 1 1 0 0,1 0 0 0 0,0 0-606 0 0,0-3 489 0 0,-1-1-60 0 0,1 2-21 0 0,0 2-207 0 0,1 0-1 0 0,-1-1 0 0 0,1 1 1 0 0,0-1-1 0 0,1 1 0 0 0,-1-1 0 0 0,0 0 1 0 0,1 0-1 0 0,0 0 0 0 0,0 0 1 0 0,3 2-201 0 0,12 15 294 0 0,-13-15-231 0 0,-1 1 0 0 0,0 0 0 0 0,0 0 0 0 0,-1 0 0 0 0,1 1 0 0 0,-1-1 0 0 0,0 4-63 0 0,-1-6 63 0 0,0-1 0 0 0,-1 1 1 0 0,1 0-1 0 0,1-1 0 0 0,-1 1 1 0 0,0-1-1 0 0,1 0 0 0 0,0 0 1 0 0,-1 0-1 0 0,1 0 0 0 0,0 0 1 0 0,2 0-64 0 0,9 11 180 0 0,10 15 110 0 0,1 2-58 0 0,28 36 110 0 0,-45-58-291 0 0,0 0 0 0 0,-1 1 1 0 0,1 0-1 0 0,-2 0 0 0 0,0 1 1 0 0,0 0-1 0 0,-1 0 0 0 0,2 5-51 0 0,48 123 590 0 0,-49-119-535 0 0,-5-16-54 0 0,0-1 1 0 0,0 1-1 0 0,0-1 0 0 0,0 1 0 0 0,1-1 1 0 0,-1 0-1 0 0,1 0 0 0 0,0 0 0 0 0,2 3-1 0 0,9 13 0 0 0,0 0 0 0 0,3 10 0 0 0,-9-18 7 0 0,0-1 0 0 0,1 0 0 0 0,0-1 0 0 0,3 3-7 0 0,11 14 36 0 0,-11-11-6 0 0,-7-10 52 0 0,0 0 1 0 0,0 0 0 0 0,0 0-1 0 0,2 2-82 0 0,4 3-29 0 0,0 1 0 0 0,-1 0 0 0 0,0 1-1 0 0,-1 0 1 0 0,5 10 29 0 0,8 12 170 0 0,4 12 77 0 0,-18-35-340 0 0,-2 1 0 0 0,1 0 0 0 0,-1 0-1 0 0,0 2 94 0 0,10 25-63 0 0,13 31 51 0 0,-19-42 13 0 0,2-1-1 0 0,7 11 0 0 0,-8-18 0 0 0,0 0 0 0 0,6 19 0 0 0,-13-31 0 0 0,0-1 0 0 0,1 1 0 0 0,0-1 0 0 0,5 6 0 0 0,9 20 0 0 0,25 67 64 0 0,-15-47-64 0 0,-26-48 0 0 0,1-1 0 0 0,-1 1 0 0 0,1 0 0 0 0,0-1 0 0 0,1 2 0 0 0,10 17 0 0 0,-9-12 0 0 0,-3-8 0 0 0,0 1 0 0 0,0 0 0 0 0,0-1 0 0 0,-1 1 0 0 0,0 0 0 0 0,0 0 0 0 0,0 0 0 0 0,0 0 0 0 0,0 4 0 0 0,-1-2 0 0 0,0 0 0 0 0,0 0 0 0 0,0 0 0 0 0,1 0 0 0 0,0 0 0 0 0,0 0 0 0 0,1-1 0 0 0,0 1 0 0 0,1 4 0 0 0,17 41 0 0 0,-15-35 3 0 0,1 0 0 0 0,1 0-1 0 0,1-1 1 0 0,5 10-3 0 0,13 18 55 0 0,20 48-55 0 0,0-1-2 0 0,-44-86 3 0 0,14 26 52 0 0,15 18-53 0 0,-21-32 2 0 0,0 2-1 0 0,-1-1 1 0 0,-1 1 0 0 0,0 1 0 0 0,-1-1 0 0 0,0 5-2 0 0,3 7-1 0 0,10 21 1 0 0,3 8 0 0 0,-15-38 5 0 0,1 0 1 0 0,4 8-6 0 0,5 12 52 0 0,-5-7-35 0 0,-1-8 84 0 0,-1 1 0 0 0,2 10-101 0 0,-4-10 19 0 0,2 0 0 0 0,5 8-19 0 0,10 25 133 0 0,-10-21-34 0 0,-5-10-13 0 0,-1 0 0 0 0,0 7-86 0 0,0-3 196 0 0,8 18-196 0 0,32 62 336 0 0,-44-97-221 0 0,0-1 0 0 0,2 11-115 0 0,10 25 202 0 0,-6-24-101 0 0,-7-14-62 0 0,0-1 1 0 0,2 1-1 0 0,6 9-39 0 0,23 37 53 0 0,-16-13-53 0 0,-7-23 4 0 0,12 18 26 0 0,-1 2 0 0 0,6 21-30 0 0,7 22 54 0 0,10 25-44 0 0,-21-54 4 0 0,-17-39 11 0 0,0-1 0 0 0,2 12-25 0 0,10 25 0 0 0,11 20 0 0 0,-27-63 0 0 0,14 34 1 0 0,-3 1-1 0 0,0 7 0 0 0,4 12 63 0 0,-2-5-63 0 0,-9-35 0 0 0,-1 0 0 0 0,-1 1 0 0 0,3 25 0 0 0,-8-41 0 0 0,1 0 0 0 0,0-1 0 0 0,1 1 0 0 0,0-1 0 0 0,1 0 0 0 0,2 4 0 0 0,10 22 0 0 0,-10-19 0 0 0,1 1 0 0 0,0-1 0 0 0,1-1 0 0 0,1 0 0 0 0,3 3 0 0 0,0-2 0 0 0,-1 1 0 0 0,9 17 0 0 0,-7 4 0 0 0,4-1 0 0 0,2 4 0 0 0,-16-34 0 0 0,-1 1 0 0 0,1-1 0 0 0,-1 1 0 0 0,-1 0 0 0 0,1 0 0 0 0,-1 1 0 0 0,9 27 0 0 0,-1-14 0 0 0,-5-11 0 0 0,0-1 0 0 0,-1 1 0 0 0,0 0 0 0 0,-1 1 0 0 0,0 0 0 0 0,0 4 0 0 0,0-1 0 0 0,1 1 0 0 0,1-1 0 0 0,0 0 0 0 0,1 0 0 0 0,0-1 0 0 0,9 14 0 0 0,-12-23 0 0 0,0 1 0 0 0,-1-1 0 0 0,1 0 0 0 0,0 4 0 0 0,8 17 0 0 0,2-3 0 0 0,-1-1 0 0 0,5 14 0 0 0,-5-8-12 0 0,13 33-48 0 0,-24-58 60 0 0,1 1 0 0 0,-1-1 0 0 0,-1 1 0 0 0,1-1 0 0 0,-1 1 0 0 0,1 0 0 0 0,3 18 0 0 0,12 39 0 0 0,5 7 0 0 0,5 14 0 0 0,16 36-156 0 0,-26-73 96 0 0,1 9 60 0 0,4 23-12 0 0,-11-46-840 0 0,1-1-1 0 0,7 15 853 0 0,-11-29-1268 0 0,-2 1-5258 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01.803"/>
    </inkml:context>
    <inkml:brush xml:id="br0">
      <inkml:brushProperty name="width" value="0.1" units="cm"/>
      <inkml:brushProperty name="height" value="0.1" units="cm"/>
    </inkml:brush>
  </inkml:definitions>
  <inkml:trace contextRef="#ctx0" brushRef="#br0">2694 0 456 0 0,'0'0'1416'0'0,"0"0"168"0"0,0 0 72 0 0,0 0-108 0 0,0 0-487 0 0,0 0-212 0 0,0 0-45 0 0,0 0-42 0 0,-4 0 428 0 0,-11 0 956 0 0,14 0-1830 0 0,0 1-52 0 0,-4 5-98 0 0,0 0 0 0 0,1 0 0 0 0,0 0 0 0 0,1 1 0 0 0,-1 0 0 0 0,1-1 0 0 0,1 1 0 0 0,-1 0 0 0 0,1 0 0 0 0,0 1-166 0 0,-2 7 170 0 0,2-2 20 0 0,-1-1 0 0 0,-1 0 1 0 0,0 0-1 0 0,-1 0 0 0 0,0 0 0 0 0,-6 9-190 0 0,-31 53 991 0 0,25-42-728 0 0,14-24-222 0 0,-1-1 0 0 0,0 0 0 0 0,-1 0 0 0 0,0 0-41 0 0,-5 8 99 0 0,1 0 1 0 0,0 0-1 0 0,-4 12-99 0 0,-16 36 96 0 0,12-21-11 0 0,6-13-46 0 0,-13 39-39 0 0,-18 81 64 0 0,37-126-64 0 0,5-19 0 0 0,-1 0 0 0 0,0 0 0 0 0,0 0 0 0 0,0 0 0 0 0,0 0 0 0 0,-1 1 0 0 0,-6 15 0 0 0,7-15 0 0 0,-1 0 0 0 0,0 0 0 0 0,0-1 0 0 0,-1 1 0 0 0,1 0 0 0 0,-4 3 0 0 0,-6 18-1 0 0,0-1 13 0 0,-10 16 41 0 0,1-8-53 0 0,16-26 0 0 0,0 1 0 0 0,1-1 0 0 0,0 1 0 0 0,0 0 0 0 0,0 0 0 0 0,-33 90 0 0 0,31-82-3 0 0,3-9 20 0 0,0 1 0 0 0,1 0-1 0 0,0 0 1 0 0,0 1-17 0 0,-6 18 0 0 0,6-24 0 0 0,1 1 0 0 0,0-1 0 0 0,-1 1 0 0 0,2 0 0 0 0,-1 0 0 0 0,0-1 0 0 0,1 4 0 0 0,-1 4 0 0 0,-1-1 0 0 0,1 1 0 0 0,-2 0 0 0 0,0-1 0 0 0,0 0 0 0 0,-3 8 0 0 0,-5 13 0 0 0,-31 89 0 0 0,13-53 0 0 0,27-64 0 0 0,1 0 0 0 0,-1 0 0 0 0,0-1 0 0 0,1 1 0 0 0,-1-1 0 0 0,-1 1 0 0 0,1-1 0 0 0,0 1 0 0 0,0-1 0 0 0,0 0 0 0 0,0 1 0 0 0,0 0 0 0 0,0-1 0 0 0,1 1 0 0 0,-1 0 0 0 0,-4 10 17 0 0,-1 0-1 0 0,0-1 0 0 0,-1 0 0 0 0,-4 4-16 0 0,1 0 32 0 0,1 0-1 0 0,-1 2-31 0 0,-2 1 0 0 0,11-16 2 0 0,-1 0 0 0 0,1 0-1 0 0,0 1 1 0 0,0-1 0 0 0,0 1 0 0 0,-1 2-2 0 0,-3 9 17 0 0,0-1 1 0 0,-1-1-1 0 0,-2 3-17 0 0,-6 13 12 0 0,5-8 40 0 0,5-9-34 0 0,0-1 1 0 0,-1 0-1 0 0,0-1-18 0 0,0 1 6 0 0,0-1-1 0 0,1 0 1 0 0,0 1 0 0 0,0 4-6 0 0,2-5 13 0 0,-1 0-1 0 0,-1-1 0 0 0,0 1 1 0 0,0-1-1 0 0,-5 7-12 0 0,-5 6 59 0 0,-8 9 10 0 0,19-27-49 0 0,1 1 1 0 0,-1 0-1 0 0,1 0 0 0 0,0 0 0 0 0,-2 4-20 0 0,-6 10 70 0 0,1 14 31 0 0,-3-15-38 0 0,-1 0 0 0 0,-1-1 0 0 0,-9 9-63 0 0,23-25 0 0 0,1 0 0 0 0,-1 0 0 0 0,0-1 0 0 0,1 1 0 0 0,-1 0 0 0 0,1 0 0 0 0,-1 0 0 0 0,1 0 0 0 0,-1 0 0 0 0,1 0 0 0 0,0 0 0 0 0,-1 1 0 0 0,1-1 0 0 0,-1 0 0 0 0,1 0 0 0 0,0 0 0 0 0,-1 1 0 0 0,0-1 0 0 0,1 0 0 0 0,-1 0 0 0 0,0 0 0 0 0,1 0 0 0 0,-1 0 0 0 0,0 0 0 0 0,-5 6 11 0 0,1 0 0 0 0,0 1 0 0 0,0-1 0 0 0,-3 9-11 0 0,-3-2-146 0 0,9-12 110 0 0,0-1-1 0 0,1 1 0 0 0,-1 0 0 0 0,1 0 0 0 0,0-1 1 0 0,0 1-1 0 0,0 0 0 0 0,0 0 0 0 0,-1 2 37 0 0,-13 32-226 0 0,-4 10 409 0 0,-4 19 508 0 0,12-38-604 0 0,-5 21-87 0 0,11-31 18 0 0,-1 0 1 0 0,-1 0 0 0 0,0-1-1 0 0,-1 0-18 0 0,-17 45 118 0 0,-13 17 82 0 0,25-51-117 0 0,12-22-61 0 0,-1 0 0 0 0,-1 0 0 0 0,1 0 0 0 0,-1 0 0 0 0,0-1 0 0 0,0 1 0 0 0,-1 1-22 0 0,-1-1 27 0 0,1 0 1 0 0,1 1-1 0 0,-1 0 1 0 0,-1 3-28 0 0,2-3 32 0 0,-1 0 1 0 0,1 0-1 0 0,-2 0 1 0 0,-1 3-33 0 0,-1-1 4 0 0,1 0 1 0 0,0 1-1 0 0,-3 5-4 0 0,-2 4 11 0 0,-9 30 42 0 0,5-21-31 0 0,3 0-1 0 0,0 1 0 0 0,1 3-21 0 0,-1 6 0 0 0,-20 63 64 0 0,8-52-64 0 0,21-41 0 0 0,0-1 0 0 0,-1 0 0 0 0,0 0 0 0 0,0 0 0 0 0,-12 19 0 0 0,12-15 0 0 0,-1 0 0 0 0,-1 0 0 0 0,-6 8 0 0 0,2-4 0 0 0,-4 7 0 0 0,8-14 0 0 0,1 0 0 0 0,0 0 0 0 0,1 1 0 0 0,0 0 0 0 0,0-1 0 0 0,-1 7 0 0 0,3-9 0 0 0,0 0 0 0 0,-1 0 0 0 0,1-1 0 0 0,-1 1 0 0 0,-1 1 0 0 0,1-1 0 0 0,0 0 0 0 0,0 0 0 0 0,1-1 0 0 0,0 2 0 0 0,0-1 0 0 0,-1 1 0 0 0,-12 31 0 0 0,4-11 0 0 0,-5 20 0 0 0,2 0 0 0 0,-1 12 0 0 0,13-51 0 0 0,0 1 0 0 0,-1-1 0 0 0,0 0 0 0 0,-1 2 0 0 0,-8 24 0 0 0,7-16 0 0 0,0 0 0 0 0,-3 3 0 0 0,1 1 0 0 0,-22 50 64 0 0,-1-3-64 0 0,26-58 0 0 0,-1-1 0 0 0,1 1 0 0 0,-6 6 0 0 0,4-6 0 0 0,1 0 0 0 0,-1 1 0 0 0,0 3 0 0 0,-7 15 0 0 0,-3 9 0 0 0,3-4 0 0 0,8-21 0 0 0,0 0 0 0 0,-2 10 0 0 0,-22 67 0 0 0,3-9 0 0 0,21-64 0 0 0,-1 0 0 0 0,0-1 0 0 0,-1 0 0 0 0,-1-1 0 0 0,0 0 0 0 0,-2 0 0 0 0,1 0 0 0 0,-7 6 0 0 0,-17 34 0 0 0,7-18 0 0 0,-16 20 0 0 0,34-46 0 0 0,0 1 0 0 0,1-1 0 0 0,0 5 0 0 0,-14 20 0 0 0,15-26 0 0 0,1 1 0 0 0,0-1 0 0 0,1 1 0 0 0,-2 9 0 0 0,-10 23 0 0 0,4-15 0 0 0,1 0 0 0 0,1 1 0 0 0,-3 17 0 0 0,11-39 0 0 0,0 0 0 0 0,-1-1 0 0 0,1 0 0 0 0,-3 3 0 0 0,2-3 0 0 0,0 0 0 0 0,1 0 0 0 0,-1 0 0 0 0,1 0 0 0 0,1 0 0 0 0,-1 1 0 0 0,-1 6 0 0 0,0 0 0 0 0,-2 0 0 0 0,1-1 0 0 0,-1 1 0 0 0,-3 3 0 0 0,-5 13 0 0 0,1-8 0 0 0,9-18 0 0 0,1 1 0 0 0,0-1 0 0 0,1 0 0 0 0,-1 0 0 0 0,1 1 0 0 0,-1-1 0 0 0,1 1 0 0 0,0 0 0 0 0,1-4 0 0 0,0 1 0 0 0,0 0 0 0 0,0-1 0 0 0,0 1 0 0 0,-1-1 0 0 0,1 1 0 0 0,0-1 0 0 0,0 1 0 0 0,-1-1 0 0 0,1 1 0 0 0,0-1 0 0 0,0 1 0 0 0,-1-1 0 0 0,1 1 0 0 0,-1-1 0 0 0,1 1 0 0 0,0-1 0 0 0,-1 1 0 0 0,1-1 0 0 0,-1 0 0 0 0,1 1 0 0 0,-1-1 0 0 0,0 1 0 0 0,0 0 0 0 0,0 0 0 0 0,0 0 0 0 0,0 0 0 0 0,1 0 0 0 0,-1 0 0 0 0,0 0 0 0 0,1 0 0 0 0,-1 1 0 0 0,1-1 0 0 0,-1 0 0 0 0,1 0 0 0 0,0 0 0 0 0,-1 1 0 0 0,1-1 0 0 0,0 0 0 0 0,0 0 0 0 0,0 1 0 0 0,0-1 0 0 0,-6 10 0 0 0,5-10 0 0 0,0 0 0 0 0,0 0 0 0 0,0 1 0 0 0,0-1 0 0 0,1 0 0 0 0,-1 0 0 0 0,0 1 0 0 0,1-1 0 0 0,-1 0 0 0 0,1 1 0 0 0,0-1 0 0 0,-1 0 0 0 0,1 1 0 0 0,0-1 0 0 0,0 1 0 0 0,0-1 0 0 0,0 1 0 0 0,0 0 0 0 0,0 1 0 0 0,-1-1 0 0 0,1 1 0 0 0,-1-1 0 0 0,1 1 0 0 0,-1-1 0 0 0,0 0 0 0 0,-1 3 0 0 0,-4 15 0 0 0,-1-3 0 0 0,6-15 0 0 0,0-1 0 0 0,0 1 0 0 0,0 0 0 0 0,0 0 0 0 0,1 0 0 0 0,-1 0 0 0 0,1 0 0 0 0,-1-1 0 0 0,1 1 0 0 0,0 0 0 0 0,-1 1 0 0 0,1 5 0 0 0,-1 0 0 0 0,0 0 0 0 0,-1 0 0 0 0,0 3 0 0 0,-5 21 0 0 0,-10 38 0 0 0,17-68 0 0 0,0 0 0 0 0,-1 0 0 0 0,1 0 0 0 0,-1 1 0 0 0,0-1 0 0 0,1 0 0 0 0,-1 0 0 0 0,-1 1 0 0 0,1-1 0 0 0,0 0 0 0 0,0 0 0 0 0,0 0 0 0 0,1 0 0 0 0,-1 0 0 0 0,1 0 0 0 0,-1 1 0 0 0,1-1 0 0 0,-7 30 0 0 0,5-24 0 0 0,0-1 0 0 0,0 1 0 0 0,1 0 0 0 0,0 8 0 0 0,-8 28 0 0 0,8-40 0 0 0,1 1 0 0 0,-1-1 0 0 0,0 0 0 0 0,0 1 0 0 0,0-1 0 0 0,-1 0 0 0 0,-1 3 0 0 0,-5 20 0 0 0,4-9 0 0 0,-2 0 0 0 0,-6 17 0 0 0,5-17 0 0 0,-30 83-481 0 0,35-96 435 0 0,0-1 0 0 0,1 1 0 0 0,0-1 0 0 0,0 1 0 0 0,1 1 46 0 0,-6 19-441 0 0,3-15-98 0 0,1 0 1 0 0,0 1-1 0 0,1-1 0 0 0,0 0 0 0 0,1 2 539 0 0,0 6-1713 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05.358"/>
    </inkml:context>
    <inkml:brush xml:id="br0">
      <inkml:brushProperty name="width" value="0.1" units="cm"/>
      <inkml:brushProperty name="height" value="0.1" units="cm"/>
    </inkml:brush>
  </inkml:definitions>
  <inkml:trace contextRef="#ctx0" brushRef="#br0">1 1376 456 0 0,'6'-3'117'0'0,"2"-4"943"0"0,6-1 1428 0 0,0-4 115 0 0,2-2-1090 0 0,-14 13-1397 0 0,-1 0 0 0 0,0-1 1 0 0,1 1-1 0 0,-1 0 0 0 0,1-1 1 0 0,-1 1-1 0 0,1 0 0 0 0,0 0 0 0 0,-1 0 1 0 0,1 1-117 0 0,23-15 1254 0 0,8 1-242 0 0,-20 8-573 0 0,0 0 0 0 0,14-3-439 0 0,51-20 1286 0 0,-32 11-1063 0 0,-15 5-150 0 0,-1 0 20 0 0,6-3 56 0 0,36-13 211 0 0,139-40 480 0 0,-156 48-390 0 0,14-10-450 0 0,4-2 166 0 0,42-12 277 0 0,40-8-443 0 0,-136 47 43 0 0,6-2-34 0 0,1 2-1 0 0,18-3-8 0 0,135-14 54 0 0,-130 14 10 0 0,-1-3 0 0 0,16-8-64 0 0,0 2 74 0 0,-53 15-60 0 0,0 0 0 0 0,0 2-1 0 0,9-2-13 0 0,20-2 77 0 0,19-4-35 0 0,0 3 0 0 0,0 2 0 0 0,40 4-42 0 0,-85 0 12 0 0,2-1 9 0 0,1 0-1 0 0,-1-1 0 0 0,8-3-20 0 0,-7 2 26 0 0,-1 0 0 0 0,1 1 0 0 0,7 1-26 0 0,-7 0 28 0 0,0-1 0 0 0,-1 0 0 0 0,3-2-28 0 0,34-3 65 0 0,-35 5 28 0 0,15 0 268 0 0,21-5-361 0 0,-21 2-158 0 0,21 1 158 0 0,-21 1 102 0 0,20-4-102 0 0,10-2 125 0 0,-29 5 30 0 0,16-6-155 0 0,-34 7 32 0 0,1 1 0 0 0,4 0-32 0 0,30-5 112 0 0,-34 4-65 0 0,0 1 1 0 0,1 0 0 0 0,2 2-48 0 0,34-4 113 0 0,136-18-28 0 0,-101 10-32 0 0,-37 5-10 0 0,0 1 0 0 0,1 4-1 0 0,20 2-42 0 0,-10-8 0 0 0,-51 7 0 0 0,-1 0 0 0 0,1-1 0 0 0,-1 0 0 0 0,1-1 0 0 0,0 0 0 0 0,0 0 0 0 0,0 1 0 0 0,0 1 0 0 0,1 0 0 0 0,91-2 0 0 0,-18 0 64 0 0,-66 2-65 0 0,0-1 0 0 0,0-1-1 0 0,4-2 2 0 0,25-4 58 0 0,-12 6-48 0 0,37-1-10 0 0,8 0 0 0 0,-25 2 0 0 0,5-3 0 0 0,-12 0 0 0 0,52-9 0 0 0,-55 3 0 0 0,-19 4 0 0 0,81-13 0 0 0,-93 18 0 0 0,0-1 0 0 0,10 2 0 0 0,14-3 0 0 0,60-1 54 0 0,-48-1 21 0 0,52-10-76 0 0,-64 6 1 0 0,13-2 0 0 0,-3 3 0 0 0,0-2 0 0 0,47-17 0 0 0,-46 10 0 0 0,21-12 0 0 0,-31 14 0 0 0,0 1 0 0 0,1 3 0 0 0,25-3 0 0 0,7-3 0 0 0,-42 9 38 0 0,-1-1-1 0 0,7-4-37 0 0,-19 8 19 0 0,0 0-1 0 0,0 1 1 0 0,5 0-19 0 0,17-4 61 0 0,-7 0-61 0 0,29-8 75 0 0,-46 12 125 0 0,0 1-1 0 0,12-2-199 0 0,5-1-242 0 0,42-1 664 0 0,-40 4-716 0 0,16-7 166 0 0,-34 7 301 0 0,0 0 0 0 0,7 0-173 0 0,27-6-314 0 0,-38 7 330 0 0,-1 1-1 0 0,1 1 1 0 0,0 0-1 0 0,-1 1 1 0 0,8 1-16 0 0,-9 0 16 0 0,0-1 1 0 0,0 0 0 0 0,0-1-1 0 0,-1 0 1 0 0,1-1-1 0 0,0 0 1 0 0,2-2-17 0 0,13-2-98 0 0,-12 4 110 0 0,-3-2 36 0 0,-10 3-42 0 0,1 0 1 0 0,-1 0-1 0 0,0 0 1 0 0,1 0 0 0 0,-1 1-1 0 0,1-1 1 0 0,-1 1 0 0 0,1 0-1 0 0,-1 0 1 0 0,1 0-1 0 0,0 0-6 0 0,26-6 23 0 0,4-1 94 0 0,-3 1-205 0 0,-13 4 88 0 0,-14-1 0 0 0,-1 1 0 0 0,3-1 0 0 0,0 1 0 0 0,1 1 0 0 0,-1-1 0 0 0,1 1 0 0 0,-1 0 0 0 0,1 0 0 0 0,4 0 0 0 0,12-3 0 0 0,-14 3 19 0 0,1 0-1 0 0,-1 1 1 0 0,1 0 0 0 0,-1 0-1 0 0,1 1 1 0 0,-1 0-1 0 0,1 0-18 0 0,29 2-2 0 0,25-3-3765 0 0,-46 0-2225 0 0</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14.187"/>
    </inkml:context>
    <inkml:brush xml:id="br0">
      <inkml:brushProperty name="width" value="0.1" units="cm"/>
      <inkml:brushProperty name="height" value="0.1" units="cm"/>
    </inkml:brush>
  </inkml:definitions>
  <inkml:trace contextRef="#ctx0" brushRef="#br0">1 2170 1840 0 0,'0'0'279'0'0,"0"0"498"0"0,0 0 219 0 0,0 0 41 0 0,0 0-49 0 0,0 0-245 0 0,0 0-110 0 0,0 0-22 0 0,0 0-17 0 0,0 0-55 0 0,0 0-26 0 0,0 0-7 0 0,0 0-12 0 0,0 0-36 0 0,0 0-12 0 0,0 0-4 0 0,0 0-33 0 0,0 0-128 0 0,0 0-51 0 0,0 0-8 0 0,0 0 8 0 0,8-16 1104 0 0,29-10-676 0 0,-22 18-451 0 0,0 1 1 0 0,0 0 0 0 0,1 1 0 0 0,0 1 0 0 0,4-1-208 0 0,8-3 180 0 0,-23 4 4 0 0,-3 2-148 0 0,22-5 136 0 0,-12-4-66 0 0,-10 10-91 0 0,0 0 0 0 0,0 0 0 0 0,0 0 0 0 0,0 0 0 0 0,0 0 0 0 0,1 1 0 0 0,-1-1 0 0 0,1 1-1 0 0,0-1-14 0 0,23-9 111 0 0,-6 1-56 0 0,1 1 1 0 0,0 1-1 0 0,0 1 0 0 0,3 1-55 0 0,55-13 138 0 0,-57 14-165 0 0,-1-1 0 0 0,0-1 0 0 0,17-7 27 0 0,-24 9 98 0 0,26-14-199 0 0,2-3 250 0 0,-34 18-199 0 0,1 0 0 0 0,-1-1 0 0 0,5-3 50 0 0,9-4-3 0 0,5-1 209 0 0,-6 4-160 0 0,1 0 0 0 0,21-6-46 0 0,-30 11 0 0 0,1-2 0 0 0,0 1 0 0 0,0-2 0 0 0,32-12 0 0 0,81-19 0 0 0,-109 33-22 0 0,0-1-1 0 0,-1-1 0 0 0,0 0 1 0 0,13-8 22 0 0,-7 3-203 0 0,5-3 338 0 0,-18 8-105 0 0,1 0 0 0 0,11-4-30 0 0,-1-1-240 0 0,6-1 217 0 0,-15 7 24 0 0,-1 0-1 0 0,10-7 0 0 0,-9 5-15 0 0,5-5 295 0 0,1 1-1 0 0,2 0-279 0 0,35-25-469 0 0,-42 30 542 0 0,1 1 0 0 0,-1 0 0 0 0,1 1 0 0 0,0 1 0 0 0,1 0 0 0 0,-1 1 0 0 0,11-1-73 0 0,3-2-50 0 0,4 0 51 0 0,-14 3 2 0 0,0-1 0 0 0,-1-1 1 0 0,1 0-1 0 0,-1-1-3 0 0,5-1 54 0 0,9-5-299 0 0,16-6 344 0 0,-43 15 7 0 0,0 1-1 0 0,0 1 1 0 0,1-1 0 0 0,-1 1 0 0 0,1-1 0 0 0,0 1-106 0 0,16-5 139 0 0,-13 4-69 0 0,-2 2-34 0 0,0-1 1 0 0,0 0-1 0 0,0 0 1 0 0,-1-1-1 0 0,1 1 0 0 0,1-2-36 0 0,14-3 40 0 0,-14 4-24 0 0,1-1-1 0 0,-1 0 1 0 0,-1 0-1 0 0,1 0 1 0 0,0-1-1 0 0,0-1-15 0 0,29-13 35 0 0,0 6-21 0 0,-24 8 3 0 0,1 0-1 0 0,-1-1 1 0 0,7-3-17 0 0,-16 7 0 0 0,-1-1 0 0 0,1 1 0 0 0,0 0 0 0 0,0 0 0 0 0,0 0 0 0 0,0 0 0 0 0,0 1 0 0 0,0-1 0 0 0,0 1 0 0 0,2 0 0 0 0,98-21 0 0 0,-76 16 7 0 0,-18 3 12 0 0,1 0 0 0 0,-1 1 0 0 0,8 0-19 0 0,-10 0 0 0 0,1 0 0 0 0,0-1 0 0 0,0 1 0 0 0,-1-1 0 0 0,7-3 0 0 0,-2 1 0 0 0,7-1 0 0 0,1 1 0 0 0,16-1 0 0 0,-11 1 0 0 0,1 1 0 0 0,12-2 0 0 0,-18 1 0 0 0,-4 1 14 0 0,62-16 96 0 0,-63 15-82 0 0,0 1 0 0 0,0 0 0 0 0,1 1-28 0 0,-1 1 45 0 0,0-2 1 0 0,-1 0-1 0 0,3-1-45 0 0,67-19 75 0 0,-13 3 10 0 0,-17 3 7 0 0,44-13 64 0 0,-12 8-12 0 0,64-20-610 0 0,-124 33 766 0 0,-10 3-119 0 0,0 1 0 0 0,0 1-1 0 0,6-1-180 0 0,12-2 125 0 0,0-2-1 0 0,0-1 0 0 0,28-14-124 0 0,-16 7 126 0 0,-10 4-37 0 0,7-3 49 0 0,0 2 0 0 0,22-3-138 0 0,-43 12 16 0 0,-12 2 0 0 0,1 0 0 0 0,-1 2 0 0 0,3-1-16 0 0,3 0 38 0 0,1-1 0 0 0,-1 0-1 0 0,15-6-37 0 0,26-5 101 0 0,-30 9-35 0 0,11-2 227 0 0,-1-1 0 0 0,35-12-293 0 0,-25 6 264 0 0,-33 11-158 0 0,-1-1 1 0 0,0-1-1 0 0,0 1 0 0 0,5-4-106 0 0,17-9 331 0 0,31-11-331 0 0,24 2 149 0 0,-76 22-95 0 0,0 0-1 0 0,0 2 1 0 0,0-1-1 0 0,10 1-53 0 0,-10 1 79 0 0,1-1 0 0 0,-1-1 0 0 0,0 0-1 0 0,8-3-78 0 0,50-13-284 0 0,4 1 284 0 0,-58 13 17 0 0,1 1-1 0 0,17-2-16 0 0,-16 3 16 0 0,1-1-1 0 0,11-4-15 0 0,14-3 0 0 0,-28 7 0 0 0,-1 0 0 0 0,5-3 0 0 0,14-4-2 0 0,15-5 58 0 0,-18 4 2 0 0,13-5 62 0 0,-4-3-70 0 0,14-2-50 0 0,11-4 62 0 0,-65 25-62 0 0,1 0 0 0 0,-1 0 0 0 0,0 1 0 0 0,1-1 0 0 0,-1 1 0 0 0,1 0 0 0 0,-1 0 0 0 0,1 0 0 0 0,18-4 0 0 0,22-10 152 0 0,37-5-152 0 0,-15 3 56 0 0,-43 12-56 0 0,-16 2 0 0 0,0 1 0 0 0,0 0 0 0 0,-1-1 0 0 0,5-2 0 0 0,10-4 75 0 0,0 0 0 0 0,0 1-1 0 0,9 0-74 0 0,-21 5 22 0 0,-1 1-4 0 0,0-1 0 0 0,0 0 0 0 0,-1 0 0 0 0,1 0 0 0 0,1-2-18 0 0,-2 2 2 0 0,0-1-1 0 0,1 1 1 0 0,-1 1-1 0 0,1-1 0 0 0,-1 1 1 0 0,1 0-1 0 0,1 1-1 0 0,0-1 23 0 0,-1 0-1 0 0,1 0 0 0 0,-1-1 1 0 0,1 0-1 0 0,-1 0 0 0 0,0-1-22 0 0,3-1 39 0 0,-6 2-18 0 0,1 0 0 0 0,-1 0 0 0 0,0 1 0 0 0,0-1 0 0 0,3 1-21 0 0,13-8 31 0 0,1 0 2 0 0,-2 5-33 0 0,9 0 0 0 0,22-1 0 0 0,-40 5 0 0 0,0-1 0 0 0,-1-1 0 0 0,1 0 0 0 0,0 0 0 0 0,22-4 0 0 0,15-6 0 0 0,-36 9 0 0 0,0 1 0 0 0,0 1 0 0 0,1 0 0 0 0,1 1 0 0 0,-6-1 6 0 0,0 0-1 0 0,0 0 1 0 0,-1-1-1 0 0,1 0 1 0 0,0 0-1 0 0,0-1 1 0 0,-1 0 0 0 0,4-2-6 0 0,27-9 19 0 0,-12 2 11 0 0,-21 9-23 0 0,1 1 0 0 0,-1 0 0 0 0,0 0 0 0 0,1 0 0 0 0,-1 1 0 0 0,3-1-7 0 0,29-2 22 0 0,-26 3-4 0 0,0 0-1 0 0,0 0 1 0 0,9-4-18 0 0,-8 4 35 0 0,-7 0-32 0 0,0 1 0 0 0,0 0 0 0 0,0-1 0 0 0,0 0 0 0 0,0 0 0 0 0,3-1-3 0 0,28-7 0 0 0,1 1 0 0 0,0 2 0 0 0,8 1 0 0 0,-24 4 13 0 0,0-2 0 0 0,-1 0 0 0 0,1-1-1 0 0,-1-1 1 0 0,5-3-13 0 0,63-21 59 0 0,-69 24-54 0 0,-5 2-5 0 0,-12 3 0 0 0,1-1 0 0 0,-1 1 0 0 0,0 0 0 0 0,1-1 0 0 0,-1 1 0 0 0,0-1 0 0 0,1 1 0 0 0,-1-1 0 0 0,0 0 0 0 0,1 1 0 0 0,-1-1 0 0 0,0-1 0 0 0,3 0 5 0 0,3-3-15 0 0,15 4 69 0 0,-17 2-264 0 0,1 0 0 0 0,0 0 1 0 0,-1 0-1 0 0,0 1 1 0 0,1-1-1 0 0,-1 1 1 0 0,0 1-1 0 0,5 1 205 0 0,11 6-3451 0 0,-19-9 1725 0 0</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17.293"/>
    </inkml:context>
    <inkml:brush xml:id="br0">
      <inkml:brushProperty name="width" value="0.1" units="cm"/>
      <inkml:brushProperty name="height" value="0.1" units="cm"/>
    </inkml:brush>
  </inkml:definitions>
  <inkml:trace contextRef="#ctx0" brushRef="#br0">1 1 6792 0 0,'0'0'308'0'0,"0"0"-2"0"0,0 0-79 0 0,0 0 393 0 0,0 0 196 0 0,0 0 43 0 0,0 0-57 0 0,0 0-256 0 0,0 0-112 0 0,0 0-18 0 0,0 0-29 0 0,0 0-96 0 0,0 0-41 0 0,0 0-8 0 0,0 0 0 0 0,0 0 13 0 0,0 0 8 0 0,2 0 1 0 0,10 5 270 0 0,0 0 0 0 0,0 0 0 0 0,0 1 0 0 0,-1 1 0 0 0,2 1-534 0 0,-11-7 185 0 0,6 2 158 0 0,-1 0-215 0 0,-1 0 1 0 0,0 1-1 0 0,1-1 0 0 0,-1 1-128 0 0,-1 0 49 0 0,-1-1 0 0 0,2 0 0 0 0,-1 0 0 0 0,0-1 0 0 0,0 0 0 0 0,5 1-49 0 0,20 6 48 0 0,-1 2 1 0 0,0 0 0 0 0,0 2-49 0 0,-19-9 0 0 0,6 4 11 0 0,-4-3 15 0 0,0 0-1 0 0,0-1 1 0 0,0 0 0 0 0,0-1-1 0 0,7 1-25 0 0,-16-3 7 0 0,0 0 0 0 0,0 0 0 0 0,0 0 0 0 0,0 0 1 0 0,0 1-1 0 0,-1-1 0 0 0,1 1-7 0 0,18 8 63 0 0,1-1-32 0 0,-16-6-22 0 0,0-1 0 0 0,0 0 0 0 0,0 0 0 0 0,0 0 0 0 0,5 0-9 0 0,-3-1 23 0 0,0 1-1 0 0,1 0 0 0 0,6 3-22 0 0,4 1-3 0 0,-13-4 5 0 0,9 2 14 0 0,-1 0-1 0 0,0 1 1 0 0,-1 1-1 0 0,5 2-15 0 0,27 11 50 0 0,-15-7-36 0 0,-10-6-14 0 0,3-1 11 0 0,-19-6 3 0 0,0 1 0 0 0,12 5 22 0 0,-7-2 4 0 0,1-1-1 0 0,-1 0 1 0 0,1 0 0 0 0,0-1-1 0 0,0 0 1 0 0,0-1-40 0 0,2 1 15 0 0,0 0-1 0 0,0 1 0 0 0,5 1-14 0 0,3 1-91 0 0,17 4 50 0 0,19 11 41 0 0,22 11 0 0 0,-47-18 0 0 0,-21-9 0 0 0,0 1 0 0 0,0 0 0 0 0,8 5 0 0 0,-1 0 33 0 0,1 0 0 0 0,9 1-33 0 0,12 7-2 0 0,-16-9 2 0 0,4 3 0 0 0,-23-9 0 0 0,0 0 0 0 0,0-1 0 0 0,0 1 0 0 0,1-1 0 0 0,3 2 0 0 0,14 4 0 0 0,147 84 0 0 0,-152-82 1 0 0,10 6 68 0 0,0-2 0 0 0,28 9-69 0 0,-21-8 66 0 0,-22-9-26 0 0,-1 0-1 0 0,12 3-39 0 0,121 36 348 0 0,-122-40-294 0 0,15 6 36 0 0,26 15 278 0 0,11-1-368 0 0,28 9 272 0 0,58 16 46 0 0,109 36-41 0 0,-264-83-272 0 0,20 5 20 0 0,0-1-1 0 0,25 2-24 0 0,15 3 69 0 0,-28-3-27 0 0,9 2 82 0 0,0 2 0 0 0,17 7-124 0 0,-35-10 39 0 0,-21-7-21 0 0,1 1 0 0 0,0-1-1 0 0,-1 1 1 0 0,0 1 0 0 0,1 0-18 0 0,129 67 224 0 0,0-12 52 0 0,96 25-276 0 0,-195-73 79 0 0,-13-3 78 0 0,22 9-157 0 0,-24-8 78 0 0,-1-1 0 0 0,11 1-78 0 0,-6-2 20 0 0,125 36 136 0 0,-129-34-101 0 0,-16-6-54 0 0,0 0 1 0 0,1-1-1 0 0,-1 0 0 0 0,4 1-1 0 0,9 1 22 0 0,0 2-1 0 0,0 0 0 0 0,1 2-21 0 0,33 10 11 0 0,-38-13 16 0 0,0 1 0 0 0,8 5-27 0 0,-11-5 13 0 0,0 0 0 0 0,1-1 1 0 0,0-1-1 0 0,1 1-13 0 0,30 6 10 0 0,-28-6 12 0 0,1-1-1 0 0,-1 0 0 0 0,5-1-21 0 0,4 1 20 0 0,0 1 1 0 0,0 1-1 0 0,12 6-20 0 0,-19-7 3 0 0,13 11-3 0 0,-14-9 21 0 0,-15-6-17 0 0,-1 0 1 0 0,1 0-1 0 0,-1 0 0 0 0,1 0 1 0 0,-1 0-1 0 0,1 0 0 0 0,0-1 1 0 0,-1 1-1 0 0,1-1 0 0 0,0 0-4 0 0,3 1 0 0 0,0-1 0 0 0,-1 1 0 0 0,1 0 0 0 0,-1 1 0 0 0,1-1 0 0 0,-1 1 0 0 0,3 2 0 0 0,25 6 0 0 0,9 3-1 0 0,-3 0 13 0 0,-23-9-3 0 0,1 0 0 0 0,-1 1 0 0 0,0 1 0 0 0,0 0-1 0 0,0 1 1 0 0,0 2-9 0 0,39 17 64 0 0,-37-15-41 0 0,1-2-1 0 0,16 6-22 0 0,11 6 19 0 0,4-3-19 0 0,-40-13 0 0 0,-7-4 0 0 0,0 1 0 0 0,0-1 0 0 0,0 1 0 0 0,0-1 0 0 0,-1 1 0 0 0,1 0 0 0 0,2 2 0 0 0,23 16 0 0 0,-2-3 0 0 0,-11-7 0 0 0,0 0 0 0 0,6 1 0 0 0,20 14 0 0 0,-28-16 13 0 0,2-1-1 0 0,-1-1 1 0 0,1 0 0 0 0,10 3-13 0 0,20 9 13 0 0,-43-18-4 0 0,1 0-1 0 0,0-1 1 0 0,0 1-1 0 0,0-1 1 0 0,1 1-1 0 0,1-1-8 0 0,-2 0 11 0 0,0 1 0 0 0,0-1 0 0 0,0 0 0 0 0,0 1 0 0 0,0 0 1 0 0,2 1-12 0 0,43 14 17 0 0,1 0-88 0 0,-22-7 71 0 0,19 2 0 0 0,10 3 0 0 0,-36-7 0 0 0,-16-5 0 0 0,0 0 0 0 0,0-1 0 0 0,0 1 0 0 0,0-1 0 0 0,0 0 0 0 0,0-1 0 0 0,28 6 0 0 0,-29-6 0 0 0,0 0 0 0 0,0 1 0 0 0,0 0 0 0 0,0-1 0 0 0,0 1 0 0 0,0 0 0 0 0,2 1 0 0 0,-2-1 0 0 0,0 0 0 0 0,0 0 0 0 0,0 0 0 0 0,0 0 0 0 0,0 0 0 0 0,0-1 0 0 0,2 0 0 0 0,8 1 0 0 0,1 1 0 0 0,-1 0 0 0 0,0 1 0 0 0,3 1 0 0 0,-2-1 0 0 0,-6-1 0 0 0,-1 1 0 0 0,1-1 0 0 0,-1 1 0 0 0,1 1 0 0 0,0 0 0 0 0,-6-2 0 0 0,-1 1 0 0 0,7 3 0 0 0,-6-5 0 0 0,1 0 0 0 0,0 0 0 0 0,-1 0 0 0 0,1 0 0 0 0,0-1 0 0 0,0 1 0 0 0,2-1 0 0 0,19 7 0 0 0,2 8 0 0 0,-20-11 0 0 0,1 0 0 0 0,0 0 0 0 0,0-1 0 0 0,0 0 0 0 0,1 0 0 0 0,47 16 11 0 0,-51-18 11 0 0,-3-1-20 0 0,0 0 0 0 0,0 0 1 0 0,1 0-1 0 0,-1 1 0 0 0,0-1 0 0 0,0 1 1 0 0,0-1-1 0 0,0 1 0 0 0,0-1 0 0 0,0 1 1 0 0,0 0-1 0 0,0-1 0 0 0,0 1 0 0 0,0 0-2 0 0,2 2 0 0 0,-3-2 0 0 0,1 0 0 0 0,-1-1 0 0 0,1 1 0 0 0,0 0 0 0 0,-1-1 0 0 0,1 1 0 0 0,0 0 0 0 0,-1-1 0 0 0,1 1 0 0 0,0-1 0 0 0,0 1 0 0 0,0-1 0 0 0,-1 0 0 0 0,1 1 0 0 0,0-1 0 0 0,0 0 0 0 0,0 1 0 0 0,0-1 0 0 0,0 0 0 0 0,0 1 0 0 0,0-1 0 0 0,0 0 0 0 0,0 0 0 0 0,0 1 0 0 0,-1-1 0 0 0,1 0 0 0 0,0 0 0 0 0,0 0 0 0 0,0 0 0 0 0,0 0 0 0 0,0 0 0 0 0,0 0 0 0 0,-1 0 0 0 0,2-1 0 0 0,0 1 0 0 0,0 0 0 0 0,0 0 0 0 0,0 0 0 0 0,0 0 0 0 0,0 0 0 0 0,0 0 0 0 0,0 0 0 0 0,0 1 0 0 0,0-1 0 0 0,0 1 0 0 0,0 0 0 0 0,0-1 0 0 0,0 2 0 0 0,0-2 5 0 0,1 1-1 0 0,0 0 0 0 0,-1-1 0 0 0,1 1 1 0 0,-1-1-1 0 0,1 0 0 0 0,0 1 0 0 0,0-2-4 0 0,31 5 30 0 0,9 4-30 0 0,-41-8 0 0 0,0 1 0 0 0,1-1 0 0 0,-1 1 0 0 0,0 0 0 0 0,1 0 0 0 0,-1 0 0 0 0,0 0 0 0 0,0 0 0 0 0,0 1 0 0 0,2 0 0 0 0,-4-1 0 0 0,1 0 0 0 0,0-1 0 0 0,-1 1 0 0 0,1-1 0 0 0,0 1 0 0 0,0-1 0 0 0,0 0 0 0 0,0 1 0 0 0,-1-1 0 0 0,1 0 0 0 0,0 0 0 0 0,0 1 0 0 0,0-1 0 0 0,0 0 0 0 0,17 5 0 0 0,-13-4 0 0 0,1 1 0 0 0,0-1 0 0 0,0 0 0 0 0,-1 0 0 0 0,1-1 0 0 0,0 0 0 0 0,2 0 0 0 0,23 6 0 0 0,11 1 0 0 0,-35-6 0 0 0,-1 0 0 0 0,0 1 0 0 0,1 0 0 0 0,4 2 0 0 0,-9-4 0 0 0,0 1 0 0 0,0 0 0 0 0,0-1 0 0 0,0 1 0 0 0,0-1 0 0 0,1 0 0 0 0,-1 1 0 0 0,0-1 0 0 0,0 0 0 0 0,35 4 0 0 0,-33-4 0 0 0,15 4 0 0 0,48 18 54 0 0,-65-22-49 0 0,-1 1 1 0 0,1-1-1 0 0,0 0 1 0 0,0 0 0 0 0,0 0-1 0 0,0 0 1 0 0,0 0-1 0 0,0 0 1 0 0,0-1-1 0 0,0 1 1 0 0,0-1 0 0 0,0 1-6 0 0,0-1 0 0 0,0 0 1 0 0,0 1 0 0 0,0 0-1 0 0,0-1 1 0 0,0 1 0 0 0,0 0-1 0 0,0 0 1 0 0,0 0 0 0 0,0 0 0 0 0,0 0-1 0 0,1 1 0 0 0,3 1-2 0 0,-3-1-5 0 0,0 0 1 0 0,0-1 0 0 0,0 0-1 0 0,0 1 1 0 0,0-1 0 0 0,0 0-1 0 0,0-1 1 0 0,2 1 6 0 0,6 0-4 0 0,0 2 1 0 0,0-1-1 0 0,6 3 4 0 0,-5 0 0 0 0,-8-1-344 0 0,0-1 1 0 0,1-1-1 0 0,-1 1 0 0 0,1 0 0 0 0,0-1 344 0 0,-1 0-1048 0 0,1 1-1 0 0,-1-1 0 0 0,0 1 1 0 0,0 0-1 0 0,3 1 1049 0 0,1 4-7261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42.109"/>
    </inkml:context>
    <inkml:brush xml:id="br0">
      <inkml:brushProperty name="width" value="0.05" units="cm"/>
      <inkml:brushProperty name="height" value="0.05" units="cm"/>
      <inkml:brushProperty name="color" value="#004F8B"/>
    </inkml:brush>
  </inkml:definitions>
  <inkml:trace contextRef="#ctx0" brushRef="#br0">305 65 3224 0 0,'0'0'391'0'0,"0"0"431"0"0,0 0 193 0 0,0 0 38 0 0,0 0-29 0 0,0 0-160 0 0,0 0-68 0 0,0 0-17 0 0,0 0-25 0 0,0 0-88 0 0,0 0-40 0 0,0 0-8 0 0,0 0-16 0 0,0 0-56 0 0,0 0-30 0 0,0 0-4 0 0,0 0-23 0 0,0 0-96 0 0,-13-12 1412 0 0,8 11-1651 0 0,3 0-49 0 0,0 0 0 0 0,0 0 0 0 0,0 0 0 0 0,0 1 1 0 0,0-1-1 0 0,-1 1 0 0 0,1 0 0 0 0,0 0 0 0 0,0-1-105 0 0,-9-3 411 0 0,10 4-383 0 0,0-1 0 0 0,1 1 0 0 0,-1 0 0 0 0,0-1 0 0 0,0 1 0 0 0,1 0-1 0 0,-1-1 1 0 0,0 1 0 0 0,0 0 0 0 0,1 0 0 0 0,-1-1 0 0 0,0 1 0 0 0,0 0-1 0 0,0 0 1 0 0,1 0 0 0 0,-1 0 0 0 0,0 0 0 0 0,0 0 0 0 0,0 1 0 0 0,1-1-1 0 0,-2 0-27 0 0,-1 1 82 0 0,1-1 0 0 0,-1 1 0 0 0,0-1 0 0 0,1 0-1 0 0,-1 0 1 0 0,0 0 0 0 0,1 0 0 0 0,-1-1-1 0 0,0 1 1 0 0,1-1 0 0 0,-2 0-82 0 0,-18-1 444 0 0,19 2-386 0 0,0 0 0 0 0,0 1 0 0 0,1 0 0 0 0,-1-1-1 0 0,0 1 1 0 0,1 0 0 0 0,-1 1 0 0 0,1-1 0 0 0,-1 0-1 0 0,1 1 1 0 0,-1-1 0 0 0,1 1 0 0 0,0 0 0 0 0,0 0-1 0 0,0 0 1 0 0,0 0-58 0 0,-1 1 40 0 0,-1-1-1 0 0,1 1 0 0 0,0-1 0 0 0,-1 1 1 0 0,1-1-1 0 0,-1 0 0 0 0,-1 0-39 0 0,1 0 38 0 0,0 0 0 0 0,1 1 0 0 0,-1-1-1 0 0,1 1 1 0 0,-1 0 0 0 0,1 0 0 0 0,0 0 0 0 0,0 1-1 0 0,0-1 1 0 0,1 1 0 0 0,-1-1 0 0 0,-1 4-38 0 0,3-4 28 0 0,0 0 0 0 0,-1-1 0 0 0,0 1 1 0 0,0 0-1 0 0,0 0 0 0 0,0-1 0 0 0,0 0 1 0 0,0 1-1 0 0,0-1 0 0 0,-1 0 0 0 0,-2 2-28 0 0,4-3 15 0 0,0-1-10 0 0,1 1 1 0 0,0-1-1 0 0,-1 0 1 0 0,1 1-1 0 0,0-1 1 0 0,-1 0-1 0 0,1 1 0 0 0,0-1 1 0 0,0 1-1 0 0,-1-1 1 0 0,1 0-1 0 0,0 1 1 0 0,0-1-1 0 0,0 1 0 0 0,-1-1 1 0 0,1 1-1 0 0,0-1 1 0 0,0 1-1 0 0,0-1 1 0 0,0 1-1 0 0,0-1 0 0 0,0 1-5 0 0,0 1 17 0 0,-4 7 5 0 0,2-6-1 0 0,1-1 0 0 0,0 1 0 0 0,-1 0 0 0 0,1 0 0 0 0,1 0 0 0 0,-1 0 0 0 0,0 0 0 0 0,1 0 0 0 0,-1 3-21 0 0,1-4 6 0 0,1 0 1 0 0,-1 1 0 0 0,-1-1-1 0 0,1 0 1 0 0,0 1 0 0 0,-1-1-1 0 0,1 1 1 0 0,-1-1 0 0 0,1 0-1 0 0,-1 0 1 0 0,0 1 0 0 0,0-1-1 0 0,0 0 1 0 0,-1 0-7 0 0,2-2 2 0 0,-1 1 0 0 0,1 0 0 0 0,-1-1 0 0 0,1 1 0 0 0,-1-1 0 0 0,1 1 1 0 0,0-1-1 0 0,-1 1 0 0 0,1 0 0 0 0,0-1 0 0 0,-1 1 0 0 0,1 0 0 0 0,0 0 0 0 0,0-1 0 0 0,0 1 0 0 0,-1 0 0 0 0,1-1 0 0 0,0 1 1 0 0,0 0-1 0 0,0 0 0 0 0,0-1 0 0 0,0 1 0 0 0,0 0 0 0 0,1 0 0 0 0,-1-1 0 0 0,0 1-2 0 0,1 4 53 0 0,-1-2-50 0 0,0 4 5 0 0,5 7-9 0 0,8 9 1 0 0,7 3 0 0 0,-17-24 8 0 0,0 1-1 0 0,1 0 1 0 0,-1-1-1 0 0,0 0 1 0 0,1 1-1 0 0,-1-2 1 0 0,1 1-1 0 0,2 1-7 0 0,4 2 4 0 0,25 10 7 0 0,-10-4 117 0 0,-20-9-85 0 0,8 0-22 0 0,37 9 256 0 0,-46-11-240 0 0,0 1-1 0 0,0 0 1 0 0,0-1-1 0 0,0 0 1 0 0,0 0-1 0 0,-1 0 0 0 0,1 0 1 0 0,1-1-37 0 0,19 0 48 0 0,-19 1-35 0 0,0-1 0 0 0,-1 0 0 0 0,1 0 0 0 0,0 0 0 0 0,0 0 0 0 0,-1-1 0 0 0,1 0 0 0 0,-1 0 0 0 0,1 0 0 0 0,-1-1 0 0 0,4-2-13 0 0,-2 2 25 0 0,-3 1-8 0 0,0 0 0 0 0,-1 0 0 0 0,1 0 0 0 0,0 0-1 0 0,-1-1 1 0 0,1 1 0 0 0,-1-1 0 0 0,0 0-1 0 0,0 1 1 0 0,0-1-17 0 0,10-17 72 0 0,-11 18-65 0 0,0 1 0 0 0,0-1 0 0 0,0 1-1 0 0,-1-1 1 0 0,1 1 0 0 0,0-1 0 0 0,-1 0-1 0 0,1 1 1 0 0,-1-1 0 0 0,0 0 0 0 0,0 0-1 0 0,0 1 1 0 0,0-1 0 0 0,0 0 0 0 0,0 0-1 0 0,0-1-6 0 0,-1-5 16 0 0,-1-8 12 0 0,2 16-26 0 0,0-1-1 0 0,0 1 1 0 0,0 0-1 0 0,-1-1 0 0 0,1 1 1 0 0,0-1-1 0 0,0 1 0 0 0,0 0 1 0 0,0-1-1 0 0,0 1 1 0 0,0 0-1 0 0,1-1 0 0 0,-1 1 1 0 0,0-1-1 0 0,0 1 0 0 0,0 0 1 0 0,0-1-1 0 0,0 1 1 0 0,0 0-1 0 0,1-1 0 0 0,-1 1 1 0 0,0 0-1 0 0,0-1 1 0 0,1 1-1 0 0,-1 0 0 0 0,0-1-1 0 0,3-4 4 0 0,0-2-9 0 0,-4-4 60 0 0,-1 5-45 0 0,-4-2 1 0 0,0-6 42 0 0,6 13-48 0 0,0-1 0 0 0,-1 1 0 0 0,1 0 0 0 0,-1 0 0 0 0,0 0 0 0 0,1 0 0 0 0,-1 0 0 0 0,0 0 0 0 0,1 0 0 0 0,-1 0 0 0 0,0 0 0 0 0,0 0 0 0 0,0 0 0 0 0,0 0 0 0 0,0 0-5 0 0,-3-3 24 0 0,1 1 1 0 0,-1 0-1 0 0,0-1 0 0 0,0 1 1 0 0,0 0-1 0 0,-3-1-24 0 0,4 3 9 0 0,1-1 0 0 0,-1 0 0 0 0,1 1-1 0 0,-1-1 1 0 0,1 0 0 0 0,0-1 0 0 0,-2-1-9 0 0,-2-4 50 0 0,4 6-50 0 0,-12 1 78 0 0,-8-10 31 0 0,19 9-92 0 0,-1 0 1 0 0,1 0-1 0 0,-1 1 0 0 0,1-1 1 0 0,-1 1-1 0 0,0-1 0 0 0,1 1 1 0 0,-1 0-1 0 0,-4 0-17 0 0,6 1 10 0 0,1 0-1 0 0,-1 0 1 0 0,0 0 0 0 0,0 0-1 0 0,1 0 1 0 0,-1 1-1 0 0,0-1 1 0 0,1 1 0 0 0,-1-1-1 0 0,0 1 1 0 0,1-1-1 0 0,-1 1-9 0 0,1 0 8 0 0,-1-1-1 0 0,1 1 0 0 0,0-1 1 0 0,-1 1-1 0 0,1-1 0 0 0,0 0 0 0 0,0 1 1 0 0,-1-1-1 0 0,1 0 0 0 0,-1 0 1 0 0,1 0-1 0 0,-1 0-7 0 0,0 0 10 0 0,0 1-1 0 0,0-1 1 0 0,0 1 0 0 0,0 0-1 0 0,0 0 1 0 0,0 0 0 0 0,0 0-1 0 0,0 0 1 0 0,0 0 0 0 0,0 1-1 0 0,0-1 1 0 0,1 1 0 0 0,-1-1-1 0 0,0 2-9 0 0,-22 24 126 0 0,19-21-114 0 0,3-3-4 0 0,0-1 0 0 0,1 0 0 0 0,-1 1 0 0 0,1-1 0 0 0,0 1 0 0 0,0 0 0 0 0,0-1 0 0 0,0 2-8 0 0,0-2 1 0 0,-10 18 62 0 0,9-17-57 0 0,1 1 0 0 0,-1-1-1 0 0,1 0 1 0 0,0 0 0 0 0,0 1 0 0 0,0-1-1 0 0,1 0 1 0 0,-1 1 0 0 0,1-1-6 0 0,-3 10 12 0 0,2-9-2 0 0,1 0 0 0 0,-1 1 0 0 0,1-1 0 0 0,0 0 0 0 0,0 1 0 0 0,0-1 0 0 0,1 0 0 0 0,-1 0 0 0 0,1 0 0 0 0,1 3-10 0 0,15 41 144 0 0,-11-36-128 0 0,-6-10-10 0 0,1 0-1 0 0,-1-1 0 0 0,1 1 1 0 0,0 0-1 0 0,-1 0 1 0 0,1 0-1 0 0,0-1 0 0 0,0 1 1 0 0,1 0-1 0 0,-1-1 1 0 0,0 1-1 0 0,0-1 0 0 0,1 1-5 0 0,12 11 6 0 0,-4-3-6 0 0,0-2 0 0 0,5 3 0 0 0,-11-11 0 0 0,0 1 0 0 0,7 5 0 0 0,1-5 0 0 0,4 2 0 0 0,34 4 54 0 0,-32-6-42 0 0,-14-3-12 0 0,0 0-2 0 0,2 0 12 0 0,-1-2 1 0 0,1 1-1 0 0,0-1 0 0 0,-1 0 1 0 0,0 0-1 0 0,1-1-10 0 0,-2 2 2 0 0,-3 1 5 0 0,1 1-1 0 0,-1-1 1 0 0,0 1-1 0 0,0-1 1 0 0,0 1-1 0 0,0-1 1 0 0,0 0 0 0 0,0 0-1 0 0,0 0 1 0 0,0 0-1 0 0,-1 0 1 0 0,1 0-1 0 0,-1 1 1 0 0,1-2-7 0 0,5-15 55 0 0,-1 2-6 0 0,-4 14-49 0 0,-1-1 1 0 0,1 1-1 0 0,-1 0 1 0 0,1 0-1 0 0,0 0 1 0 0,0 0 0 0 0,0 0-1 0 0,1-2 0 0 0,0 1 5 0 0,0-1 1 0 0,0 0-1 0 0,-1 1 0 0 0,1-1 1 0 0,-1 0-1 0 0,0 0 0 0 0,0 0 0 0 0,-1 0 1 0 0,1 0-1 0 0,-1 0 0 0 0,0 0 0 0 0,0-1-5 0 0,3-24 55 0 0,-2 25-48 0 0,-1-1 1 0 0,0 0 0 0 0,0 1 0 0 0,0-1 0 0 0,-1 1 0 0 0,1-1 0 0 0,-1-2-8 0 0,-2-17 19 0 0,-2-7-19 0 0,5 28 0 0 0,-1 0 0 0 0,0 1 0 0 0,0-1 0 0 0,0 1 0 0 0,0-1 0 0 0,0 1 0 0 0,-1-1 0 0 0,1 1 0 0 0,-1 0 0 0 0,1 0 0 0 0,-1-1 0 0 0,0 1 0 0 0,0 0 0 0 0,0 1 0 0 0,-15-13 16 0 0,13 10-9 0 0,0 1 0 0 0,-1-1 0 0 0,1 1 0 0 0,-1 0 0 0 0,0 1-1 0 0,0-1 1 0 0,-1 0-7 0 0,-13-8 36 0 0,0-1-8 0 0,15 10-28 0 0,-1 0 0 0 0,1 0 0 0 0,-1 0 0 0 0,0 0 0 0 0,0 1 0 0 0,1 0 0 0 0,-1 0 0 0 0,0 1 0 0 0,0-1 0 0 0,-3 1 0 0 0,1 0 4 0 0,0 0 0 0 0,0 1 0 0 0,0 0 0 0 0,0 0 0 0 0,0 0 0 0 0,0 1 0 0 0,0 0 0 0 0,1 0 0 0 0,-1 1 0 0 0,1 0 0 0 0,0 0 0 0 0,-1 0 0 0 0,1 1 0 0 0,1 0 0 0 0,-1 0 0 0 0,-3 4-4 0 0,-15 11 8 0 0,15-12 1 0 0,-1 0 0 0 0,2 1 0 0 0,-1 0 0 0 0,1 0 1 0 0,-3 6-11 0 0,6-8 4 0 0,1 0-1 0 0,0 0 0 0 0,0 0 1 0 0,0 1-1 0 0,-2 5-2 0 0,5-9 0 0 0,1 0 0 0 0,-1-1 0 0 0,0 1 0 0 0,1 0 0 0 0,0 0 0 0 0,0 0 0 0 0,-1 0 0 0 0,2-1 0 0 0,-1 1 0 0 0,0 0-1 0 0,0 0 1 0 0,1 0 0 0 0,0 0 0 0 0,0-1 0 0 0,-1 1 0 0 0,2 2 0 0 0,-1-2 0 0 0,7 13 0 0 0,3 7 0 0 0,-9-18 0 0 0,0 0 0 0 0,0 0 0 0 0,0 0 0 0 0,1 0 0 0 0,0-1 0 0 0,0 1 0 0 0,0-1 0 0 0,0 0 0 0 0,1 0 0 0 0,0 0 0 0 0,-2-1 0 0 0,0-1 0 0 0,1 0 0 0 0,-1 0 0 0 0,1 0 0 0 0,-1 0 0 0 0,3 1 0 0 0,27 20 0 0 0,-29-19 0 0 0,-1-3 0 0 0,-1 0 0 0 0,0 0 0 0 0,1 0 0 0 0,-1 0 0 0 0,1 0 0 0 0,-1 0 0 0 0,1 0 0 0 0,-1 0 0 0 0,1-1 0 0 0,0 1 0 0 0,-1 0 0 0 0,3-1 0 0 0,8 7 0 0 0,-10-6 0 0 0,-1 0 0 0 0,1 0 0 0 0,0-1 0 0 0,-1 1 0 0 0,1 0 0 0 0,0-1 0 0 0,0 1 0 0 0,0-1 0 0 0,-1 1 0 0 0,1-1 0 0 0,0 0 0 0 0,1 0 0 0 0,2 0 0 0 0,8 1 0 0 0,-12-1 0 0 0,32-1 0 0 0,-8-3 0 0 0,-19 3 0 0 0,-2 1 0 0 0,-1-1 0 0 0,0 1 0 0 0,1-1 0 0 0,-1 0 0 0 0,0-1 0 0 0,0 1 0 0 0,0 0 0 0 0,2-2 0 0 0,1 0 4 0 0,0 0 0 0 0,0 0-1 0 0,-1 0 1 0 0,0-1 0 0 0,1 0 0 0 0,-1 0 0 0 0,-1 0-1 0 0,1-1 1 0 0,-1 1 0 0 0,1-1 0 0 0,-1 0-1 0 0,-1-1 1 0 0,1 1 0 0 0,-1 0 0 0 0,0-1-1 0 0,0 0 1 0 0,1-4-4 0 0,13-30 26 0 0,-11 28-13 0 0,-1 1 0 0 0,0-1-1 0 0,0-6-12 0 0,-2 10 4 0 0,3-21 31 0 0,-6 27-34 0 0,0 0 1 0 0,1 0 0 0 0,-1 1 0 0 0,0-1-1 0 0,-1 0 1 0 0,1 0 0 0 0,0 1-1 0 0,0-1 1 0 0,-1 0 0 0 0,1 1-1 0 0,-1-1 1 0 0,1 0 0 0 0,-1 1-1 0 0,0-1 1 0 0,0 0-2 0 0,-6-12 18 0 0,7 13-16 0 0,-1-1 1 0 0,1 1-1 0 0,-1 0 1 0 0,0-1-1 0 0,1 1 1 0 0,-1-1 0 0 0,0 1-1 0 0,0 0 1 0 0,0 0-1 0 0,0 0 1 0 0,0-1 0 0 0,0 1-1 0 0,0 0 1 0 0,0 0-1 0 0,-1 0 1 0 0,1 1 0 0 0,0-1-1 0 0,-2-1-2 0 0,-8-5 0 0 0,10 5 0 0 0,0 1 0 0 0,-1 0 0 0 0,1 0 0 0 0,0 1 0 0 0,-1-1 0 0 0,1 0 0 0 0,0 0 0 0 0,-1 1 0 0 0,1-1 0 0 0,-1 0 0 0 0,1 1 0 0 0,-1 0 0 0 0,-27-6 19 0 0,18 4-4 0 0,0 0 0 0 0,-1 0 0 0 0,-9 1-15 0 0,15 1 0 0 0,0 0 0 0 0,0 0 0 0 0,0 1 0 0 0,0 0 0 0 0,1 0 0 0 0,-1 1 0 0 0,0 0 0 0 0,0 0 0 0 0,0 0 0 0 0,-9 2 0 0 0,13-4 0 0 0,0 0 0 0 0,0 1 0 0 0,-1-1 0 0 0,1 1 0 0 0,0 0 0 0 0,0-1 0 0 0,0 1 0 0 0,0 0 0 0 0,0 0 0 0 0,1 0 0 0 0,-1 1 0 0 0,-1 0 0 0 0,-8 9 0 0 0,-7 5 0 0 0,13-13 0 0 0,1 1 0 0 0,-1-1 0 0 0,1 1 0 0 0,0 0 0 0 0,0 0 0 0 0,0 0 0 0 0,0 1 0 0 0,1 0 0 0 0,-1-1 0 0 0,1 1 0 0 0,1 0 0 0 0,-1 0 0 0 0,1 1 0 0 0,0-1 0 0 0,-1 2 0 0 0,2-3 0 0 0,0 1 0 0 0,0 0 0 0 0,1 0 0 0 0,-1-1 0 0 0,1 1 0 0 0,0 0 0 0 0,1 0 0 0 0,-1 0 0 0 0,1-1 0 0 0,0 1 0 0 0,0 0 0 0 0,0 0 0 0 0,0-1 0 0 0,1 1 0 0 0,0-1 0 0 0,0 0 0 0 0,0 1 0 0 0,1-1 0 0 0,0 0 0 0 0,2 4 0 0 0,3 2-13 0 0,1 0 1 0 0,0-1-1 0 0,0 0 0 0 0,1 0 0 0 0,1 0 13 0 0,-5-3 0 0 0,-6-5 0 0 0,1 1 0 0 0,0-1 0 0 0,0 0 0 0 0,0 0 0 0 0,0 0 0 0 0,0 0 0 0 0,0 0 0 0 0,1-1 0 0 0,-1 1 0 0 0,0 0 0 0 0,0 0 0 0 0,1-1 0 0 0,-1 1 0 0 0,0-1 0 0 0,1 1 0 0 0,-1-1 0 0 0,1 0 0 0 0,-1 1 0 0 0,0-1 0 0 0,1 0 0 0 0,-1 0 0 0 0,1 0 0 0 0,-1 0 0 0 0,2 0 0 0 0,8 0 0 0 0,-7 0 0 0 0,0 0 0 0 0,1 0 0 0 0,-1 0 0 0 0,0-1 0 0 0,0 0 0 0 0,1 0 0 0 0,-1 0 0 0 0,0 0 0 0 0,0 0 0 0 0,0-1 0 0 0,0 0 0 0 0,0 0 0 0 0,1-1 0 0 0,3-2 0 0 0,0-1 0 0 0,0 0 0 0 0,0 0 0 0 0,2-3 0 0 0,-9 8 0 0 0,2-2 0 0 0,1-1 0 0 0,-1 1 0 0 0,0 0 0 0 0,0-1 0 0 0,0 0 0 0 0,0 0 0 0 0,4-5 0 0 0,3-4 0 0 0,-10 7 0 0 0,0 5 0 0 0,-1 0 0 0 0,1 0 0 0 0,0 0 0 0 0,0 0 0 0 0,0 0 0 0 0,0 0 0 0 0,0 0 0 0 0,0 0 0 0 0,0 0 0 0 0,0 0 0 0 0,0 0 0 0 0,0 1 0 0 0,0-1 0 0 0,1-1 0 0 0,3-8 8 0 0,-3 7-3 0 0,0 1 0 0 0,0-1 0 0 0,0 1 0 0 0,-1-1 0 0 0,1 0 0 0 0,-1 1 0 0 0,1-3-5 0 0,-1-2 4 0 0,0-1 0 0 0,-1 1 1 0 0,0-1-1 0 0,0 1 0 0 0,-2-5-4 0 0,3 8 4 0 0,-1 2-1 0 0,1 1 0 0 0,0 0 0 0 0,-1-1-1 0 0,1 1 1 0 0,-1 0 0 0 0,1-1 0 0 0,-1 1 0 0 0,0 0 0 0 0,0 0 0 0 0,0 0 0 0 0,1 0 0 0 0,-1 0 0 0 0,0 0 0 0 0,0 0 0 0 0,0 0 0 0 0,0 0-1 0 0,-2-1-2 0 0,-4-3 11 0 0,-3-4-11 0 0,10 9 0 0 0,0 0 0 0 0,-1 0 0 0 0,1-1 0 0 0,0 1 0 0 0,-1 0 0 0 0,1 0 0 0 0,0 0 0 0 0,0-1 0 0 0,-1 1 0 0 0,1 0 0 0 0,0 0 0 0 0,-1 0 0 0 0,1 0 0 0 0,0 0 0 0 0,-1 0 0 0 0,1 0 0 0 0,0 0 0 0 0,-1 0 0 0 0,1 0 0 0 0,-1 0 0 0 0,1 0 0 0 0,0 0 0 0 0,-1 0 0 0 0,1 0 0 0 0,0 0 0 0 0,-1 0 0 0 0,1 0 0 0 0,-10 0 0 0 0,-10 4 0 0 0,8-2 10 0 0,10-3 10 0 0,0 0 3 0 0,-12 3-12 0 0,11-1-11 0 0,0 1 0 0 0,0-1 0 0 0,0 1 0 0 0,1 0 0 0 0,-1 0 0 0 0,1-1 0 0 0,-1 2 0 0 0,1-1 0 0 0,0 0 0 0 0,0 0 0 0 0,0 1 0 0 0,0 0 0 0 0,-2 2 0 0 0,0 0 0 0 0,0 1 0 0 0,1-1 0 0 0,0 1 0 0 0,0 0 0 0 0,0 1 0 0 0,-9 33 0 0 0,12-39 0 0 0,-1 1 0 0 0,1 0 0 0 0,-1 0 0 0 0,1-1 0 0 0,0 1 0 0 0,0 0 0 0 0,-1 0 0 0 0,1 0 0 0 0,1-1 0 0 0,-1 1 0 0 0,0 0 0 0 0,0 0 0 0 0,1 7 0 0 0,-1 0 1 0 0,0-7-2 0 0,0 1 0 0 0,-1-1 0 0 0,1 1 0 0 0,1 0 0 0 0,-1-1 0 0 0,0 1 0 0 0,1-1 0 0 0,-1 1 0 0 0,1-1 0 0 0,0 1 0 0 0,-1-1 1 0 0,2 2-1 0 0,-1-2-2 0 0,0-1 0 0 0,0 0 0 0 0,0 1 0 0 0,0-1 0 0 0,-1 1 0 0 0,1-1 0 0 0,0 1 0 0 0,-1-1-1 0 0,0 1 1 0 0,1-1 0 0 0,-1 1 0 0 0,0 1 3 0 0,1-3-1 0 0,-1 1 0 0 0,0-1 0 0 0,0 1 0 0 0,0 0 0 0 0,0-1 0 0 0,0 1 0 0 0,0 0 1 0 0,1-1-1 0 0,-1 1 0 0 0,0-1 0 0 0,1 1 0 0 0,-1-1 0 0 0,0 1 0 0 0,1-1 0 0 0,-1 1 0 0 0,1-1 0 0 0,-1 1 1 0 0,3 2-2 0 0,-1 0-1 0 0,1 0 1 0 0,0-1-1 0 0,0 1 1 0 0,0-1-1 0 0,0 0 1 0 0,1 0-1 0 0,-1 0 1 0 0,1 0 0 0 0,-1 0-1 0 0,1-1 1 0 0,-1 0-1 0 0,1 1 1 0 0,0-1-1 0 0,0-1 1 0 0,-1 1-1 0 0,1-1 1 0 0,0 1-1 0 0,0-1 1 0 0,0 0-1 0 0,0 0 1 0 0,0-1 0 0 0,0 1-1 0 0,-1-1 1 0 0,1 0-1 0 0,0 0 3 0 0,0 0 0 0 0,0-1 0 0 0,0 1 0 0 0,0-1 0 0 0,-1 0 0 0 0,1 0 0 0 0,-1-1 0 0 0,1 1 0 0 0,-1-1 0 0 0,0 1 0 0 0,0-1 0 0 0,0 0 0 0 0,1-2 0 0 0,10-8 0 0 0,-11 10 0 0 0,-1 0 0 0 0,1 0 0 0 0,-1 0 0 0 0,0 0 0 0 0,0-1 0 0 0,-1 1 0 0 0,1-1 0 0 0,10-16 0 0 0,-10 17 3 0 0,0 0 0 0 0,-1 0 0 0 0,1-1 0 0 0,-1 1 0 0 0,0 0-1 0 0,0-1 1 0 0,0 1 0 0 0,0-1 0 0 0,0 0 0 0 0,-1 1 0 0 0,0-1 0 0 0,0 0 0 0 0,0 1-1 0 0,0-1 1 0 0,0 1 0 0 0,-1-2-3 0 0,2-28 18 0 0,-5 4-18 0 0,1 22 11 0 0,1 4 31 0 0,2 3-39 0 0,0-1-1 0 0,-1 0 0 0 0,1 0 0 0 0,-1 0 0 0 0,0 0 0 0 0,1 1 0 0 0,-1-1 1 0 0,0 0-1 0 0,1 1 0 0 0,-1-1 0 0 0,0 0 0 0 0,0 1 0 0 0,0-1 0 0 0,0 1 1 0 0,1-1-1 0 0,-1 1 0 0 0,0 0 0 0 0,0-1 0 0 0,0 1 0 0 0,0 0 0 0 0,0-1 0 0 0,-1 1-2 0 0,-1-1 17 0 0,-8-2-6 0 0,2 1-11 0 0,-1 2 0 0 0,-1 3 0 0 0,2 3 0 0 0,8-5 0 0 0,0 0 0 0 0,-1-1 0 0 0,1 1 0 0 0,0 0 0 0 0,-1 0 0 0 0,1 0 0 0 0,0 1 0 0 0,0-1 0 0 0,0 0 0 0 0,0 0 0 0 0,0 1 0 0 0,0-1 0 0 0,0 0 0 0 0,0 2 0 0 0,-2 2 0 0 0,-1 3 0 0 0,1 4 0 0 0,1-5 0 0 0,0 0 0 0 0,0 0 0 0 0,1 0 0 0 0,-1 5 0 0 0,1-9 0 0 0,0 7 0 0 0,2 7 0 0 0,0-5 0 0 0,2 1 0 0 0,1-3 0 0 0,2 1 0 0 0,-4-7 0 0 0,8 5 0 0 0,-3-2 0 0 0,3-2 0 0 0,14-5 0 0 0,-23 1 0 0 0,0-1 0 0 0,0 0 0 0 0,0 0 0 0 0,0 0 0 0 0,0 0 0 0 0,-1-1 0 0 0,1 1 0 0 0,0 0 0 0 0,0 0 0 0 0,0 0 0 0 0,0-1 0 0 0,-1 1 0 0 0,1 0 0 0 0,0-1 0 0 0,23-9 0 0 0,-18 7 0 0 0,0 0 0 0 0,-1 0 0 0 0,1-1 0 0 0,-1 0 0 0 0,0 0 0 0 0,0 0 0 0 0,0-1 0 0 0,0 0 0 0 0,-1 0 0 0 0,0 0 0 0 0,0 0 0 0 0,1-3 0 0 0,14-15 0 0 0,-18 22 0 0 0,0 0 0 0 0,-1-1 0 0 0,1 1 0 0 0,-1 0 0 0 0,1 0 0 0 0,-1-1 0 0 0,1 1 0 0 0,-1 0 0 0 0,0-1 0 0 0,1 1 0 0 0,-1 0 0 0 0,0-1 0 0 0,4-12-76 0 0,-4 13 61 0 0,1 0 0 0 0,-1 0 0 0 0,1-1 0 0 0,-1 1 0 0 0,0 0 0 0 0,1 0 1 0 0,-1-1-1 0 0,0 1 0 0 0,0 0 0 0 0,0-1 0 0 0,0 1 0 0 0,0 0 0 0 0,0-1 15 0 0,1-13 174 0 0,1 8-81 0 0,-4-1-74 0 0,0 0-8 0 0,2 5-6 0 0,-1 1 0 0 0,0-1 0 0 0,0 0-1 0 0,-1 1 1 0 0,1-1 0 0 0,-1 1 0 0 0,1-1 0 0 0,-1 1 0 0 0,0 0 0 0 0,0-1-5 0 0,1 2 4 0 0,-5-4 0 0 0,0 1 34 0 0,-8 0-16 0 0,11 2-22 0 0,0-1 0 0 0,-14-1 0 0 0,8 4 0 0 0,-3 4 0 0 0,2 3 0 0 0,-8 7 0 0 0,16-10 0 0 0,0-3 0 0 0,1 1 0 0 0,-1 0 0 0 0,0 0 0 0 0,1-1 0 0 0,0 1 0 0 0,-1 0 0 0 0,1 0 0 0 0,0 1 0 0 0,0-1 0 0 0,0 0 0 0 0,0 0 0 0 0,0 0 0 0 0,1 1 0 0 0,-1-1 0 0 0,1 1 0 0 0,-3 8 0 0 0,2-10 0 0 0,0 0 0 0 0,0 0 0 0 0,1 0 0 0 0,-1 0 0 0 0,1 0 0 0 0,-1 0 0 0 0,1 1 0 0 0,-1-1 0 0 0,1 0 0 0 0,0 0 0 0 0,0 0 0 0 0,-1 0 0 0 0,1 0 0 0 0,0 1 0 0 0,0-1 0 0 0,0 0 0 0 0,0 0 0 0 0,0 1 0 0 0,2 18 0 0 0,-2-15 0 0 0,-1-2 0 0 0,1-1 0 0 0,0 0 0 0 0,-1 1 0 0 0,1-1 0 0 0,1 0 0 0 0,-1 1 0 0 0,0-1 0 0 0,0 1 0 0 0,1-1 0 0 0,0 0 0 0 0,-1 0 0 0 0,1 1 0 0 0,0-1 0 0 0,0 0 0 0 0,0 0 0 0 0,0 0 0 0 0,0 0 0 0 0,1 0 0 0 0,-1 0 0 0 0,2 1 0 0 0,1 1 0 0 0,9 13 0 0 0,-8-12 0 0 0,16 2 0 0 0,-18-6 0 0 0,0 0-1 0 0,1-1 1 0 0,-1 1 0 0 0,1 0-1 0 0,-1-1 1 0 0,1 0 0 0 0,-1 0-1 0 0,4 0 1 0 0,-1 0-8 0 0,5-4-47 0 0,-4 0 57 0 0,-3 4-2 0 0,13-7 0 0 0,-13 5-8 0 0,-1-1 0 0 0,0 1-1 0 0,1-1 1 0 0,-1 0 0 0 0,-1 1 0 0 0,1-1 0 0 0,0 0-1 0 0,-1-1 1 0 0,1 1 0 0 0,-1 0 0 0 0,0-1 0 0 0,1 0 8 0 0,14-21-323 0 0,-15 22 354 0 0,0 1 0 0 0,-1-1 0 0 0,0 1 1 0 0,1-1-1 0 0,-1 0 0 0 0,0 0 0 0 0,0 1 0 0 0,0-1 1 0 0,-1 0-1 0 0,1 0 0 0 0,-1 0 0 0 0,1 0 0 0 0,-1-1-31 0 0,0-43 43 0 0,-1 27-46 0 0,2 17 3 0 0,-2-10 0 0 0,-2 5 0 0 0,1 5 0 0 0,1 0 0 0 0,-1 0 0 0 0,1 1 0 0 0,-1-1 0 0 0,0 0 0 0 0,0 1 0 0 0,0-1 0 0 0,0 1 0 0 0,-1 0 0 0 0,1 0 0 0 0,-1 0 0 0 0,1 0 0 0 0,-1 0 0 0 0,0 0 0 0 0,0 1 0 0 0,1-1 0 0 0,-2 1 0 0 0,2 0 0 0 0,-11-5 21 0 0,0 0 1 0 0,0 1-1 0 0,-4 0-21 0 0,-20 3 23 0 0,30 2-16 0 0,0 0 0 0 0,0 0 0 0 0,0-1 0 0 0,0 0-1 0 0,0-1 1 0 0,-4 0-7 0 0,6 1 0 0 0,0 0 0 0 0,1 0 0 0 0,-1 0 0 0 0,0 1 0 0 0,0 0 0 0 0,0 0 0 0 0,0 0 0 0 0,1 1 0 0 0,-1 0 0 0 0,0 0 0 0 0,-4 1 0 0 0,-10 2 0 0 0,15-3 0 0 0,0 0 0 0 0,0 0 0 0 0,0 1 0 0 0,1 0 0 0 0,-1-1 0 0 0,0 2 0 0 0,0-1 0 0 0,1 0 0 0 0,0 1 0 0 0,-3 2 0 0 0,-9 5 0 0 0,6-3 0 0 0,0 0 0 0 0,0 1 0 0 0,0 0 0 0 0,-3 5 0 0 0,-16 15 0 0 0,25-25 0 0 0,1 0 0 0 0,-1 0 0 0 0,1 0 0 0 0,-1 0 0 0 0,1 1 0 0 0,0-1 0 0 0,0 1 0 0 0,0-1 0 0 0,1 1 0 0 0,-2 4 0 0 0,-5 4 0 0 0,6-9 0 0 0,4 23 0 0 0,-2-24 0 0 0,0 0 0 0 0,8 13 0 0 0,-6-8 0 0 0,-2-4 0 0 0,1-1 0 0 0,0 0 0 0 0,-1 0 0 0 0,1 0 0 0 0,0 0 0 0 0,1 1 0 0 0,-1-1 0 0 0,0-1 0 0 0,2 3 0 0 0,4 7-11 0 0,6 5-14 0 0,-8-14 4 0 0,-1-1 14 0 0,42 22 7 0 0,-43-21 0 0 0,1 1 0 0 0,15 6 0 0 0,-14-7 0 0 0,1 0 0 0 0,-1 0 0 0 0,1 0 0 0 0,-1 0 0 0 0,1-1 0 0 0,0 0 0 0 0,0 0 0 0 0,3 0 0 0 0,12 0 0 0 0,-17-2 0 0 0,20-2 0 0 0,-17 0 0 0 0,0-1 0 0 0,5-1 0 0 0,0 0 0 0 0,-1 0 0 0 0,4-3 0 0 0,22-29 0 0 0,-35 36 0 0 0,-1-1 0 0 0,0 1 0 0 0,1 0 0 0 0,-1-1 0 0 0,0 0 0 0 0,0 1 0 0 0,0-1 0 0 0,0 0 0 0 0,0 1 0 0 0,0-1 0 0 0,0-1 0 0 0,6-11 0 0 0,-2 7 0 0 0,0 0 0 0 0,-1-1 0 0 0,0 1 0 0 0,-1-1 0 0 0,2-5 0 0 0,0 2 0 0 0,-4 8-34 0 0,0 0 0 0 0,0 0-1 0 0,-1 0 1 0 0,1-1 0 0 0,-1 1 0 0 0,1 0 0 0 0,-1 0-1 0 0,0-1 1 0 0,0 1 0 0 0,-1 0 0 0 0,1 0 34 0 0,-1-16-57 0 0,-8-8 465 0 0,5 18-372 0 0,-9-3-10 0 0,-1 1 1 0 0,-8-6-27 0 0,10 8 0 0 0,-1 1 0 0 0,0 0 0 0 0,-4-1 0 0 0,-7 0 0 0 0,18 7 0 0 0,0 0 0 0 0,0 0 0 0 0,0 0 0 0 0,0-1 0 0 0,0 0 0 0 0,-3-3 0 0 0,-35-10 0 0 0,43 15 0 0 0,-1 0 0 0 0,1 1 0 0 0,-1-1 0 0 0,1 1 0 0 0,-1-1 0 0 0,0 1 0 0 0,1 0 0 0 0,-1 0 0 0 0,1 0 0 0 0,-1 0 0 0 0,0 0 0 0 0,1 0 0 0 0,-1 0 0 0 0,0 0 0 0 0,1 1 0 0 0,-1-1 0 0 0,1 0 0 0 0,-1 1 0 0 0,0 0 0 0 0,1-1 0 0 0,-1 1 0 0 0,-14 3 0 0 0,12-3 0 0 0,0 0 0 0 0,0 0 0 0 0,1 0 0 0 0,-1 1 0 0 0,1 0 0 0 0,-1-1 0 0 0,1 1 0 0 0,-1 0 0 0 0,1 1 0 0 0,0-1 0 0 0,-1 2 0 0 0,-21 11 0 0 0,20-12 0 0 0,-1 1 0 0 0,0-1 0 0 0,1 1 0 0 0,0 0 0 0 0,0 0 0 0 0,0 0 0 0 0,1 1 0 0 0,-1 0 0 0 0,1 0 0 0 0,0 0 0 0 0,0 0 0 0 0,1 1 0 0 0,0 0 0 0 0,0-1 0 0 0,-2 5 0 0 0,-20 46 0 0 0,21-44 0 0 0,2-8 0 0 0,1 1 0 0 0,-1-1 0 0 0,1 1 0 0 0,0 0 0 0 0,0-1 0 0 0,1 1 0 0 0,-1 0 0 0 0,1 0 0 0 0,0 2 0 0 0,4 12 0 0 0,-3-13 0 0 0,0-4 0 0 0,0 1 0 0 0,0-1 0 0 0,0 1 0 0 0,0-1 0 0 0,0 1 0 0 0,0-1 0 0 0,1 0 0 0 0,0 2 0 0 0,1 0 0 0 0,0 0 0 0 0,0 0 0 0 0,0-1 0 0 0,0 1 0 0 0,1-1 0 0 0,-1 1 0 0 0,1-1 0 0 0,0 0 0 0 0,3 1 0 0 0,5 5 0 0 0,-1-2 0 0 0,15 2 0 0 0,-22-7 0 0 0,18 6 0 0 0,-17-6 0 0 0,10 3 0 0 0,-1-2 0 0 0,1 1 0 0 0,0-2 0 0 0,8 1 0 0 0,-16-2 0 0 0,0 0 0 0 0,-1 0 0 0 0,1-1 0 0 0,0 0 0 0 0,-1 0 0 0 0,1 0 0 0 0,0 0 0 0 0,-1-1 0 0 0,1-1 0 0 0,6-1-1 0 0,-8 2-1 0 0,0-1 1 0 0,1 0-1 0 0,-1 0 1 0 0,0 0-1 0 0,0 0 1 0 0,0-1 0 0 0,0 1-1 0 0,0-1 1 0 0,-1-1-1 0 0,2 0 2 0 0,16-19-739 0 0,13-16 739 0 0,-14 15-2799 0 0,0 1 0 0 0,2 0 2799 0 0,-7 10-1999 0 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21.416"/>
    </inkml:context>
    <inkml:brush xml:id="br0">
      <inkml:brushProperty name="width" value="0.1" units="cm"/>
      <inkml:brushProperty name="height" value="0.1" units="cm"/>
    </inkml:brush>
  </inkml:definitions>
  <inkml:trace contextRef="#ctx0" brushRef="#br0">14 27 5296 0 0,'0'0'241'0'0,"-7"-12"38"0"0,4 6-1304 0 0,0-2 6285 0 0,9 12-2163 0 0,90 75-2781 0 0,-81-68-465 0 0,1 1 0 0 0,1-2 0 0 0,-1 0 0 0 0,2-1 1 0 0,12 5 148 0 0,-11-7-336 0 0</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21.954"/>
    </inkml:context>
    <inkml:brush xml:id="br0">
      <inkml:brushProperty name="width" value="0.1" units="cm"/>
      <inkml:brushProperty name="height" value="0.1" units="cm"/>
    </inkml:brush>
  </inkml:definitions>
  <inkml:trace contextRef="#ctx0" brushRef="#br0">32 59 1376 0 0,'-8'-11'1380'0'0,"-2"-7"1981"0"0,8 17-3071 0 0,1-1-1 0 0,0 1 1 0 0,0-1-1 0 0,0 0 1 0 0,0 1-1 0 0,0-1 1 0 0,1 0 0 0 0,-1 1-1 0 0,0-1 1 0 0,1 0-1 0 0,-1 0 1 0 0,1 0-290 0 0,0 1 745 0 0,0 1-96 0 0,-3-6 2487 0 0,39 31-2855 0 0,-1 1 1 0 0,-1 3-282 0 0,-2-3-11 0 0,11 7-914 0 0,-23-16 352 0 0</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22.568"/>
    </inkml:context>
    <inkml:brush xml:id="br0">
      <inkml:brushProperty name="width" value="0.1" units="cm"/>
      <inkml:brushProperty name="height" value="0.1" units="cm"/>
    </inkml:brush>
  </inkml:definitions>
  <inkml:trace contextRef="#ctx0" brushRef="#br0">0 1 1840 0 0,'0'0'83'0'0,"0"0"226"0"0,0 0 910 0 0,0 0 394 0 0,0 0 77 0 0,0 0-155 0 0,2 1-732 0 0,6 3-490 0 0,1 0 0 0 0,-1 0 0 0 0,1-1 0 0 0,-1 0 0 0 0,2-1-313 0 0,30 11 623 0 0,-19-4-399 0 0,1-2 0 0 0,-1 0 0 0 0,11 1-224 0 0,-23-6 28 0 0,1 1 1 0 0,-1 0-1 0 0,1 1 1 0 0,3 2-29 0 0,23 10-18 0 0,8 0-46 0 0,-7-3 48 0 0</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32.210"/>
    </inkml:context>
    <inkml:brush xml:id="br0">
      <inkml:brushProperty name="width" value="0.1" units="cm"/>
      <inkml:brushProperty name="height" value="0.1" units="cm"/>
    </inkml:brush>
  </inkml:definitions>
  <inkml:trace contextRef="#ctx0" brushRef="#br0">0 120 920 0 0,'0'0'324'0'0,"0"0"1025"0"0,0 0 451 0 0,0 0 89 0 0,0 0-163 0 0,6-4 402 0 0,7-3-1270 0 0,1 0-1 0 0,12-4-857 0 0,24-11 474 0 0,47-31-442 0 0,-73 38-141 0 0</inkml:trace>
  <inkml:trace contextRef="#ctx0" brushRef="#br0" timeOffset="444.222">248 592 1376 0 0,'-8'-3'128'0'0,"-1"1"1238"0"0,9 2-1114 0 0,0 0 0 0 0,-1 0-1 0 0,1 0 1 0 0,0-1 0 0 0,0 1-1 0 0,-1 0 1 0 0,1 0 0 0 0,0 0-1 0 0,0 0 1 0 0,0 0 0 0 0,0 0-1 0 0,-1 0 1 0 0,1-1 0 0 0,0 1-1 0 0,0 0 1 0 0,0 0 0 0 0,0 0 0 0 0,0 0-1 0 0,-1-1 1 0 0,1 1 0 0 0,0 0-1 0 0,0 0 1 0 0,0 0 0 0 0,0-1-1 0 0,0 1 1 0 0,0 0 0 0 0,0 0-1 0 0,0 0 1 0 0,0-1 0 0 0,0 1-252 0 0,5-6 5611 0 0,4 0-7693 0 0,-5 4 2185 0 0,1 0 0 0 0,-1 1 0 0 0,0-1 0 0 0,1 1 0 0 0,-1 0 0 0 0,4 0-103 0 0,20-5 398 0 0,30-8 115 0 0,-41 11-717 0 0,0-1-1 0 0,0-1 1 0 0,4-2 204 0 0,9-5-3573 0 0,3 1-1272 0 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26.830"/>
    </inkml:context>
    <inkml:brush xml:id="br0">
      <inkml:brushProperty name="width" value="0.1" units="cm"/>
      <inkml:brushProperty name="height" value="0.1" units="cm"/>
    </inkml:brush>
  </inkml:definitions>
  <inkml:trace contextRef="#ctx0" brushRef="#br0">709 277 2760 0 0,'0'0'120'0'0,"0"0"32"0"0,0 0-152 0 0,0-3 0 0 0,-5-9 0 0 0,2 1 0 0 0,3 0 960 0 0,-4-5 168 0 0,8-2 32 0 0,-1 4 8 0 0,2-10-800 0 0,4-2-160 0 0,-1-4-32 0 0,9 1-8 0 0,0-1-168 0 0,4 4 0 0 0,-9-1 0 0 0</inkml:trace>
  <inkml:trace contextRef="#ctx0" brushRef="#br0" timeOffset="568.911">1740 846 6216 0 0,'0'-8'562'0'0,"0"-38"1829"0"0,5-28-2391 0 0,-3 58 299 0 0,0 1 1 0 0,2-1-1 0 0,0 0 0 0 0,0 1 1 0 0,2 0-1 0 0,3-7-299 0 0,9-15 97 0 0,-6 14-582 0 0,6-19 485 0 0,-5 9-2539 0 0,4-1-907 0 0</inkml:trace>
  <inkml:trace contextRef="#ctx0" brushRef="#br0" timeOffset="1075.822">2679 1063 3224 0 0,'0'0'288'0'0,"0"0"-288"0"0,0 0 0 0 0,-4-8 0 0 0,-1 2 912 0 0,0-2 128 0 0,5 0 24 0 0,5-3 8 0 0,0-4-752 0 0,-1-4-144 0 0,4 0-32 0 0,5-2-2320 0 0,-1-3-472 0 0</inkml:trace>
  <inkml:trace contextRef="#ctx0" brushRef="#br0" timeOffset="1598.629">3558 1336 920 0 0,'0'-12'80'0'0,"1"-14"2650"0"0,2-1 0 0 0,1-2-2730 0 0,1-10 1481 0 0,16-107 626 0 0,-14 114-1746 0 0,1 0 1 0 0,2 0 0 0 0,7-16-362 0 0,14-30-16 0 0,-12 44-61 0 0</inkml:trace>
  <inkml:trace contextRef="#ctx0" brushRef="#br0" timeOffset="2139.738">4724 1702 6104 0 0,'0'0'274'0'0,"0"0"0"0"0,0 0-61 0 0,0 0 398 0 0,0 0 189 0 0,0 0 37 0 0,0-2-25 0 0,1-3-485 0 0,-1 1 1 0 0,1-1-1 0 0,0 1 1 0 0,0-1-1 0 0,0 1 1 0 0,1-1-1 0 0,-1 1 1 0 0,3-4-328 0 0,20-35 368 0 0,-6 12-375 0 0,-9 13-869 0 0,3 3-3450 0 0</inkml:trace>
  <inkml:trace contextRef="#ctx0" brushRef="#br0" timeOffset="2650.124">5633 1997 11952 0 0,'0'0'266'0'0,"0"0"44"0"0,0 0 14 0 0,0 0-31 0 0,-1-7-182 0 0,0 2-93 0 0,0 1 0 0 0,0-1 0 0 0,1 1 0 0 0,0-1 0 0 0,0 0 1 0 0,0 1-1 0 0,0-1 0 0 0,1 0 0 0 0,0 1 0 0 0,1-5-18 0 0,2-4 105 0 0,1 1 0 0 0,0 0 0 0 0,1-2-105 0 0,1 0 53 0 0,-1 0 0 0 0,2-9-53 0 0,0 1-267 0 0,0-1 0 0 0,2 2 267 0 0,19-52-1720 0 0,-9 9 762 0 0,-6 2-8 0 0</inkml:trace>
  <inkml:trace contextRef="#ctx0" brushRef="#br0" timeOffset="3415.943">11 700 2304 0 0,'-1'2'167'0'0,"-2"3"-11"0"0,2-4 473 0 0,-3 2 2030 0 0,2-2-999 0 0,9 1-1699 0 0,-2-2 122 0 0,1 1 0 0 0,-1-1 0 0 0,1 0-1 0 0,-1-1 1 0 0,1 1 0 0 0,-1-1 0 0 0,1 0 0 0 0,-1-1 0 0 0,1 1 0 0 0,2-2-83 0 0,10-5 37 0 0,0 0-1 0 0,7-6-36 0 0,-1 1 34 0 0,0-1-127 0 0,0-1 1 0 0,10-10 92 0 0,23-14-1342 0 0,-25 20-1227 0 0</inkml:trace>
  <inkml:trace contextRef="#ctx0" brushRef="#br0" timeOffset="3908.47">368 1792 7512 0 0,'0'0'166'0'0,"0"0"29"0"0,0 0 13 0 0,0 0 75 0 0,0 0 286 0 0,0 0 126 0 0,0 0 29 0 0,0 0-10 0 0,0 0-54 0 0,0 0-20 0 0,2-1-6 0 0,4-4-380 0 0,0 0 0 0 0,1 0 0 0 0,-1 1 0 0 0,3-1-254 0 0,23-16 116 0 0,27-29-559 0 0,41-30-1746 0 0,-65 54 1175 0 0,2-1-8 0 0</inkml:trace>
  <inkml:trace contextRef="#ctx0" brushRef="#br0" timeOffset="4393.559">815 2518 1840 0 0,'0'0'83'0'0,"-2"1"-6"0"0,-4 1 203 0 0,4-2 1089 0 0,2 0 471 0 0,0 0 89 0 0,0 0-147 0 0,0 0-704 0 0,0 0-307 0 0,0 0-60 0 0,2-3 409 0 0,16-9-373 0 0,2 0-205 0 0,-6 1-344 0 0,1 1 1 0 0,3-2-199 0 0,-3 3 30 0 0,0-1 0 0 0,3-4-30 0 0,22-19-950 0 0,7-1 950 0 0,-26 19-827 0 0,2-4-214 0 0</inkml:trace>
  <inkml:trace contextRef="#ctx0" brushRef="#br0" timeOffset="4877.156">1151 3299 10136 0 0,'0'0'230'0'0,"0"0"30"0"0,0 0 19 0 0,0 0 37 0 0,0 0 125 0 0,0 0 58 0 0,2-1 12 0 0,16-1-180 0 0,-14 1-285 0 0,1 1 0 0 0,-1-1 0 0 0,1 0 0 0 0,-1 0 1 0 0,1-1-1 0 0,2 0-46 0 0,21-10 0 0 0,-18 9 0 0 0,0-1 0 0 0,-1 0 0 0 0,3-2 0 0 0,119-69 0 0 0,-40 15-884 0 0,-62 41-3536 0 0</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19.799"/>
    </inkml:context>
    <inkml:brush xml:id="br0">
      <inkml:brushProperty name="width" value="0.1" units="cm"/>
      <inkml:brushProperty name="height" value="0.1" units="cm"/>
    </inkml:brush>
  </inkml:definitions>
  <inkml:trace contextRef="#ctx0" brushRef="#br0">22 1523 3224 0 0,'-17'-5'500'0'0,"17"5"-372"0"0,0 0-1 0 0,0 0 1 0 0,0 0 0 0 0,0 0 0 0 0,0 0 0 0 0,0 0-1 0 0,0 1 1 0 0,0-1 0 0 0,0 0 0 0 0,0 0 0 0 0,0 0-1 0 0,0 0 1 0 0,0 0 0 0 0,0 0 0 0 0,0 0-1 0 0,0 0 1 0 0,0 1 0 0 0,0-1 0 0 0,0 0 0 0 0,0 0-1 0 0,0 0 1 0 0,0 0 0 0 0,0 0 0 0 0,0 0-1 0 0,0 0 1 0 0,-1 0 0 0 0,1 0 0 0 0,0 0 0 0 0,0 1-1 0 0,0-1 1 0 0,0 0 0 0 0,0 0 0 0 0,0 0 0 0 0,0 0-1 0 0,0 0 1 0 0,0 0 0 0 0,0 0 0 0 0,0 0-1 0 0,-1 0 1 0 0,1 0 0 0 0,0 0 0 0 0,0 0 0 0 0,0 0-1 0 0,0 0 1 0 0,0 0 0 0 0,0 0 0 0 0,0 0-1 0 0,0 0 1 0 0,-1 0 0 0 0,1 0 0 0 0,0 0 0 0 0,0 0-1 0 0,0 0 1 0 0,0 0 0 0 0,0 0 0 0 0,0 0 0 0 0,0 0-1 0 0,0 0 1 0 0,0 0 0 0 0,-1 0 0 0 0,1 0-1 0 0,0 0 1 0 0,0 0 0 0 0,0 0 0 0 0,0 0 0 0 0,0-1-1 0 0,0 1 1 0 0,0 0-128 0 0,9 9 1535 0 0,19 10-1995 0 0,2-3 1236 0 0,12 3-776 0 0,20 10 280 0 0,-43-20-549 0 0,1-1 1 0 0,0-1 0 0 0,16 4 268 0 0,-29-9-351 0 0,13 3-389 0 0</inkml:trace>
  <inkml:trace contextRef="#ctx0" brushRef="#br0" timeOffset="476.652">350 1050 2304 0 0,'-3'-11'212'0'0,"1"7"4080"0"0,1 4-4112 0 0,1 0 0 0 0,0-1 0 0 0,0 1 0 0 0,-1-1 0 0 0,1 1 0 0 0,-1 0 0 0 0,1-1 0 0 0,0 1 0 0 0,-1 0 0 0 0,1-1 0 0 0,-1 1 0 0 0,1 0 0 0 0,-1 0 0 0 0,1 0 0 0 0,0-1 0 0 0,-1 1 0 0 0,1 0 0 0 0,-1 0 0 0 0,1 0 0 0 0,-1 0 0 0 0,1 0 0 0 0,-1 0 0 0 0,1 0 0 0 0,-1 0 0 0 0,1 0 0 0 0,-1 0 0 0 0,1 0 0 0 0,-1 0 0 0 0,1 0 0 0 0,-1 0 0 0 0,1 0 0 0 0,-1 1 0 0 0,1-1 0 0 0,-1 0 0 0 0,0 1-180 0 0,15 17 172 0 0,-6-10-4 0 0,0-1 1 0 0,1 0 0 0 0,0 0 0 0 0,1-1 0 0 0,-1 0 0 0 0,8 3-169 0 0,-10-6 4 0 0,4 2-44 0 0,0 0-1 0 0,0 0 0 0 0,1-2 0 0 0,0 1 0 0 0,9 1 41 0 0,0-2-149 0 0</inkml:trace>
  <inkml:trace contextRef="#ctx0" brushRef="#br0" timeOffset="1061.931">880 14 6416 0 0,'-13'-13'585'0'0,"12"12"-342"0"0,1 1 506 0 0,0 0 239 0 0,0 0 48 0 0,0 0-68 0 0,0 0-328 0 0,0 15 741 0 0,1-11-1359 0 0,0 0 0 0 0,0 0 0 0 0,1-1 0 0 0,-1 1 0 0 0,1 0 0 0 0,0-1 0 0 0,0 1 0 0 0,0-1 0 0 0,0 1 0 0 0,1-1 0 0 0,1 2-22 0 0,4 6 8 0 0,-2-3-60 0 0,0-1 1 0 0,1 0 0 0 0,0 0 0 0 0,3 2 51 0 0,9 9-274 0 0,-3-3-295 0 0</inkml:trace>
  <inkml:trace contextRef="#ctx0" brushRef="#br0" timeOffset="3399.925">1044 1769 3224 0 0,'0'0'288'0'0,"0"0"-288"0"0,8 8 0 0 0,-4 2 0 0 0,-4 3 1024 0 0,5 5 144 0 0,0 1 32 0 0,-2 0 8 0 0,1 6-720 0 0,1 6-136 0 0,3 14-32 0 0,-4-5-2752 0 0,14 5-552 0 0</inkml:trace>
  <inkml:trace contextRef="#ctx0" brushRef="#br0" timeOffset="4064.067">1944 1425 920 0 0,'0'0'80'0'0,"0"0"-80"0"0,0 0 0 0 0,0 0 0 0 0,0 0 1376 0 0,0 11 256 0 0,-4-3 48 0 0,4 7 16 0 0,0-4-1120 0 0,0 3-216 0 0,0 6-40 0 0,0-1-16 0 0,4 0-152 0 0,1 10-32 0 0,0-2-8 0 0,2 2 0 0 0,-2 1-112 0 0,3 4 0 0 0</inkml:trace>
  <inkml:trace contextRef="#ctx0" brushRef="#br0" timeOffset="4600.741">3089 1140 2760 0 0,'-5'-10'272'0'0,"1"-3"851"0"0,5 19 2866 0 0,3 13 116 0 0,-1-7-4319 0 0,-2-10-629 0 0,26 103 1321 0 0,10 38-3671 0 0,-25-96-444 0 0</inkml:trace>
  <inkml:trace contextRef="#ctx0" brushRef="#br0" timeOffset="5111.121">4086 842 2304 0 0,'0'0'101'0'0,"0"1"1"0"0,2 2 112 0 0,-1 0 1 0 0,0 0 0 0 0,0 0 0 0 0,-1 0 0 0 0,1 1-1 0 0,-1-1 1 0 0,0 0 0 0 0,1 3-215 0 0,0 11 1527 0 0,4 17 105 0 0,15 81 726 0 0,-16-96-2158 0 0,4 15 283 0 0,4 11-483 0 0,2-5 15 0 0</inkml:trace>
  <inkml:trace contextRef="#ctx0" brushRef="#br0" timeOffset="5631.569">5059 595 920 0 0,'-1'-1'67'0'0,"-6"-1"230"0"0,6 1 1178 0 0,1 1 513 0 0,0 0 99 0 0,0 0-187 0 0,0 0-876 0 0,-7 19 670 0 0,6-7-1522 0 0,0-1 1 0 0,1 1 0 0 0,1 0-1 0 0,0 0 1 0 0,0 0-1 0 0,2 5-172 0 0,6 20 622 0 0,5 12-622 0 0,-4-15-52 0 0,-3-15-195 0 0,0 0 0 0 0,6 11 247 0 0,-11-26-27 0 0,15 33-253 0 0</inkml:trace>
  <inkml:trace contextRef="#ctx0" brushRef="#br0" timeOffset="6139.072">5972 528 11256 0 0,'0'11'248'0'0,"3"4"48"0"0,2 4 16 0 0,-5 3 8 0 0</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38.175"/>
    </inkml:context>
    <inkml:brush xml:id="br0">
      <inkml:brushProperty name="width" value="0.1" units="cm"/>
      <inkml:brushProperty name="height" value="0.1" units="cm"/>
    </inkml:brush>
  </inkml:definitions>
  <inkml:trace contextRef="#ctx0" brushRef="#br0">80 128 4200 0 0,'0'0'191'0'0,"0"2"-11"0"0,-1 0-155 0 0,-7 13-13 0 0,-10 13 789 0 0,11-16 13 0 0,0 0 0 0 0,-1-1 0 0 0,-1 0 0 0 0,-3 3-814 0 0,2-4 2354 0 0,10-9-1031 0 0,9-15-264 0 0,10-17-1109 0 0,0 1-1 0 0,2 1 1 0 0,13-14 50 0 0,-21 27-384 0 0,19-23-2750 0 0,3-5-1046 0 0</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44.684"/>
    </inkml:context>
    <inkml:brush xml:id="br0">
      <inkml:brushProperty name="width" value="0.1" units="cm"/>
      <inkml:brushProperty name="height" value="0.1" units="cm"/>
    </inkml:brush>
  </inkml:definitions>
  <inkml:trace contextRef="#ctx0" brushRef="#br0">0 0 6448 0 0,'0'0'576'0'0,"0"0"-464"0"0,0 0-112 0 0,5 8 0 0 0,3 0 688 0 0,-4-1 112 0 0,6-4 32 0 0,2 8 0 0 0,0-6-416 0 0,-4-2-88 0 0,5 5-8 0 0,-1-5-8 0 0,5 2-192 0 0,0-2-40 0 0,5-3-8 0 0,-6 4-3240 0 0,1-4-656 0 0</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45.098"/>
    </inkml:context>
    <inkml:brush xml:id="br0">
      <inkml:brushProperty name="width" value="0.1" units="cm"/>
      <inkml:brushProperty name="height" value="0.1" units="cm"/>
    </inkml:brush>
  </inkml:definitions>
  <inkml:trace contextRef="#ctx0" brushRef="#br0">21 1 7832 0 0,'-20'0'344'0'0,"20"0"72"0"0,0 0-328 0 0,0 0-88 0 0,0 0 0 0 0,0 0 0 0 0,8 0 528 0 0,9 3 88 0 0,3 4 24 0 0,6-2 0 0 0,-6-2-304 0 0,19 5-56 0 0,3-5-16 0 0</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48:33.638"/>
    </inkml:context>
    <inkml:brush xml:id="br0">
      <inkml:brushProperty name="width" value="0.1" units="cm"/>
      <inkml:brushProperty name="height" value="0.1" units="cm"/>
    </inkml:brush>
  </inkml:definitions>
  <inkml:trace contextRef="#ctx0" brushRef="#br0">5804 3096 5064 0 0,'-26'-12'701'0'0,"24"11"358"0"0,-5-1 2213 0 0,3 1 2198 0 0,9-1-5459 0 0,0 0 0 0 0,-1 0-1 0 0,1 0 1 0 0,0-1 0 0 0,-1 0-1 0 0,1 0 1 0 0,-1 0 0 0 0,0 0 0 0 0,0-1-1 0 0,0 1 1 0 0,-1-1-11 0 0,16-16 33 0 0,9-13-33 0 0,-17 19 3 0 0,47-59-207 0 0,15-18-1884 0 0,-46 61-2804 0 0</inkml:trace>
  <inkml:trace contextRef="#ctx0" brushRef="#br0" timeOffset="399.775">5077 2665 4608 0 0,'0'0'408'0'0,"0"0"-328"0"0,0 0-80 0 0,0 0 0 0 0,0 0 952 0 0,0-8 168 0 0,0 5 40 0 0,4-5 8 0 0,1 1-792 0 0,-2 3-160 0 0,11-8-32 0 0,-6 6-8 0 0,4-7-176 0 0,1-1 0 0 0,4-4 0 0 0,-5-6 0 0 0,10 3-320 0 0,-2-6-96 0 0</inkml:trace>
  <inkml:trace contextRef="#ctx0" brushRef="#br0" timeOffset="937.934">4319 1992 4144 0 0,'0'0'368'0'0,"0"0"-296"0"0,0 0-72 0 0,0 0 0 0 0,-3-4 1184 0 0,3-3 216 0 0,0-1 40 0 0,0 0 16 0 0,3 0-816 0 0,7-3-160 0 0,-3 1-32 0 0,1-1 0 0 0,9-8-312 0 0,0 0-56 0 0,0 1-16 0 0,4-6-3352 0 0,5-2-672 0 0</inkml:trace>
  <inkml:trace contextRef="#ctx0" brushRef="#br0" timeOffset="1816.53">3828 1494 2760 0 0,'-2'1'207'0'0,"-5"7"-419"0"0,-1-1 1172 0 0,2-4 3375 0 0,5-3-4240 0 0,1 0-1 0 0,0 0 1 0 0,0 0-1 0 0,-1 0 1 0 0,1-1-1 0 0,0 1 0 0 0,-1 0 1 0 0,1 0-1 0 0,0 0 1 0 0,0 0-1 0 0,-1 0 0 0 0,1 0 1 0 0,0 0-1 0 0,0 0 1 0 0,-1-1-1 0 0,1 1 1 0 0,0 0-1 0 0,0 0 0 0 0,0 0 1 0 0,-1 0-1 0 0,1-1 1 0 0,0 1-1 0 0,0 0 1 0 0,0 0-1 0 0,0-1 0 0 0,-1 1 1 0 0,1 0-1 0 0,0 0 1 0 0,0-1-1 0 0,0 1 1 0 0,0 0-1 0 0,0 0 0 0 0,0-1 1 0 0,0 1-1 0 0,0 0 1 0 0,0-1-95 0 0,2-13 1223 0 0,0 10-1130 0 0,-1 1 0 0 0,1-1 1 0 0,0 1-1 0 0,0-1 1 0 0,0 1-1 0 0,0 0 0 0 0,1-1-93 0 0,84-78 548 0 0,-21 19-1194 0 0,-49 40 242 0 0</inkml:trace>
  <inkml:trace contextRef="#ctx0" brushRef="#br0" timeOffset="2291.201">3125 887 1376 0 0,'-1'-1'107'0'0,"-2"-2"496"0"0,1 0 1 0 0,0 0-1 0 0,-1-1 0 0 0,1 1 1 0 0,1-1-1 0 0,-1 1 1 0 0,0-1-1 0 0,1 0 1 0 0,0 1-1 0 0,0-1 1 0 0,0 0-1 0 0,0 0 0 0 0,1 0 1 0 0,-1 0-1 0 0,1-3-603 0 0,1 3 222 0 0,1-1 0 0 0,-1 1 0 0 0,1 0 0 0 0,0 0 0 0 0,0 0 0 0 0,0 0 0 0 0,1 0 0 0 0,-1 1 0 0 0,1-1-1 0 0,1 0-221 0 0,0-1 167 0 0,13-17 114 0 0,18-16-281 0 0,-3 4 35 0 0,31-45 62 0 0,-42 49-70 0 0,-8 11-388 0 0,0-1 1 0 0,-2 0-1 0 0,7-18 361 0 0,-14 28-468 0 0,9-17-3806 0 0</inkml:trace>
  <inkml:trace contextRef="#ctx0" brushRef="#br0" timeOffset="2753.968">2212 286 4144 0 0,'0'0'319'0'0,"0"0"-41"0"0,0 0 611 0 0,-1-12 2689 0 0,-4 0-2539 0 0,4 11-931 0 0,0-1 0 0 0,0 1-1 0 0,0-1 1 0 0,1 1 0 0 0,-1-1 0 0 0,0 1-1 0 0,1-1 1 0 0,-1 1 0 0 0,1-1-1 0 0,0 1 1 0 0,0-1 0 0 0,0 0-1 0 0,-1 1 1 0 0,1-1 0 0 0,1 1-1 0 0,-1-1-107 0 0,2-7 225 0 0,2 0 0 0 0,-1 1-1 0 0,1-1 1 0 0,0 1 0 0 0,2-2-225 0 0,1-3 86 0 0,-1 5-74 0 0,0-1 1 0 0,0 1-1 0 0,0 1 1 0 0,1-1-1 0 0,1 1-12 0 0,11-14 14 0 0,45-50-3621 0 0,-40 41-538 0 0</inkml:trace>
  <inkml:trace contextRef="#ctx0" brushRef="#br0" timeOffset="5183.869">14 4315 5984 0 0,'0'0'464'0'0,"-2"2"120"0"0,-4 7-134 0 0,5-2-230 0 0,-1-1 0 0 0,1 0 0 0 0,0 1 0 0 0,0-1-1 0 0,1 1 1 0 0,0-1 0 0 0,0 1 0 0 0,1 3-220 0 0,0 11 375 0 0,2 39 129 0 0,3 0 0 0 0,14 59-504 0 0,-15-92 24 0 0,3 24-24 0 0</inkml:trace>
  <inkml:trace contextRef="#ctx0" brushRef="#br0" timeOffset="5735.894">1088 4281 1840 0 0,'-14'-3'1328'0'0,"-9"-2"2596"0"0,20 6-3659 0 0,1 0 1 0 0,0 1-1 0 0,0-1 1 0 0,0 0-1 0 0,0 1 1 0 0,0 0-1 0 0,-1 0-265 0 0,1 1 87 0 0,-1-1 0 0 0,1 1 0 0 0,0-1 0 0 0,0 1 0 0 0,1 0 0 0 0,-1 0 0 0 0,1 0-1 0 0,-1 0 1 0 0,1 0 0 0 0,0 0 0 0 0,0 0 0 0 0,0 2-87 0 0,-6 42 296 0 0,4-18-255 0 0,1-19-39 0 0,-2 34-2805 0 0,4-12-430 0 0</inkml:trace>
  <inkml:trace contextRef="#ctx0" brushRef="#br0" timeOffset="6229.052">1892 4254 3224 0 0,'0'0'143'0'0,"0"-1"-3"0"0,0-4 114 0 0,0 4 913 0 0,0 1 391 0 0,0 0 70 0 0,0 0-161 0 0,0 7-1101 0 0,1 0 0 0 0,0 1 0 0 0,1-1 0 0 0,0 0 0 0 0,1 4-366 0 0,4 16 171 0 0,13 49 37 0 0,-14-46-294 0 0</inkml:trace>
  <inkml:trace contextRef="#ctx0" brushRef="#br0" timeOffset="6704.715">2686 4108 7024 0 0,'0'0'312'0'0,"0"0"64"0"0,0 0-304 0 0,0 0-72 0 0,0 0 0 0 0,0 13 0 0 0,0 1 544 0 0,10 4 88 0 0,-10 6 16 0 0,0-3 8 0 0,0 3-360 0 0,3 5-72 0 0,6-2-8 0 0,-4 5-8 0 0,-2-2-32 0 0,6 9-8 0 0,-1-2 0 0 0,1 0-4840 0 0</inkml:trace>
  <inkml:trace contextRef="#ctx0" brushRef="#br0" timeOffset="7166.985">3626 3900 3224 0 0,'0'0'445'0'0,"0"0"662"0"0,0 0 291 0 0,0 0 61 0 0,0 0-122 0 0,0 0-557 0 0,0 0-240 0 0,0 0-48 0 0,-1 2-54 0 0,0 2-382 0 0,0 0 1 0 0,0 0 0 0 0,1 0 0 0 0,-1 1 0 0 0,1-1-1 0 0,0 0 1 0 0,1 0 0 0 0,-1 1 0 0 0,1-1-1 0 0,0 2-56 0 0,1 15 133 0 0,3 27-13 0 0,2 0 0 0 0,11 38-120 0 0,-6-41-168 0 0</inkml:trace>
  <inkml:trace contextRef="#ctx0" brushRef="#br0" timeOffset="7658.024">4627 3642 5064 0 0,'0'0'389'0'0,"0"0"-90"0"0,1 1 547 0 0,0 8 2 0 0,1 0 0 0 0,-1 0 0 0 0,-1 0 0 0 0,0 0 0 0 0,0 0 0 0 0,-1 4-848 0 0,1 36 834 0 0,6 2-471 0 0,2 27-54 0 0,-7-61-329 0 0,1 1 0 0 0,1-1 0 0 0,3 10 20 0 0,6 18-12 0 0</inkml:trace>
  <inkml:trace contextRef="#ctx0" brushRef="#br0" timeOffset="8104.421">5535 3458 3680 0 0,'0'0'160'0'0,"0"0"40"0"0,0 0-200 0 0,0 0 0 0 0,0 0 0 0 0,0 0 0 0 0,-3 8 1904 0 0,-1-2 336 0 0,-1-1 72 0 0,5 6 16 0 0,0 4-1640 0 0,0 4-328 0 0,0 3-64 0 0,5 1-8 0 0,-1 7-160 0 0,-1-1-32 0 0,2-3-8 0 0,3 15-5992 0 0</inkml:trace>
  <inkml:trace contextRef="#ctx0" brushRef="#br0" timeOffset="8656.963">5919 4052 10136 0 0,'0'0'224'0'0,"0"0"40"0"0,8 8 16 0 0,0 3 8 0 0,-3-3-288 0 0,7 2 0 0 0,1 3 0 0 0,-1 1 0 0 0,10-3 0 0 0,-2 1 0 0 0,2 2 0 0 0,3-3 0 0 0,0 5 264 0 0,9-5 0 0 0,-5-1 0 0 0</inkml:trace>
  <inkml:trace contextRef="#ctx0" brushRef="#br0" timeOffset="9179.749">5742 4850 6448 0 0,'0'0'576'0'0,"0"0"-464"0"0,0 0-112 0 0,0 0 0 0 0,0 0 1344 0 0,5 6 240 0 0,-2 2 48 0 0,6 3 16 0 0,4-3-1104 0 0,-1 3-224 0 0,1-4-48 0 0,4 4-8 0 0,-5-3-168 0 0,13 3-96 0 0,0 1 96 0 0,1-4-4064 0 0,-5-2-816 0 0</inkml:trace>
  <inkml:trace contextRef="#ctx0" brushRef="#br0" timeOffset="9630.454">5274 5519 1376 0 0,'0'0'459'0'0,"0"0"1390"0"0,0 0 615 0 0,0 0 120 0 0,0 0-254 0 0,1 1-1178 0 0,3 4-891 0 0,0 0 0 0 0,0 0 0 0 0,0-1 0 0 0,1 1-1 0 0,0-1 1 0 0,0 0 0 0 0,0 0 0 0 0,4 2-261 0 0,46 25 961 0 0,-12-8-813 0 0,-27-16-94 0 0</inkml:trace>
  <inkml:trace contextRef="#ctx0" brushRef="#br0" timeOffset="10091.736">4955 6256 10136 0 0,'0'0'448'0'0,"0"0"96"0"0,0 0-440 0 0,0 0-104 0 0,0 0 0 0 0,0 0 0 0 0,0 0 432 0 0,5 8 64 0 0,-5-8 16 0 0,12 11 0 0 0,1-1-200 0 0,-1 1-40 0 0,5-3-8 0 0,0 3 0 0 0,-1-6-168 0 0,10 2-32 0 0,-5 4 0 0 0,4-3-5872 0 0</inkml:trace>
  <inkml:trace contextRef="#ctx0" brushRef="#br0" timeOffset="10584.263">4517 7124 6448 0 0,'0'0'498'0'0,"0"0"-215"0"0,0 0 316 0 0,0 0 175 0 0,0 0 33 0 0,0 0-60 0 0,2 0-286 0 0,6 0-249 0 0,-1 1 0 0 0,0 1-1 0 0,1-1 1 0 0,-1 1 0 0 0,0 0 0 0 0,6 3-212 0 0,14 4 264 0 0,43 14-532 0 0,-41-15-8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52.076"/>
    </inkml:context>
    <inkml:brush xml:id="br0">
      <inkml:brushProperty name="width" value="0.1" units="cm"/>
      <inkml:brushProperty name="height" value="0.1" units="cm"/>
      <inkml:brushProperty name="color" value="#FFC114"/>
    </inkml:brush>
  </inkml:definitions>
  <inkml:trace contextRef="#ctx0" brushRef="#br0">255 50 0 0 0,'0'0'2365'0'0,"-3"-6"4231"0"0,3 4-6338 0 0,-1 0-1 0 0,1 0 1 0 0,-1 0 0 0 0,0 0 0 0 0,0 0-1 0 0,0 0 1 0 0,0 1 0 0 0,0-1-1 0 0,0 0 1 0 0,0 0 0 0 0,0 1 0 0 0,-1-1-1 0 0,1 1 1 0 0,-1-1 0 0 0,1 1-1 0 0,-1 0 1 0 0,1-1 0 0 0,-1 1 0 0 0,0 0-1 0 0,0 0 1 0 0,1 0 0 0 0,-1 0-1 0 0,0 1 1 0 0,0-1 0 0 0,0 0 0 0 0,0 1-1 0 0,0-1 1 0 0,0 1 0 0 0,0 0-1 0 0,0 0 1 0 0,-1 0-258 0 0,-5-3 505 0 0,7 3-467 0 0,1 0 0 0 0,-1-1 0 0 0,0 1 0 0 0,1 0 0 0 0,-1 0 0 0 0,0 0 0 0 0,1-1 0 0 0,-1 1 0 0 0,0 0-1 0 0,0 0 1 0 0,1 0 0 0 0,-1 0 0 0 0,0 0 0 0 0,1 0 0 0 0,-1 0 0 0 0,0 1-38 0 0,-63 17 1737 0 0,58-15-1606 0 0,1 0-1 0 0,-1 0 0 0 0,1 0 0 0 0,-1 1 1 0 0,1 0-1 0 0,0 0 0 0 0,0 0 1 0 0,1 0-1 0 0,-1 1 0 0 0,-1 3-130 0 0,-12 18 140 0 0,16-24-131 0 0,1 1 0 0 0,-1-1 0 0 0,0 0 0 0 0,1 1 0 0 0,-1-1 0 0 0,1 1 0 0 0,-1 0 0 0 0,1-1 0 0 0,0 1 0 0 0,1 0 0 0 0,-1 0 0 0 0,0 0 0 0 0,1 0-9 0 0,-8 20 35 0 0,6-19-25 0 0,1 1 1 0 0,-1-1-1 0 0,1 1 1 0 0,0-1-1 0 0,0 1 1 0 0,0 0-1 0 0,1 0 1 0 0,0-1-1 0 0,0 1 0 0 0,0 0 1 0 0,0 0-1 0 0,1-1-10 0 0,-1-2 0 0 0,0 0 0 0 0,0 0 0 0 0,0-1 0 0 0,0 1 0 0 0,0 0 0 0 0,-1-1 0 0 0,1 1 0 0 0,0 0 0 0 0,-1-1 0 0 0,1 1-1 0 0,-1 0 1 0 0,0-1 0 0 0,1 1 0 0 0,-5 16 12 0 0,6 3 66 0 0,0-13-49 0 0,-1-1 0 0 0,0 1 0 0 0,-1-1 1 0 0,1 1-1 0 0,-2 2-29 0 0,2-8 8 0 0,0-1-5 0 0,-1-1-1 0 0,1 1 1 0 0,0 0 0 0 0,0-1-1 0 0,0 1 1 0 0,0-1-1 0 0,0 1 1 0 0,0-1 0 0 0,-1 1-1 0 0,1-1 1 0 0,1 1-1 0 0,-1-1 1 0 0,0 1 0 0 0,0 0-1 0 0,0-1 1 0 0,0 1-1 0 0,0-1 1 0 0,0 1 0 0 0,1-1-1 0 0,-1 1 1 0 0,0-1-1 0 0,0 1 1 0 0,1-1 0 0 0,-1 1-1 0 0,0-1 1 0 0,1 1-1 0 0,-1-1 1 0 0,0 0 0 0 0,1 1-1 0 0,-1-1 1 0 0,1 0-3 0 0,13 20 88 0 0,-12-16-70 0 0,0-1-1 0 0,1-1 0 0 0,-1 1 1 0 0,1 0-1 0 0,-1-1 0 0 0,1 1 1 0 0,0-1-1 0 0,0 0 0 0 0,0 1 1 0 0,0-2-1 0 0,1 2-17 0 0,-3-3 6 0 0,0 1-1 0 0,1 0 1 0 0,-1 1-1 0 0,0-1 1 0 0,0 0-1 0 0,0 0 1 0 0,0 0-1 0 0,0 1 1 0 0,0 0-6 0 0,1 0 3 0 0,0 1 21 0 0,0-1-1 0 0,1 0 0 0 0,-1 0 0 0 0,1 0 0 0 0,-1 0 0 0 0,1 0 1 0 0,0-1-1 0 0,1 1-23 0 0,4 3 46 0 0,-4-3-15 0 0,-1-1 0 0 0,0 0 0 0 0,1 1 0 0 0,-1-1 0 0 0,1 0 0 0 0,2 0-31 0 0,15 5 97 0 0,-14-4-79 0 0,-1 0 0 0 0,1-1 1 0 0,0 0-1 0 0,-1 0 0 0 0,1 0 0 0 0,0-1 1 0 0,0 0-1 0 0,-1 0 0 0 0,1-1 0 0 0,1 0-18 0 0,22-1 75 0 0,-23 2-65 0 0,-1-1 0 0 0,0 0 0 0 0,1 0 0 0 0,4-2-10 0 0,20-3 36 0 0,-24 4-19 0 0,0 0-1 0 0,0 0 0 0 0,0-1 0 0 0,3-1-16 0 0,6-2 53 0 0,-9 4-22 0 0,-5 1-24 0 0,-2 0-1 0 0,1 0 1 0 0,-1-1-1 0 0,1 1 1 0 0,0 0-1 0 0,0 0 0 0 0,0 0 1 0 0,0 0-1 0 0,0 0 1 0 0,0 0-1 0 0,0 0 0 0 0,0 0 1 0 0,0 0-1 0 0,0 0 1 0 0,1 0-7 0 0,0 0 10 0 0,-1-1 0 0 0,1 0 0 0 0,0 0 1 0 0,0 0-1 0 0,-1 0 0 0 0,1 0 0 0 0,-1 0 1 0 0,0-1-1 0 0,0 1 0 0 0,1 0 0 0 0,-1-3-10 0 0,13-23 162 0 0,-1 2-162 0 0,-12 25 4 0 0,0 0-1 0 0,0 0 1 0 0,-1 0-1 0 0,1 0 0 0 0,-1-1 1 0 0,1 1-1 0 0,-1 0 1 0 0,1 0-1 0 0,-1-1 0 0 0,0 1 1 0 0,0 0-1 0 0,1-1-3 0 0,0-5 23 0 0,1 6-23 0 0,-2 0 0 0 0,1 1 0 0 0,-1-1 0 0 0,1 1 0 0 0,-1-1 0 0 0,0 1 0 0 0,0-1 0 0 0,1 1 0 0 0,-1-1 0 0 0,0 1 0 0 0,0-1 0 0 0,0 1 0 0 0,1-1 0 0 0,-1 0 0 0 0,0 1 0 0 0,0-1 0 0 0,0 1 0 0 0,0-1 0 0 0,0 0 0 0 0,0 1 0 0 0,0-1 0 0 0,0 1 0 0 0,-1-1 0 0 0,1 0 0 0 0,0-9 6 0 0,0 3 9 0 0,0-1-1 0 0,0 1 1 0 0,1 0-1 0 0,1-2-14 0 0,-2 5 9 0 0,0 1 0 0 0,0 0 0 0 0,0 0 0 0 0,-1-1 0 0 0,1 1 0 0 0,-1 0 0 0 0,0 0 0 0 0,0 0 0 0 0,0 0 0 0 0,0 0 0 0 0,-1-1-9 0 0,-5-17 120 0 0,6 15-84 0 0,0 3-16 0 0,-19-25 265 0 0,16 20-219 0 0,3 6-52 0 0,0 0 0 0 0,0 0-1 0 0,0 0 1 0 0,-1 0 0 0 0,1 1-1 0 0,0-1 1 0 0,-1 0 0 0 0,0 0 0 0 0,1 1-1 0 0,-1-1 1 0 0,0 1 0 0 0,0 0-1 0 0,1-1 1 0 0,-1 1 0 0 0,0 0-1 0 0,0 0 1 0 0,-2-1-14 0 0,3 3 13 0 0,-6-9 39 0 0,6 7-50 0 0,1 1 0 0 0,0-1-1 0 0,-1 1 1 0 0,1-1-1 0 0,-1 1 1 0 0,1 0 0 0 0,-1-1-1 0 0,0 1 1 0 0,1 0 0 0 0,-1-1-1 0 0,1 1 1 0 0,-1 0-1 0 0,0 0 1 0 0,1-1 0 0 0,-1 1-1 0 0,1 0 1 0 0,-1 0 0 0 0,0 0-1 0 0,1 0 1 0 0,-1 0 0 0 0,0 0-1 0 0,1 0 1 0 0,-1 0-1 0 0,0 0 1 0 0,1 0 0 0 0,-1 1-1 0 0,0-1 1 0 0,1 0 0 0 0,-1 0-2 0 0,-20 11 57 0 0,10-4-38 0 0,-3-3-3 0 0,1 0-1 0 0,-1 2 0 0 0,0 0-15 0 0,-20 8 37 0 0,28-11-32 0 0,0 0 1 0 0,-1 1-1 0 0,2 0 0 0 0,-1 0 1 0 0,0 0-1 0 0,1 0 0 0 0,0 1 1 0 0,0 0-1 0 0,0 0 0 0 0,-2 3-5 0 0,3-2 0 0 0,0 1 0 0 0,0-1 0 0 0,1 1-1 0 0,0 0 1 0 0,0-1 0 0 0,1 1 0 0 0,0 2 0 0 0,-7 15 55 0 0,6-14-45 0 0,0-1 1 0 0,1 1 0 0 0,0-1-1 0 0,1 1 1 0 0,0 0 0 0 0,0-1-1 0 0,1 6-10 0 0,-1-10 2 0 0,1-3 1 0 0,0-1 1 0 0,-1 0-1 0 0,1 0 0 0 0,0 0 0 0 0,0 0 0 0 0,0 1 0 0 0,0-1 0 0 0,1 0 0 0 0,-1 0 0 0 0,0 0 0 0 0,0 0 0 0 0,1 0 1 0 0,-1 1-1 0 0,1-1 0 0 0,-1 0 0 0 0,1 0 0 0 0,-1 0 0 0 0,1 0 0 0 0,0 0 0 0 0,0 0-3 0 0,3 8 0 0 0,1 1 0 0 0,3-2 0 0 0,-1-2 0 0 0,0 0 0 0 0,1-1 0 0 0,0 0 0 0 0,0-1 0 0 0,0 1 0 0 0,8 1 0 0 0,-10-5 0 0 0,-1 0 0 0 0,0 0 0 0 0,1 0 0 0 0,-1-1 0 0 0,5 0 0 0 0,-4 0 0 0 0,13-2 4 0 0,-14 0 16 0 0,1-1 10 0 0,31-9-9 0 0,-20 4 32 0 0,-13 7-48 0 0,0-1 0 0 0,0 0 0 0 0,0 0 0 0 0,0 0 0 0 0,0-1 0 0 0,-1 1 0 0 0,1-1 0 0 0,-1 0 0 0 0,0 0-1 0 0,0 0 1 0 0,0 0 0 0 0,0-1 0 0 0,0 1 0 0 0,-1-1 0 0 0,1 0 0 0 0,-1 1 0 0 0,0-1 0 0 0,0 0 0 0 0,-1 0 0 0 0,1-1 0 0 0,-1 1 0 0 0,0 0-1 0 0,0 0 1 0 0,0-1 0 0 0,-1 1 0 0 0,0-3-5 0 0,1-12 9 0 0,-1 7 11 0 0,0-1 0 0 0,0 0 0 0 0,-1 1-1 0 0,-1-1 1 0 0,0 1 0 0 0,-2-6-20 0 0,-9 6 64 0 0,7 7-51 0 0,0 0 0 0 0,1 0 0 0 0,-1 0-1 0 0,1-1 1 0 0,0-1-13 0 0,4 7 0 0 0,1-1 0 0 0,-1 1 0 0 0,1-1 0 0 0,-1 1 0 0 0,1-1 0 0 0,-1 1 0 0 0,1 0 0 0 0,-1-1 0 0 0,1 1 0 0 0,-1 0 0 0 0,1-1 0 0 0,-1 1 0 0 0,0 0 0 0 0,1 0 0 0 0,-1-1 0 0 0,0 1 0 0 0,1 0 0 0 0,-1 0 0 0 0,0 0 0 0 0,1 0 0 0 0,-1 0 0 0 0,0 0 0 0 0,1 0 0 0 0,-1 0 0 0 0,0 0 0 0 0,1 1 0 0 0,-1-1 0 0 0,0 0 0 0 0,-20 10 0 0 0,10-5 0 0 0,10-4 0 0 0,0-1 0 0 0,0 0 0 0 0,0 0 0 0 0,0 0 0 0 0,0 0 0 0 0,1 0 0 0 0,-1 0 0 0 0,0 0 0 0 0,0 0 0 0 0,0 0 0 0 0,0 0 0 0 0,0-1 0 0 0,1 1 0 0 0,-1 0 0 0 0,0-1 0 0 0,0 1 0 0 0,0-1 0 0 0,0 1 0 0 0,0-1 0 0 0,1 1 0 0 0,-1 0 0 0 0,0-1 0 0 0,1 1 0 0 0,-1 0 0 0 0,0 0 0 0 0,1-1 0 0 0,-1 1 0 0 0,0 0 0 0 0,1 0 0 0 0,-1 0 0 0 0,0 0 0 0 0,0 0 0 0 0,1 0 0 0 0,-1 0 0 0 0,0 0 0 0 0,1 0 0 0 0,-1 1 0 0 0,0-1 0 0 0,0 0 0 0 0,1 0 0 0 0,-1 1 0 0 0,-18 8 0 0 0,15-8 0 0 0,0 1 0 0 0,0 0 0 0 0,0 0 0 0 0,0 0 0 0 0,0 0 0 0 0,0 1 0 0 0,0 1 0 0 0,-6 10 0 0 0,6-8 0 0 0,1-1 0 0 0,0 1 0 0 0,0-1 0 0 0,0 1 0 0 0,0 0 0 0 0,1 0 0 0 0,0 0 0 0 0,1 0 0 0 0,-1 1 0 0 0,1-1 0 0 0,0 0 0 0 0,0 6 0 0 0,-2 14 0 0 0,1-13-167 0 0,2 0 0 0 0,0 0 0 0 0,1 0 0 0 0,0-1 0 0 0,0 1 0 0 0,2 0-1 0 0,0 0 1 0 0,0-1 0 0 0,1 1 0 0 0,0-1 0 0 0,1 0 0 0 0,5 7 167 0 0,-8-14-485 0 0,1 0 1 0 0,1 0-1 0 0,-1-1 1 0 0,1 1-1 0 0,0-1 1 0 0,3 3 484 0 0,-1 0-982 0 0,6 8-1092 0 0</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0:05.144"/>
    </inkml:context>
    <inkml:brush xml:id="br0">
      <inkml:brushProperty name="width" value="0.05" units="cm"/>
      <inkml:brushProperty name="height" value="0.05" units="cm"/>
    </inkml:brush>
  </inkml:definitions>
  <inkml:trace contextRef="#ctx0" brushRef="#br0">7234 179 13992 0 0,'0'0'616'0'0,"0"0"136"0"0,0 0-600 0 0,0 0-152 0 0,0 0 0 0 0,0 0 0 0 0,0 0 927 0 0,0 0 161 0 0,0 0 32 0 0,0 0 8 0 0,0 0-744 0 0,0 0-160 0 0,0 8-24 0 0,5 3-8 0 0,-1-4-880 0 0,4-3-176 0 0,0 3-40 0 0</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06.347"/>
    </inkml:context>
    <inkml:brush xml:id="br0">
      <inkml:brushProperty name="width" value="0.3" units="cm"/>
      <inkml:brushProperty name="height" value="0.6" units="cm"/>
      <inkml:brushProperty name="color" value="#FFE18B"/>
      <inkml:brushProperty name="tip" value="rectangle"/>
      <inkml:brushProperty name="rasterOp" value="maskPen"/>
    </inkml:brush>
  </inkml:definitions>
  <inkml:trace contextRef="#ctx0" brushRef="#br0">1 7 4608 0 0,'0'0'101'0'0,"0"0"22"0"0,0 0 5 0 0,0 0 80 0 0,0 0 336 0 0,0 0 146 0 0,0 0 29 0 0,0 0-34 0 0,0 0-173 0 0,0 0-80 0 0,0 0-14 0 0,0 0-16 0 0,0 0-55 0 0,0 0-26 0 0,0 0-7 0 0,0 0-6 0 0,0 0-16 0 0,0 0-4 0 0,0 0 0 0 0,0 0-6 0 0,0 0-23 0 0,0 0-16 0 0,0 0-3 0 0,0 0 0 0 0,0 0 0 0 0,0 0 0 0 0,0 0 0 0 0,9-3 800 0 0,-7 1-972 0 0,3 1 818 0 0,8 7-511 0 0,-10-5-436 0 0,15 5 133 0 0,-16-5-68 0 0,-1 0 1 0 0,0 1 0 0 0,1-1 0 0 0,-1 0 0 0 0,0 0 0 0 0,0 1 0 0 0,0-1 0 0 0,0 0 0 0 0,0 2-5 0 0,0-2-4 0 0,4 3-180 0 0,-4-3 149 0 0,1 0 0 0 0,0 0 0 0 0,-1 1 0 0 0,1-1-1 0 0,-1 0 1 0 0,0 1 0 0 0,1 0 0 0 0,-1-1 0 0 0,0 1 0 0 0,0 1 35 0 0,10 3 576 0 0,-4-3-405 0 0,-3 0-138 0 0,-1 0 1 0 0,1 0 0 0 0,-1 0-1 0 0,1 1 1 0 0,-1-1 0 0 0,0 1-1 0 0,1 0-33 0 0,15 16 114 0 0,-4-6 14 0 0,-5-4-22 0 0,-7-8-100 0 0,-1 1 1 0 0,1-1 0 0 0,-1 1 0 0 0,0 0 0 0 0,0 0-1 0 0,0 0 1 0 0,0 0 0 0 0,1 3-7 0 0,2 0 18 0 0,-1 0 0 0 0,1 0 1 0 0,0 0-1 0 0,1-1 0 0 0,-1 0 1 0 0,1 0-1 0 0,0 0 0 0 0,6 3-18 0 0,-1 0 17 0 0,0-1 0 0 0,1 0 0 0 0,2 1-17 0 0,3 1 13 0 0,-13-8-13 0 0,15 9 0 0 0,-16-8 0 0 0,7 6 0 0 0,-6-3 0 0 0,-3-4 0 0 0,0 0 0 0 0,0 1 0 0 0,1-1 0 0 0,-1 0 0 0 0,0 0 0 0 0,1 0 0 0 0,-1 0 0 0 0,1 0 0 0 0,-1 0 0 0 0,1 0 0 0 0,0 0 0 0 0,-1-1 0 0 0,1 1 0 0 0,0-1 0 0 0,0 1 0 0 0,6 2 0 0 0,8 12 0 0 0,13 14 0 0 0,-20-19 0 0 0,0-1 0 0 0,1 0 0 0 0,0-1 0 0 0,9 7 0 0 0,1 6 0 0 0,-14-16 0 0 0,13 11 0 0 0,11 7 64 0 0,16 15-64 0 0,-37-31 0 0 0,0 0 0 0 0,11 6 0 0 0,-9-6 0 0 0,0 0 0 0 0,0 1 0 0 0,4 5 0 0 0,-1 0 0 0 0,-8-7 0 0 0,0-1 0 0 0,0 1 0 0 0,1-1 0 0 0,0 0 0 0 0,0 0 0 0 0,0-1 0 0 0,0 0 0 0 0,3 1 0 0 0,15 9 0 0 0,-24-14 0 0 0,-1 0 0 0 0,1 0 0 0 0,-1 1 0 0 0,1-1 0 0 0,0 0 0 0 0,-1 0 0 0 0,1 0 0 0 0,-1 1 0 0 0,1-1 0 0 0,-1 0 0 0 0,1 1 0 0 0,-1-1 0 0 0,1 0 0 0 0,-1 1 0 0 0,1-1 0 0 0,-1 1 0 0 0,0-1 0 0 0,1 1 0 0 0,-1-1 0 0 0,0 1 0 0 0,1-1 0 0 0,-1 1 0 0 0,0-1 0 0 0,1 1 0 0 0,-1-1 0 0 0,0 1 0 0 0,1 1 0 0 0,2 3 0 0 0,-2-3 0 0 0,0 0 0 0 0,1-1 0 0 0,-1 1 0 0 0,0-1 0 0 0,1 1 0 0 0,0-1 0 0 0,-1 0 0 0 0,1 1 0 0 0,0-1 0 0 0,-1 0 0 0 0,1 0 0 0 0,0 0 0 0 0,0-1 0 0 0,2 2 0 0 0,2 1 0 0 0,-3-2 0 0 0,0 0 0 0 0,0 1 0 0 0,0 0 0 0 0,0 0 0 0 0,0 0 0 0 0,0 0 0 0 0,-1 0 0 0 0,1 0 0 0 0,-1 1 0 0 0,6 3 0 0 0,-1-1 0 0 0,1 0 0 0 0,7 3 0 0 0,-6-2 0 0 0,1 0 0 0 0,-1 0 0 0 0,0 0 0 0 0,7 7 0 0 0,-14-10 0 0 0,13 5 0 0 0,32 16 0 0 0,-42-21 10 0 0,0 0-1 0 0,0-1 0 0 0,0 2 1 0 0,-1-1-1 0 0,5 4-9 0 0,-5-4-11 0 0,0 1 0 0 0,1-1 0 0 0,-1 0 0 0 0,1-1 0 0 0,0 1 0 0 0,0-1 0 0 0,0 1 11 0 0,16 9-19 0 0,-16-9 19 0 0,-1-1 0 0 0,1 1 1 0 0,0-1-1 0 0,0 0 0 0 0,0 0 0 0 0,2 1 0 0 0,-6-3 0 0 0,-1 0 0 0 0,1 0 0 0 0,-1 0 0 0 0,1 1 0 0 0,0-1 0 0 0,-1 0 0 0 0,1 0 0 0 0,-1 1 0 0 0,1-1 0 0 0,0 0 0 0 0,-1 1 0 0 0,1-1 0 0 0,-1 1 0 0 0,1-1 0 0 0,-1 1 0 0 0,1-1 0 0 0,0 2 0 0 0,0-1 0 0 0,1 0 0 0 0,-1 1 0 0 0,1-1 0 0 0,-1 0 0 0 0,1 0 0 0 0,0 0 0 0 0,0-1 0 0 0,-1 1 0 0 0,2 0 0 0 0,4 2-6 0 0,-1 1-1 0 0,-1-1 1 0 0,1 1-1 0 0,0 0 0 0 0,-1 0 1 0 0,4 4 6 0 0,-3-2-8 0 0,0-1 0 0 0,1 0 0 0 0,-1-1-1 0 0,7 4 9 0 0,31 22-128 0 0,-35-24 115 0 0,-7-5 7 0 0,0 1 1 0 0,-1-1 0 0 0,1 0 0 0 0,0 0-1 0 0,0 1 1 0 0,0-1 0 0 0,0-1-1 0 0,0 1 1 0 0,0 0 0 0 0,1-1-1 0 0,-1 1 6 0 0,0 0-5 0 0,0-1 0 0 0,0 1 0 0 0,0 0 0 0 0,0-1 0 0 0,-1 1 0 0 0,1 0 0 0 0,0 0 0 0 0,0 1 0 0 0,0-1 5 0 0,12 7-27 0 0,-4-2 27 0 0,0 0 0 0 0,0 0 0 0 0,5 5 0 0 0,25 14 0 0 0,-37-24 0 0 0,10 3 0 0 0,-5 1 0 0 0,-6-4 0 0 0,0 0 0 0 0,0 0 0 0 0,0 0 0 0 0,0 0 0 0 0,0 0 0 0 0,0 0 0 0 0,0-1 0 0 0,0 1 0 0 0,0-1 0 0 0,1 1 0 0 0,-1-1 0 0 0,2 0 0 0 0,3 1 0 0 0,0 0 0 0 0,0 1 0 0 0,0-1 0 0 0,0 1 0 0 0,-1 1 0 0 0,1-1 0 0 0,-1 1 0 0 0,1 0 0 0 0,-4 0 0 0 0,1 0 0 0 0,-1-1 0 0 0,1 1 0 0 0,0-1 0 0 0,-1 0 0 0 0,1 0 0 0 0,1 0 0 0 0,0 0 0 0 0,5 3 0 0 0,2 4 0 0 0,0-1 0 0 0,12 0 0 0 0,-3 3 0 0 0,0 0 0 0 0,-18-9 0 0 0,14 6 0 0 0,22 10 0 0 0,-24-8 0 0 0,-5-5 0 0 0,-7-3 0 0 0,-1-1 0 0 0,1 1 0 0 0,-1 0 0 0 0,1-1 0 0 0,-1 1 0 0 0,0 0 0 0 0,0 1 0 0 0,1 0 0 0 0,3 3 0 0 0,1-1 0 0 0,0 1 0 0 0,1-1 0 0 0,1 0 0 0 0,18 14 0 0 0,21 10 0 0 0,-39-24 0 0 0,-7-4 0 0 0,0 0 0 0 0,0 0 0 0 0,0 0 0 0 0,0 0 0 0 0,0 1 0 0 0,-1-1 0 0 0,1 0 0 0 0,0 1 0 0 0,-1-1 0 0 0,1 1 0 0 0,-1 0 0 0 0,0-1 0 0 0,1 2 0 0 0,-1-1 0 0 0,0-1 0 0 0,0 0 0 0 0,0 0 0 0 0,0 1 0 0 0,0-1 0 0 0,0 0 0 0 0,0 0 0 0 0,1 0 0 0 0,-1 0 0 0 0,0 0 0 0 0,1 0 0 0 0,-1-1 0 0 0,1 1 0 0 0,-1 0 0 0 0,1-1 0 0 0,-1 1 0 0 0,1-1 0 0 0,-1 1 0 0 0,1-1 0 0 0,0 0 0 0 0,0 1 0 0 0,0-1 0 0 0,0 1 0 0 0,0-1 0 0 0,0 1 0 0 0,0 0 0 0 0,0 0 0 0 0,0 0 0 0 0,0 0 0 0 0,0 0 0 0 0,-1 0 0 0 0,1 0 0 0 0,-1 0 0 0 0,1 1 0 0 0,0 0 0 0 0,0 1 0 0 0,0-1 0 0 0,1 0 0 0 0,-1 0 0 0 0,0 0 0 0 0,0 0 0 0 0,1 0 0 0 0,-1-1 0 0 0,1 1 0 0 0,0-1 0 0 0,-1 0 0 0 0,2 1 0 0 0,4 2 0 0 0,1 0 0 0 0,-8-3 0 0 0,14 14 0 0 0,-12-12 0 0 0,1-3 0 0 0,16 13 0 0 0,1 0 0 0 0,-1 2 0 0 0,-4 0 0 0 0,-5-7 0 0 0,-8-8 0 0 0,-2 0 0 0 0,0 0 0 0 0,-1 0 0 0 0,1 0 0 0 0,0 0 0 0 0,-1 0 0 0 0,1 0 0 0 0,0 0 0 0 0,0 0 0 0 0,-1 0 0 0 0,1 0 0 0 0,0 1 0 0 0,-1-1 0 0 0,1 0 0 0 0,0 0 0 0 0,-1 1 0 0 0,1-1 0 0 0,-1 1 0 0 0,1-1 0 0 0,-1 0 0 0 0,1 1 0 0 0,-1-1 0 0 0,1 1 0 0 0,0-1 0 0 0,7 4 0 0 0,-6-3 0 0 0,1-1 0 0 0,-1 1 0 0 0,0 0 0 0 0,1 0 0 0 0,-1 1 0 0 0,0-1 0 0 0,0 0 0 0 0,0 1 0 0 0,2 1 0 0 0,13 14 0 0 0,-6-11 0 0 0,-3-4 0 0 0,-3-2 0 0 0,-4-1 0 0 0,0 1 0 0 0,-1 0 0 0 0,1 0 0 0 0,-1 0 0 0 0,1 0 0 0 0,-1 0 0 0 0,1 0 0 0 0,-1 0 0 0 0,1 0 0 0 0,0 0 0 0 0,-1 1 0 0 0,1-1 0 0 0,-1 0 0 0 0,1 0 0 0 0,-1 0 0 0 0,1 1 0 0 0,-1-1 0 0 0,1 0 0 0 0,-1 0 0 0 0,1 1 0 0 0,-1-1 0 0 0,12 9 0 0 0,-8-8 0 0 0,-3-1 0 0 0,0 0 0 0 0,0 1 0 0 0,0-1 0 0 0,0 0 0 0 0,0 1 0 0 0,0-1 0 0 0,0 1 0 0 0,0-1 0 0 0,0 1 0 0 0,0 0 0 0 0,0-1 0 0 0,0 1 0 0 0,-1 0 0 0 0,1 0 0 0 0,0-1 0 0 0,0 1 0 0 0,-1 0 0 0 0,1-1 0 0 0,-1 0 0 0 0,1 1 0 0 0,-1-1 0 0 0,1 0 0 0 0,-1 1 0 0 0,1-1 0 0 0,-1 1 0 0 0,1-1 0 0 0,-1 1 0 0 0,0-1 0 0 0,1 1 0 0 0,-1-1 0 0 0,1 1 0 0 0,-1-1 0 0 0,0 1 0 0 0,0 0 0 0 0,1-1 0 0 0,-1 1 0 0 0,0 0 0 0 0,0 0 0 0 0,0-1 0 0 0,1 1 0 0 0,-1-1 0 0 0,0 1 0 0 0,0 0 0 0 0,1-1 0 0 0,-1 1 0 0 0,0-1 0 0 0,1 1 0 0 0,-1-1 0 0 0,0 1 0 0 0,1-1 0 0 0,-1 1 0 0 0,1-1 0 0 0,-1 0 0 0 0,1 1 0 0 0,-1-1 0 0 0,1 1 0 0 0,0-1 0 0 0,0 0 0 0 0,19 18 0 0 0,3-6 0 0 0,-22-11 0 0 0,0 0 0 0 0,0 0 0 0 0,-1 0 0 0 0,1 0 0 0 0,0 0 0 0 0,0-1 0 0 0,0 1 0 0 0,0 0 0 0 0,0-1 0 0 0,1 1 0 0 0,-1-1 0 0 0,0 1 0 0 0,0-1 0 0 0,1 1 0 0 0,3 1 0 0 0,3 2-10 0 0,-7-4-22 0 0,-1 0 1 0 0,1 0-1 0 0,-1 0 1 0 0,1 1-1 0 0,-1-1 1 0 0,1 0-1 0 0,0 0 1 0 0,-1-1-1 0 0,1 1 1 0 0,-1 0-1 0 0,1 0 1 0 0,-1 0-1 0 0,1 0 1 0 0,-1 0-1 0 0,1 0 1 0 0,-1-1-1 0 0,1 1 1 0 0,-1 0-1 0 0,1-1 1 0 0,-1 1-1 0 0,1 0 1 0 0,-1-1 0 0 0,1 1-1 0 0,-1 0 1 0 0,0-1-1 0 0,1 1 1 0 0,-1-1-1 0 0,0 1 1 0 0,1 0-1 0 0,-1-1 1 0 0,0 1-1 0 0,1-1 1 0 0,-1 1-1 0 0,0-1 1 0 0,0 1-1 0 0,0-1 32 0 0,1 0-367 0 0,-1 1-417 0 0</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15.785"/>
    </inkml:context>
    <inkml:brush xml:id="br0">
      <inkml:brushProperty name="width" value="0.3" units="cm"/>
      <inkml:brushProperty name="height" value="0.6" units="cm"/>
      <inkml:brushProperty name="color" value="#FFE18B"/>
      <inkml:brushProperty name="tip" value="rectangle"/>
      <inkml:brushProperty name="rasterOp" value="maskPen"/>
    </inkml:brush>
  </inkml:definitions>
  <inkml:trace contextRef="#ctx0" brushRef="#br0">6 10 1376 0 0,'0'0'65'0'0,"-1"-1"-6"0"0,-4-8 7847 0 0,10 12-4547 0 0,6 4-3179 0 0,41 22 307 0 0,-42-25-404 0 0,-1 1 1 0 0,1 0-1 0 0,6 5-83 0 0,-8-4 43 0 0,1-1 0 0 0,0 0-1 0 0,0 0 1 0 0,3 0-43 0 0,22 13 128 0 0,-29-15-114 0 0,1 0 0 0 0,-1 0 0 0 0,1 0 1 0 0,-1 0-1 0 0,0 1 0 0 0,4 4-14 0 0,6 5 51 0 0,29 24 84 0 0,-32-28-107 0 0,0 2 1 0 0,0 0-1 0 0,-2 0 1 0 0,1 2-29 0 0,29 29 58 0 0,10 12 6 0 0,-1 4 0 0 0,-31-39-64 0 0,-1 1 0 0 0,1 5 0 0 0,2 1 0 0 0,95 133 64 0 0,-105-145-64 0 0,1 0 0 0 0,4 3 0 0 0,-3-4 0 0 0,-1 1 0 0 0,3 5 0 0 0,20 29 45 0 0,25 25-45 0 0,-6-7 19 0 0,2-1 33 0 0,4 0-52 0 0,-16-18 12 0 0,13 11 73 0 0,-23-25 134 0 0,26 35-219 0 0,-52-60 37 0 0,0 0 1 0 0,1-1 0 0 0,-1 0-1 0 0,2 0 1 0 0,-1-1 0 0 0,1 0-1 0 0,0-1-37 0 0,29 22 158 0 0,2 2-21 0 0,-27-20-65 0 0,1 1 1 0 0,-1 1-1 0 0,-1 0 1 0 0,5 6-73 0 0,19 17 244 0 0,1 0 0 0 0,1-2 1 0 0,37 22-245 0 0,-45-33 69 0 0,-2 0-46 0 0,2 0 157 0 0,17 17-180 0 0,-19-20 44 0 0,-23-16-38 0 0,0 1 1 0 0,0 0-1 0 0,-1 0 1 0 0,1 1-1 0 0,-1-1 0 0 0,1 2-6 0 0,1 0 23 0 0,0 0 0 0 0,-1 0 0 0 0,8 3-23 0 0,14 15 86 0 0,22 21-9 0 0,-29-26 16 0 0,21 15-93 0 0,-23-20 40 0 0,0 2 0 0 0,-1 0 1 0 0,-1 2-41 0 0,-13-15 15 0 0,0 1 1 0 0,0-1-1 0 0,0 1 0 0 0,0-1 1 0 0,0 0-1 0 0,1 0 1 0 0,1 0-16 0 0,-2 0 13 0 0,1-1 0 0 0,-1 1 0 0 0,0 0 0 0 0,-1 0 1 0 0,1 0-1 0 0,0 0 0 0 0,0 1 0 0 0,0 0-13 0 0,2 2 25 0 0,1 1 0 0 0,1 0 0 0 0,-1-1-1 0 0,1-1 1 0 0,0 1 0 0 0,4 1-25 0 0,16 11 91 0 0,14 13-11 0 0,-9-6 17 0 0,2-1 1 0 0,29 15-98 0 0,-47-30 13 0 0,0-1 6 0 0,-1 1 0 0 0,0 1 0 0 0,2 2-19 0 0,-13-8 13 0 0,1 0 0 0 0,-1-1 0 0 0,1 0 0 0 0,0 0 0 0 0,1 0-13 0 0,-2-1 8 0 0,-1 1 1 0 0,0-1-1 0 0,1 0 0 0 0,-1 1 1 0 0,0 0-1 0 0,0 0 0 0 0,0 0 1 0 0,0 0-1 0 0,0 0 0 0 0,0 1-8 0 0,1 1 6 0 0,1 0-1 0 0,0 0 0 0 0,0 0 0 0 0,0-1 0 0 0,1 0 0 0 0,-1 0-5 0 0,26 18 44 0 0,18 20 73 0 0,-46-38-117 0 0,1-1 0 0 0,-1 1 0 0 0,1-1 0 0 0,0 1 0 0 0,4 1 0 0 0,6 4 0 0 0,-3 0 0 0 0,-10-5 0 0 0,-1-1 0 0 0,2 0 4 0 0,0 1 0 0 0,0-1 0 0 0,0 0 0 0 0,0-1 0 0 0,1 1 0 0 0,-1 0 0 0 0,0-1 0 0 0,1 1 0 0 0,2 1-4 0 0,35 22 28 0 0,-29-19-9 0 0,8 14 16 0 0,-19-19-88 0 0,0-1 1 0 0,0 1-1 0 0,1-1 0 0 0,-1 0 1 0 0,0 1-1 0 0,1-1 0 0 0,-1 0 1 0 0,0 1-1 0 0,0-1 0 0 0,1 0 1 0 0,-1 1-1 0 0,1-1 1 0 0,-1 0-1 0 0,0 0 0 0 0,1 1 1 0 0,-1-1-1 0 0,1 0 0 0 0,-1 0 1 0 0,1 0-1 0 0,-1 0 0 0 0,1 1 53 0 0,6-1-1100 0 0</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18.583"/>
    </inkml:context>
    <inkml:brush xml:id="br0">
      <inkml:brushProperty name="width" value="0.3" units="cm"/>
      <inkml:brushProperty name="height" value="0.6" units="cm"/>
      <inkml:brushProperty name="color" value="#FFE18B"/>
      <inkml:brushProperty name="tip" value="rectangle"/>
      <inkml:brushProperty name="rasterOp" value="maskPen"/>
    </inkml:brush>
  </inkml:definitions>
  <inkml:trace contextRef="#ctx0" brushRef="#br0">0 66 5296 0 0,'0'0'241'0'0,"0"-6"38"0"0,0 4-179 0 0,0 1-1 0 0,0 0 1 0 0,0 0 0 0 0,0 0-1 0 0,1 0 1 0 0,-1 0 0 0 0,0 0-1 0 0,0 0 1 0 0,1 0 0 0 0,-1 0-1 0 0,0 0 1 0 0,1 0 0 0 0,-1 0-1 0 0,1 0 1 0 0,0 0-100 0 0,0-1 225 0 0,0-1-9 0 0,-1 2-111 0 0,1 1 0 0 0,-1-1 1 0 0,0 0-1 0 0,1 0 0 0 0,-1 1 0 0 0,0-1 0 0 0,1 0 1 0 0,-1 0-1 0 0,1 1 0 0 0,-1-1 0 0 0,1 1 1 0 0,0-1-1 0 0,-1 0 0 0 0,1 1 0 0 0,0-1 0 0 0,-1 1 1 0 0,1 0-1 0 0,0-1 0 0 0,-1 1 0 0 0,1-1 0 0 0,0 1 1 0 0,0 0-1 0 0,0 0 0 0 0,-1-1 0 0 0,2 1-105 0 0,2 0 282 0 0,1-1-1 0 0,-1 0 0 0 0,0 0 0 0 0,1-1 0 0 0,1 0-281 0 0,22-6 889 0 0,7 3-425 0 0,1 3 0 0 0,0 1 0 0 0,-1 1 0 0 0,25 4-464 0 0,-25-1 294 0 0,23-2-294 0 0,12 0 461 0 0,12 5 119 0 0,23 8-580 0 0,-8 5 138 0 0,-59-12-80 0 0,-1 2-1 0 0,0 2 0 0 0,0 2 1 0 0,7 4-58 0 0,-29-11 46 0 0,1-2 1 0 0,16 3-47 0 0,8 2 42 0 0,42 16 274 0 0,33 16-316 0 0,-10 4 240 0 0,26 11 8 0 0,-4-6-10 0 0,-90-37-177 0 0,-1 1-31 0 0,2-3-1 0 0,11 2-29 0 0,-25-7 43 0 0,-1 2 1 0 0,0 0 0 0 0,-1 1-1 0 0,4 3-43 0 0,-9-4 39 0 0,126 62 389 0 0,54 3 46 0 0,-155-59-480 0 0,43 14 241 0 0,29 4-235 0 0,-63-19 68 0 0,20 5 202 0 0,-15-6 25 0 0,-27-5-22 0 0,1-1-1 0 0,13 0-272 0 0,-16-5 124 0 0,-13 0-83 0 0,1 0 0 0 0,0 1 0 0 0,-1 0 0 0 0,1 1-41 0 0,3 1 44 0 0,1-1 0 0 0,-1-1-1 0 0,19 0-43 0 0,8 1 33 0 0,-14 3 20 0 0,4 2-34 0 0,-11-6 29 0 0,1 1 0 0 0,-1 2 0 0 0,0 0 0 0 0,21 8-48 0 0,36 17 23 0 0,-19-9 60 0 0,-15-5-37 0 0,-22-8 5 0 0,0 0 0 0 0,1-2 0 0 0,-1-1 0 0 0,5 0-51 0 0,-8-1 68 0 0,0 2 0 0 0,7 2-68 0 0,-17-4 8 0 0,6 0 24 0 0,-12-3-19 0 0,-1 0 0 0 0,0 0 0 0 0,0 1 0 0 0,5 2-13 0 0,9 3 45 0 0,-16-6-79 0 0,1 0-1 0 0,-1 0 0 0 0,1 1 1 0 0,-1 0-1 0 0,0-1 1 0 0,2 2 34 0 0,28 17 91 0 0,-28-18-60 0 0,1 1 0 0 0,-1 0 1 0 0,0 1-1 0 0,0-1 1 0 0,0 1-1 0 0,0 0 0 0 0,0 1-31 0 0,2 1 15 0 0,0-1 0 0 0,1-1 0 0 0,0 1 0 0 0,-1-2 0 0 0,5 3-15 0 0,14 7 204 0 0,-20-10-138 0 0,0 0 0 0 0,0 0 1 0 0,1 0-1 0 0,3 1-66 0 0,16 4-20 0 0,-13-6-61 0 0,-13-2 75 0 0,1 0 0 0 0,0 0 0 0 0,-1 0 0 0 0,1 0 0 0 0,-1 0 0 0 0,1 0 0 0 0,0 1 0 0 0,-1-1 0 0 0,1 0 0 0 0,-1 0 0 0 0,1 0 0 0 0,-1 1 0 0 0,1-1 0 0 0,-1 0 0 0 0,1 1 0 0 0,-1-1 0 0 0,1 0 0 0 0,-1 1 6 0 0,20 9-63 0 0,-10-7 63 0 0,5 2 0 0 0,-11-3 5 0 0,-1-1 0 0 0,1 1-1 0 0,-1-1 1 0 0,1 0-1 0 0,-1-1 1 0 0,1 1-1 0 0,0-1 1 0 0,2 1-5 0 0,-2-1 5 0 0,0 1 1 0 0,1-1-1 0 0,-1 1 1 0 0,0 0-1 0 0,3 1-5 0 0,7 6 0 0 0,-12-7 0 0 0,0 0 0 0 0,0 0 0 0 0,0 0 0 0 0,1-1 0 0 0,-1 1 0 0 0,0-1 0 0 0,0 1 0 0 0,1-1 0 0 0,-1 0 0 0 0,1 0 0 0 0,4 1 0 0 0,1 2 0 0 0,36 6 0 0 0,-41-8 0 0 0,0 1 0 0 0,12-2 0 0 0,6-3 0 0 0,-6 2 31 0 0,14 4 2 0 0,-21-5-33 0 0,2 2 0 0 0,1 3 27 0 0,29 15 10 0 0,-32-15-37 0 0,2 1 0 0 0,24 13-2498 0 0,-33-17-4539 0 0</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22.030"/>
    </inkml:context>
    <inkml:brush xml:id="br0">
      <inkml:brushProperty name="width" value="0.3" units="cm"/>
      <inkml:brushProperty name="height" value="0.6" units="cm"/>
      <inkml:brushProperty name="color" value="#FFE18B"/>
      <inkml:brushProperty name="tip" value="rectangle"/>
      <inkml:brushProperty name="rasterOp" value="maskPen"/>
    </inkml:brush>
  </inkml:definitions>
  <inkml:trace contextRef="#ctx0" brushRef="#br0">1970 0 3224 0 0,'0'0'143'0'0,"0"1"-3"0"0,-3 6-111 0 0,1-4 265 0 0,1 1-1 0 0,-1 0 1 0 0,1 0-1 0 0,-1 0 1 0 0,0-1 0 0 0,-2 3-294 0 0,-4 9 1286 0 0,4-5-666 0 0,0-1 1 0 0,-1 0-1 0 0,-1 0 0 0 0,1 0-620 0 0,-12 20 744 0 0,-7 7 231 0 0,15-20-452 0 0,0-1 1 0 0,-7 9-524 0 0,7-10 120 0 0,0 0 0 0 0,1 0 1 0 0,0 2-121 0 0,-26 51 425 0 0,-3-2 1 0 0,-22 27-426 0 0,54-85 5 0 0,-62 86 170 0 0,37-53-108 0 0,2-1-23 0 0,-11 13 198 0 0,-9 21-242 0 0,-170 302 885 0 0,140-222-704 0 0,1-9-63 0 0,-33 37-118 0 0,51-94 0 0 0,5 3 0 0 0,-5 19 0 0 0,-34 63 0 0 0,2 4 0 0 0,-32 71 0 0 0,104-202 0 0 0,-65 141 0 0 0,62-145 0 0 0,-24 34 0 0 0,4-10 0 0 0,36-55 0 0 0,-2 0 0 0 0,-7 8 0 0 0,-8 13 0 0 0,-27 36 62 0 0,25-34 36 0 0,-14 25-98 0 0,24-33-15 0 0,-18 34-42 0 0,31-54 57 0 0,-4 8 0 0 0,-1 0 0 0 0,0 0 0 0 0,0 0 0 0 0,-1-1 0 0 0,-6 6 0 0 0,9-11 0 0 0,3-1 10 0 0,2-3 33 0 0,-4 4-32 0 0,-1 2-11 0 0,0-2 75 0 0,2-1 48 0 0,4-3-1223 0 0,-1-3-3926 0 0</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24.092"/>
    </inkml:context>
    <inkml:brush xml:id="br0">
      <inkml:brushProperty name="width" value="0.3" units="cm"/>
      <inkml:brushProperty name="height" value="0.6" units="cm"/>
      <inkml:brushProperty name="color" value="#FFE18B"/>
      <inkml:brushProperty name="tip" value="rectangle"/>
      <inkml:brushProperty name="rasterOp" value="maskPen"/>
    </inkml:brush>
  </inkml:definitions>
  <inkml:trace contextRef="#ctx0" brushRef="#br0">0 564 1840 0 0,'0'0'83'0'0,"0"-2"-6"0"0,0-1 54 0 0,1 0 0 0 0,-1 0 0 0 0,1 0 0 0 0,0 0 1 0 0,0 0-1 0 0,0 0 0 0 0,0 0 0 0 0,1 0 0 0 0,-1 0 0 0 0,1 1 0 0 0,0-1 0 0 0,1-2-131 0 0,29-32 3530 0 0,-21 26-3621 0 0,-6 6 185 0 0,1 0 0 0 0,0 1 0 0 0,1 0 0 0 0,-1 0 0 0 0,1 0 0 0 0,2-1-94 0 0,15-8 152 0 0,-15 8-104 0 0,-1 1-1 0 0,1 0 1 0 0,6-1-48 0 0,19-10 153 0 0,-17 7-8 0 0,0 1-1 0 0,0 0 1 0 0,1 1 0 0 0,0 1 0 0 0,7 0-145 0 0,95-13 595 0 0,-76 13-402 0 0,113-9 443 0 0,-29 3-131 0 0,83-2-166 0 0,-167 12-289 0 0,184-2 92 0 0,-164 1-142 0 0,14-1 0 0 0,41-7 0 0 0,-45 2 36 0 0,-28 4-8 0 0,4-3-28 0 0,97-11 8 0 0,-43 7 64 0 0,47-3 120 0 0,-99 9-49 0 0,35 1-143 0 0,-39 3 54 0 0,63 1-23 0 0,-71 1-20 0 0,-1-1 0 0 0,1-2 0 0 0,-1-2 0 0 0,6-3-11 0 0,313-54 202 0 0,-268 53-177 0 0,1 3 0 0 0,53 5-25 0 0,-55 1 4 0 0,-26 1 4 0 0,-36-1 3 0 0,0 0 0 0 0,0-2 1 0 0,0-1-1 0 0,3-1-11 0 0,28-5 52 0 0,-27 4-29 0 0,13-3-23 0 0,42-8 0 0 0,24-6 0 0 0,-73 14 5 0 0,0 1 0 0 0,0 2 0 0 0,1 1-5 0 0,-9 1 38 0 0,12-1 58 0 0,-1 1 0 0 0,38 4-96 0 0,162 22 11 0 0,-220-24-1 0 0,1-1 1 0 0,0-1 0 0 0,0 0 0 0 0,-1-2 0 0 0,9-3-11 0 0,13-1 10 0 0,33-9 159 0 0,-29 7 142 0 0,21-2-311 0 0,-64 12 11 0 0,1 0 1 0 0,0 0 0 0 0,0 0-1 0 0,0 0 1 0 0,0 1-1 0 0,-1 0 1 0 0,1 0 0 0 0,0 0-1 0 0,0 0 1 0 0,-1 1 0 0 0,2 0-12 0 0,-3-1 64 0 0,-2-1-9 0 0,1 0-55 0 0,-1 0 1 0 0,1 0-1 0 0,-1 0 0 0 0,1 0 0 0 0,-1 0 1 0 0,1 0-1 0 0,-1 0 0 0 0,1 0 0 0 0,-1 0 1 0 0,1 0-1 0 0,-1 0 0 0 0,1 1 1 0 0,-1-1-1 0 0,1 0 0 0 0,-1 0 0 0 0,1 0 1 0 0,-1 1-1 0 0,1-1 0 0 0,-1 0 1 0 0,0 1-1 0 0,1-1 0 0 0,-1 0 0 0 0,1 1 1 0 0,-1-1-1 0 0,0 1 0 0 0,0-1 0 0 0,1 0 1 0 0,-1 1-1 0 0,0-1 0 0 0,0 1 1 0 0,1-1-1 0 0,0 3 0 0 0,12 8 0 0 0,5 3-161 0 0,-18-13 141 0 0,1 0-1 0 0,-1-1 1 0 0,1 1-1 0 0,-1-1 1 0 0,1 1-1 0 0,0-1 1 0 0,-1 1 0 0 0,1-1-1 0 0,0 1 1 0 0,-1-1-1 0 0,1 0 1 0 0,0 1-1 0 0,-1-1 1 0 0,1 0-1 0 0,0 0 1 0 0,0 0 0 0 0,-1 1 20 0 0,2-1-226 0 0,0 0 0 0 0,0 0 0 0 0,-1 0 0 0 0,1-1 0 0 0,0 1 0 0 0,0 0 0 0 0,-1 0 0 0 0,1-1 0 0 0,-1 1 0 0 0,1-1 0 0 0,0 0 0 0 0,1 0 226 0 0,0-1-1748 0 0,-2 2-1828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39.051"/>
    </inkml:context>
    <inkml:brush xml:id="br0">
      <inkml:brushProperty name="width" value="0.05" units="cm"/>
      <inkml:brushProperty name="height" value="0.05" units="cm"/>
    </inkml:brush>
  </inkml:definitions>
  <inkml:trace contextRef="#ctx0" brushRef="#br0">2 73 456 0 0,'1'-10'304'0'0,"5"-8"1860"0"0,-4 11 3729 0 0,0-3-4960 0 0,-2 8-786 0 0,0 1-1 0 0,0-1 0 0 0,0 1 1 0 0,0-1-1 0 0,1 1 0 0 0,-1-1 0 0 0,1 1 1 0 0,-1-1-1 0 0,1 1 0 0 0,-1-1 1 0 0,2 0-147 0 0,-2 1 748 0 0,0 1-32 0 0,0 0-4 0 0,0 0-22 0 0,0 0-88 0 0,0 0-516 0 0,0 0 1 0 0,1 0 0 0 0,-1-1-1 0 0,0 1 1 0 0,0 0-1 0 0,0 0 1 0 0,0 0 0 0 0,0-1-1 0 0,0 1 1 0 0,0 0 0 0 0,0 0-1 0 0,0-1 1 0 0,0 1 0 0 0,0 0-1 0 0,0 0 1 0 0,0 0 0 0 0,0-1-1 0 0,0 1 1 0 0,0 0 0 0 0,-1 0-1 0 0,1 0 1 0 0,0-1 0 0 0,0 1-1 0 0,0 0 1 0 0,0 0 0 0 0,0 0-1 0 0,0-1 1 0 0,0 1-1 0 0,-1 0 1 0 0,1 0 0 0 0,0 0-1 0 0,0 0 1 0 0,0 0 0 0 0,-1-1-1 0 0,1 1 1 0 0,0 0 0 0 0,0 0-1 0 0,0 0 1 0 0,-1 0 0 0 0,1 0-1 0 0,0 0 1 0 0,0 0 0 0 0,0 0-1 0 0,-1 0 1 0 0,1 0 0 0 0,0 0-1 0 0,0 0 1 0 0,-1 0-1 0 0,1 0 1 0 0,0 0 0 0 0,0 0-1 0 0,0 0-86 0 0,-1 0-230 0 0,0 0 485 0 0,-4 12 25 0 0,1-3-207 0 0,3 2-20 0 0,1 1-1 0 0,-1-1 1 0 0,2 0-1 0 0,0 1 1 0 0,0-1-1 0 0,1 0 1 0 0,1 6-53 0 0,4 21 16 0 0,-5-27-45 0 0,0 0 1 0 0,2 0-1 0 0,-1 0 0 0 0,2 0 0 0 0,2 5 29 0 0,7 17-1389 0 0,-7-17 482 0 0</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42.232"/>
    </inkml:context>
    <inkml:brush xml:id="br0">
      <inkml:brushProperty name="width" value="0.05" units="cm"/>
      <inkml:brushProperty name="height" value="0.05" units="cm"/>
    </inkml:brush>
  </inkml:definitions>
  <inkml:trace contextRef="#ctx0" brushRef="#br0">79 123 2904 0 0,'-8'24'133'0'0,"8"-23"-62"0"0,-1-1 1 0 0,1 1-1 0 0,0-1 0 0 0,-1 0 0 0 0,1 1 0 0 0,-1-1 0 0 0,1 1 1 0 0,-1-1-1 0 0,1 0 0 0 0,-1 1 0 0 0,1-1 0 0 0,-1 0 0 0 0,0 0 1 0 0,1 1-1 0 0,-1-1 0 0 0,1 0 0 0 0,-1 0 0 0 0,0 0 0 0 0,1 0 1 0 0,-1 0-1 0 0,1 0 0 0 0,-1 0 0 0 0,0 0 0 0 0,1 0 0 0 0,-1 0 1 0 0,1 0-1 0 0,-1 0 0 0 0,0-1 0 0 0,0 1-71 0 0,0 0 459 0 0,0 0-300 0 0,0 0 1 0 0,0 1-1 0 0,0-1 0 0 0,0 0 1 0 0,0 1-1 0 0,0-1 1 0 0,0 1-1 0 0,0-1 0 0 0,1 1 1 0 0,-1 0-1 0 0,0-1 1 0 0,0 1-1 0 0,1 0 0 0 0,-1-1 1 0 0,0 1-1 0 0,1 0 1 0 0,-1 0-1 0 0,1 0 0 0 0,-1 0 1 0 0,1 0-160 0 0,-7 6 620 0 0,6-6-202 0 0,-6 11 1095 0 0,7-11-1471 0 0,0 0 0 0 0,-1 0 0 0 0,1 0 0 0 0,-1 0 0 0 0,1 0 0 0 0,-1 0 0 0 0,1 0 0 0 0,-1 0 0 0 0,0-1 0 0 0,0 1 0 0 0,1 0 0 0 0,-1 0 0 0 0,-1 0-42 0 0,2 0 276 0 0,-8 12 739 0 0,4 17 1105 0 0,4-30-2003 0 0,0 0 175 0 0,0 0 76 0 0,0 0 15 0 0,0 0-34 0 0,0 0-145 0 0,1-1-63 0 0,11-11 114 0 0,-1 1 0 0 0,0-2 0 0 0,-1 0 0 0 0,0 0 0 0 0,-1-1 1 0 0,-1 0-256 0 0,5-6 239 0 0,0 1 0 0 0,15-16-239 0 0,-19 24-193 0 0,1 1-1 0 0,1 0 1 0 0,-1 1-1 0 0,2 0 1 0 0,-1 1-1 0 0,7-4 194 0 0,-1 4-1311 0 0</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43.313"/>
    </inkml:context>
    <inkml:brush xml:id="br0">
      <inkml:brushProperty name="width" value="0.05" units="cm"/>
      <inkml:brushProperty name="height" value="0.05" units="cm"/>
    </inkml:brush>
  </inkml:definitions>
  <inkml:trace contextRef="#ctx0" brushRef="#br0">4 41 6448 0 0,'0'0'297'0'0,"0"-1"-270"0"0,-1 0-1 0 0,1 1 1 0 0,0-1-1 0 0,-1 0 1 0 0,1 1 0 0 0,0-1-1 0 0,-1 0 1 0 0,1 1-1 0 0,0-1 1 0 0,0 0-1 0 0,0 0 1 0 0,0 0 0 0 0,0 1-1 0 0,-1-1 1 0 0,2 0-27 0 0,2-27 3812 0 0,-3 27-3058 0 0,0 1-91 0 0,0 0-20 0 0,0 0-30 0 0,0 0-113 0 0,0 0-55 0 0,0 0-11 0 0,0 0-16 0 0,0 0-54 0 0,0 0-20 0 0,0 0-6 0 0,0 0-16 0 0,0 0-57 0 0,0 0-29 0 0,0 0-4 0 0,2 1-8 0 0,-2 0-218 0 0,2 1 66 0 0,1 0-1 0 0,0 1 1 0 0,-1 0-1 0 0,0 0 1 0 0,1 0-1 0 0,-1 0 1 0 0,0 0-1 0 0,-1 0 1 0 0,1 0-1 0 0,-1 0 1 0 0,1 1-1 0 0,-1-1-71 0 0,6 14 259 0 0,-5-15-236 0 0,-1-1 0 0 0,0 1 1 0 0,-1 0-1 0 0,1 0 1 0 0,0-1-1 0 0,0 1 0 0 0,-1 0 1 0 0,1 0-1 0 0,-1 0 0 0 0,0 0-23 0 0,3 20 145 0 0,1 0-1 0 0,3 4-144 0 0,5 38 35 0 0,0 33-1293 0 0,-9-65-172 0 0</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44.989"/>
    </inkml:context>
    <inkml:brush xml:id="br0">
      <inkml:brushProperty name="width" value="0.05" units="cm"/>
      <inkml:brushProperty name="height" value="0.05" units="cm"/>
    </inkml:brush>
  </inkml:definitions>
  <inkml:trace contextRef="#ctx0" brushRef="#br0">0 90 5872 0 0,'0'0'266'0'0,"0"0"1"0"0,0 0-50 0 0,0 0 423 0 0,0 0 206 0 0,0 0 39 0 0,0 0-24 0 0,0 0-138 0 0,4-8 6313 0 0,-3 6-7438 0 0,0 2 409 0 0,-1 0-1 0 0,1 0 1 0 0,-1 0-1 0 0,1 0 1 0 0,-1 0-1 0 0,1-1 1 0 0,-1 1-1 0 0,1 0 1 0 0,-1 0-1 0 0,1 0 1 0 0,-1 0-1 0 0,1-1 1 0 0,-1 1-1 0 0,0 0 0 0 0,1 0 1 0 0,-1-1-1 0 0,1 1 1 0 0,-1 0-1 0 0,0-1 1 0 0,1 1-1 0 0,-1 0 1 0 0,0-1-7 0 0,3-1 45 0 0,38-24 995 0 0,-27 17-833 0 0,0 0 1 0 0,1 1-1 0 0,5-2-207 0 0,-13 8 19 0 0,-1 0 1 0 0,0 0-1 0 0,1 1 0 0 0,0-1 1 0 0,-1 1-1 0 0,1 1 0 0 0,0-1 1 0 0,1 1-20 0 0,11 1-445 0 0,1 1 1 0 0,2 1 444 0 0,-18-2-149 0 0,13 0-422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2:59.755"/>
    </inkml:context>
    <inkml:brush xml:id="br0">
      <inkml:brushProperty name="width" value="0.1" units="cm"/>
      <inkml:brushProperty name="height" value="0.1" units="cm"/>
      <inkml:brushProperty name="color" value="#FF0066"/>
    </inkml:brush>
  </inkml:definitions>
  <inkml:trace contextRef="#ctx0" brushRef="#br0">332 31 4344 0 0,'0'-8'539'0'0,"0"8"49"0"0,-21 0 6637 0 0,-1-2-2290 0 0,18 1-4657 0 0,0-1 1 0 0,0 1-1 0 0,0-1 1 0 0,0 0 0 0 0,0 0-1 0 0,-1-1-278 0 0,-4 2 727 0 0,9 1-709 0 0,-1 0-1 0 0,1 0 0 0 0,0 0 1 0 0,-1 0-1 0 0,1 0 0 0 0,0 0 1 0 0,-1 0-1 0 0,1 0 0 0 0,-1 0 1 0 0,1 0-1 0 0,0 0 0 0 0,-1 0 1 0 0,1 0-1 0 0,0 0 1 0 0,-1 0-1 0 0,1 0 0 0 0,0 0 1 0 0,-1 0-1 0 0,1 0 0 0 0,0-1 1 0 0,-1 1-1 0 0,1 0 0 0 0,0 0 1 0 0,0 0-1 0 0,-1-1 0 0 0,1 1 1 0 0,0 0-1 0 0,0 0 1 0 0,-1-1-1 0 0,1 1 0 0 0,0 0 1 0 0,0-1-1 0 0,0 1 0 0 0,-1 0 1 0 0,1-1-1 0 0,0 1 0 0 0,0 0-17 0 0,-22-1 632 0 0,20 1-555 0 0,-1 0-69 0 0,0 0-1 0 0,-1 0 1 0 0,1 0-1 0 0,0 0 1 0 0,0 1-1 0 0,-1-1 1 0 0,1 1 0 0 0,0 0-1 0 0,0 0 1 0 0,0 0-1 0 0,-2 1-7 0 0,5-2 37 0 0,-1 1 0 0 0,0-1-1 0 0,1 1 1 0 0,-1-1 0 0 0,0 0 0 0 0,0 1-1 0 0,1-1 1 0 0,-1 0 0 0 0,0 1-1 0 0,0-1 1 0 0,0 0 0 0 0,0 0 0 0 0,1 0-1 0 0,-1 0 1 0 0,0 0-37 0 0,-11 3 897 0 0,11-2-880 0 0,1-1 0 0 0,0 0 0 0 0,-1 0 0 0 0,1 0-1 0 0,-1 0 1 0 0,1 1 0 0 0,-1-1 0 0 0,1 0 0 0 0,0 0 0 0 0,-1 1-1 0 0,1-1 1 0 0,0 0 0 0 0,-1 1 0 0 0,1-1 0 0 0,0 0 0 0 0,-1 1-1 0 0,1-1 1 0 0,0 1 0 0 0,0-1 0 0 0,-1 1 0 0 0,1-1-1 0 0,0 0 1 0 0,0 1 0 0 0,0-1-17 0 0,-1 3-52 0 0,-7 3 39 0 0,1 0 1 0 0,1 0-1 0 0,0 1 0 0 0,0 0 0 0 0,0 1 0 0 0,0 1 13 0 0,-38 49 249 0 0,39-48-213 0 0,0 0 0 0 0,0 0-1 0 0,1 1 1 0 0,-2 6-36 0 0,-1-1 58 0 0,5-14-51 0 0,1 0 1 0 0,0 0-1 0 0,0 0 0 0 0,0 0 0 0 0,1 1 1 0 0,-1-1-1 0 0,0 0 0 0 0,1 0 0 0 0,-1 0 1 0 0,1 2-8 0 0,0-3 1 0 0,0 1 0 0 0,0-1 0 0 0,-1 0 0 0 0,1 0 0 0 0,0 0 0 0 0,-1 0 0 0 0,1 1 0 0 0,-1-1 0 0 0,1 0 0 0 0,-1 0 0 0 0,0 0-1 0 0,1 0 0 0 0,-1 0 1 0 0,1 0-1 0 0,-1 0 1 0 0,1-1-1 0 0,-1 1 1 0 0,1 0 0 0 0,0 0-1 0 0,0 0 1 0 0,-1 0-1 0 0,1-1 1 0 0,0 1-1 0 0,0 0 1 0 0,0 0 0 0 0,0 0-1 0 0,0 0 1 0 0,0 0-1 0 0,0 0 1 0 0,0 0-1 0 0,1 0 3 0 0,-1 0-1 0 0,1 0 1 0 0,-1 1 0 0 0,0-1-1 0 0,0 0 1 0 0,1 0 0 0 0,-1 0 0 0 0,0 1-1 0 0,0-1 1 0 0,0 0 0 0 0,0 0-1 0 0,-1 1 1 0 0,1-1 0 0 0,0 0-1 0 0,0 0 1 0 0,-1 0 0 0 0,1 0 0 0 0,-1 1-1 0 0,1-1 1 0 0,-1 0-3 0 0,-2 8-1 0 0,4 3 1 0 0,0 0 0 0 0,1 0 0 0 0,2 10 0 0 0,9 5-204 0 0,13 11 504 0 0,-13-22-180 0 0,-6-7-120 0 0,3 2 0 0 0,-6-10 0 0 0,-1 0 0 0 0,-1 1 0 0 0,0 2 0 0 0,12 4 0 0 0,-1-3 0 0 0,7 4 0 0 0,13 7 0 0 0,-31-15 1 0 0,3 1 20 0 0,0 0 1 0 0,-1 0-1 0 0,1-1 1 0 0,0 1 0 0 0,2 0-22 0 0,44 0 99 0 0,-44-2-82 0 0,0-1 0 0 0,0 1 0 0 0,0-1-1 0 0,0-1 1 0 0,0 1 0 0 0,0-1 0 0 0,3-2-17 0 0,20-7 10 0 0,-15 5 12 0 0,-1 0-1 0 0,0-1 0 0 0,9-7-21 0 0,-7 7 11 0 0,-13 6-6 0 0,1-1-1 0 0,-1 1 1 0 0,1-1 0 0 0,-1 0 0 0 0,0 0-1 0 0,0 0 1 0 0,0-1 0 0 0,0 1 0 0 0,0-1-5 0 0,-1 2 0 0 0,-1 0 1 0 0,1-1 0 0 0,-1 1 0 0 0,0-1-1 0 0,1 1 1 0 0,-1-1 0 0 0,0 1 0 0 0,0-1-1 0 0,0 0 1 0 0,0 0 0 0 0,0 1 0 0 0,0-1-1 0 0,-1 0 1 0 0,1-1-1 0 0,0 0 5 0 0,-1 3-12 0 0,10-9 75 0 0,4-17 280 0 0,-9 10 246 0 0,1-5-544 0 0,-4 14-180 0 0,-1 0 1 0 0,1 0 0 0 0,-2 0-1 0 0,1-1 1 0 0,-1 1 0 0 0,0-2 129 0 0,0 5 6 0 0,0 4-3 0 0,0-1 0 0 0,0 0 0 0 0,0 0 1 0 0,0 0-1 0 0,0 0 0 0 0,0 0 0 0 0,0 0 0 0 0,0 0 0 0 0,-1 0 0 0 0,1 0 0 0 0,0 0 0 0 0,0 0 0 0 0,-1 0 0 0 0,1 0 0 0 0,-1 1 0 0 0,1-1 0 0 0,-1 0 0 0 0,1 0 0 0 0,-1 0 1 0 0,0 0-4 0 0,-2-3 13 0 0,1-5 41 0 0,0 3 12 0 0,0 0 0 0 0,0 0 0 0 0,0 0 0 0 0,-1 0 0 0 0,-1-2-66 0 0,-1 2 73 0 0,5 6-66 0 0,-1-1 1 0 0,0 1-1 0 0,1-1 0 0 0,-1 1 1 0 0,0-1-1 0 0,1 1 0 0 0,-1-1 0 0 0,1 0 1 0 0,-1 1-1 0 0,1-1 0 0 0,-1 0 0 0 0,1 1 1 0 0,0-1-1 0 0,-1 0 0 0 0,1 0 0 0 0,0 1 1 0 0,-1-1-1 0 0,1 0 0 0 0,0 0 1 0 0,0 0-1 0 0,0 1 0 0 0,0-1 0 0 0,0 0 1 0 0,0 0-8 0 0,0 0 2 0 0,0 1 1 0 0,0 0 0 0 0,0-1 0 0 0,0 1 0 0 0,0 0 0 0 0,0-1 0 0 0,0 1 0 0 0,0 0 0 0 0,0-1 0 0 0,0 1 0 0 0,-1 0-1 0 0,1-1 1 0 0,0 1 0 0 0,0 0 0 0 0,0-1 0 0 0,0 1 0 0 0,-1 0 0 0 0,1-1 0 0 0,0 1 0 0 0,0 0 0 0 0,0-1-1 0 0,-1 1 1 0 0,1 0 0 0 0,0 0-3 0 0,-16-19 94 0 0,8 9 10 0 0,-1 0 0 0 0,-8-7-104 0 0,-14-7 211 0 0,-5-4-56 0 0,36 27-151 0 0,-1 0-1 0 0,1 1 1 0 0,-1-1 0 0 0,0 1-1 0 0,1-1 1 0 0,-1 1 0 0 0,1 0-1 0 0,-1-1 1 0 0,0 1-1 0 0,1-1 1 0 0,-1 1 0 0 0,0 0-1 0 0,1 0 1 0 0,-1-1-1 0 0,0 1 1 0 0,0 0 0 0 0,1 0-1 0 0,-1 0 1 0 0,0 0 0 0 0,0 0-1 0 0,1 0 1 0 0,-1 0-1 0 0,0 0 1 0 0,0 0 0 0 0,1 0-1 0 0,-1 0-3 0 0,-3 1 26 0 0,-30-7 61 0 0,27 7-71 0 0,0 0 0 0 0,0 0 0 0 0,0 1 0 0 0,0-1 0 0 0,0 2 0 0 0,0-1-1 0 0,-2 2-15 0 0,1-1 6 0 0,5-2 2 0 0,0 0-1 0 0,0 1 1 0 0,0-1-1 0 0,0 1 1 0 0,0 0-1 0 0,0 0 1 0 0,1 0-1 0 0,-1 0 0 0 0,-1 1-7 0 0,4-2-3 0 0,-4 2 3 0 0,1 0 0 0 0,-1-1 0 0 0,0 1 0 0 0,1-1 0 0 0,-1 0 0 0 0,-3 2 0 0 0,-6 3 0 0 0,2-1 1 0 0,0 0 52 0 0,-4 9-42 0 0,-16 18-12 0 0,2-3 1 0 0,27-28 0 0 0,1-1 0 0 0,-1 1 0 0 0,1 0 0 0 0,-1 0 0 0 0,1 0 0 0 0,0 0 0 0 0,0 0 0 0 0,0 1 0 0 0,0-1 0 0 0,0 1 0 0 0,-2 4 0 0 0,2-5 0 0 0,0 0 0 0 0,0 0 0 0 0,1 1 0 0 0,-1-1 0 0 0,1 0 0 0 0,0 0 0 0 0,-1 0 0 0 0,1 0 0 0 0,0 1 0 0 0,0-1 0 0 0,0 0 0 0 0,1 0 0 0 0,-1 0 0 0 0,0 1 0 0 0,4 32 0 0 0,1-18 0 0 0,0-1 0 0 0,1-3 0 0 0,-4-11 0 0 0,-1-1 0 0 0,-1-1 0 0 0,1 0 0 0 0,-1 0 0 0 0,1 1 0 0 0,-1-1 0 0 0,1 0 0 0 0,-1 1 0 0 0,0-1 0 0 0,1 1 0 0 0,-1-1 0 0 0,1 1 0 0 0,-1-1 0 0 0,0 1 0 0 0,0-1 0 0 0,1 1 0 0 0,-1-1 0 0 0,0 1 0 0 0,0-1 0 0 0,0 1 0 0 0,1-1 0 0 0,-1 1 0 0 0,0 0 0 0 0,14 25 0 0 0,-12-23-71 0 0,0 0 0 0 0,1 0 0 0 0,-1 0-1 0 0,1 0 1 0 0,0-1 0 0 0,0 1 0 0 0,0-1 0 0 0,0 0 0 0 0,0 0-1 0 0,0 0 1 0 0,1 0 0 0 0,-1-1 0 0 0,3 2 71 0 0,-4-3 97 0 0,-1 3 28 0 0,4 0 348 0 0,5 3-363 0 0,2 1-110 0 0,-1-1 0 0 0,4-4 0 0 0,-1 0 0 0 0,1-1 0 0 0,-1-1 0 0 0,7 0 0 0 0,-18 0 0 0 0,15-4 0 0 0,3-2 0 0 0,-14 1 0 0 0,-3 1 0 0 0,-1 1 0 0 0,-3 2 0 0 0,1 0 0 0 0,0 0 0 0 0,-1 0 0 0 0,1 0 0 0 0,0 0 0 0 0,0 1 0 0 0,0-1 0 0 0,0 0 0 0 0,-1 1 0 0 0,1-1 0 0 0,0 1 0 0 0,0-1 0 0 0,1 1 0 0 0,-1-1 0 0 0,0 1 0 0 0,0-1 0 0 0,6-2 8 0 0,-6 3-5 0 0,1-1 0 0 0,-1 0 1 0 0,1 0-1 0 0,-1 0 0 0 0,1 0 1 0 0,-1 0-1 0 0,0 0 0 0 0,1 0 1 0 0,-1 0-1 0 0,0-1 0 0 0,0 1 1 0 0,0 0-1 0 0,0-1 0 0 0,0 1 1 0 0,0-1-1 0 0,0 1 0 0 0,0-3-3 0 0,3-2-141 0 0,1-1 0 0 0,-1 0-1 0 0,1 1 1 0 0,1-1 141 0 0,-4 5 44 0 0,0 0 1 0 0,-1 0 0 0 0,1 0-1 0 0,0 0 1 0 0,-1-1 0 0 0,1 1-1 0 0,-1-1 1 0 0,0 1-1 0 0,0-1 1 0 0,0 0 0 0 0,0-1-45 0 0,0 1 11 0 0,0 0 0 0 0,0 1 0 0 0,1-1 0 0 0,-1 0 0 0 0,1 1 0 0 0,-1-1 0 0 0,3-1-11 0 0,-3 2 3 0 0,1 0-1 0 0,-1 0 0 0 0,1 0 0 0 0,-1 0 1 0 0,0-1-1 0 0,0 1 0 0 0,0 0 0 0 0,0-1 0 0 0,0 1 1 0 0,0-1-1 0 0,-1 1 0 0 0,1-1 0 0 0,-1 0-2 0 0,2-12 15 0 0,-2 11-10 0 0,1 0 1 0 0,-1-1-1 0 0,0 1 1 0 0,0 0-1 0 0,0 0 1 0 0,-1-1-1 0 0,1 1 1 0 0,-1 0-1 0 0,0-1-5 0 0,-1 0 5 0 0,2 2 2 0 0,-1 0 1 0 0,-1 0-1 0 0,1 1 1 0 0,0-1-1 0 0,-1 0 0 0 0,1 0 1 0 0,-1 1-1 0 0,-2-3-7 0 0,3 1-64 0 0,1 3-266 0 0,0 1-112 0 0,-1-6-751 0 0,-2-2-546 0 0</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46.127"/>
    </inkml:context>
    <inkml:brush xml:id="br0">
      <inkml:brushProperty name="width" value="0.05" units="cm"/>
      <inkml:brushProperty name="height" value="0.05" units="cm"/>
    </inkml:brush>
  </inkml:definitions>
  <inkml:trace contextRef="#ctx0" brushRef="#br0">4 45 2304 0 0,'1'-1'195'0'0,"-1"1"1"0"0,0-1-1 0 0,1 1 1 0 0,-1 0-1 0 0,0-1 1 0 0,1 1-1 0 0,-1-1 1 0 0,0 1-1 0 0,0-1 1 0 0,0 0-1 0 0,1 1 1 0 0,-1-1-1 0 0,0 1 1 0 0,0-1-1 0 0,0 1 1 0 0,0-1-196 0 0,-1-1 643 0 0,0 1 0 0 0,0-1 0 0 0,0 0 0 0 0,1 0 0 0 0,-1 0 0 0 0,1 0 0 0 0,-1 0 0 0 0,1 0 0 0 0,0 0 0 0 0,-1 0 0 0 0,1 1 0 0 0,0-3-643 0 0,0-3 2290 0 0,0 7-2229 0 0,-1 0 0 0 0,1 0 0 0 0,0 0 0 0 0,0 0 0 0 0,0 0 0 0 0,0 0 0 0 0,0 0 0 0 0,0 0 0 0 0,0 0 0 0 0,0-1 0 0 0,0 1 0 0 0,0 0 0 0 0,0 0-1 0 0,0 0 1 0 0,0 0 0 0 0,0 0 0 0 0,0 0 0 0 0,0 0 0 0 0,0 0 0 0 0,0 0 0 0 0,0 0 0 0 0,1-1 0 0 0,-1 1 0 0 0,0 0 0 0 0,0 0 0 0 0,0 0 0 0 0,0 0 0 0 0,0 0 0 0 0,0 0 0 0 0,0 0 0 0 0,0 0 0 0 0,0 0 0 0 0,0 0 0 0 0,0 0 0 0 0,0 0 0 0 0,0 0 0 0 0,0 0 0 0 0,1 0 0 0 0,-1-1 0 0 0,0 1 0 0 0,0 0 0 0 0,0 0 0 0 0,0 0 0 0 0,0 0 0 0 0,0 0 0 0 0,0 0 0 0 0,0 0-1 0 0,0 0 1 0 0,1 0 0 0 0,-1 0 0 0 0,0 0 0 0 0,0 0 0 0 0,0 0 0 0 0,0 0 0 0 0,0 0 0 0 0,0 1 0 0 0,0-1 0 0 0,0 0 0 0 0,0 0 0 0 0,0 0 0 0 0,1 0 0 0 0,-1 0 0 0 0,0 0 0 0 0,0 0 0 0 0,0 0 0 0 0,0 0-61 0 0,4 0-719 0 0,13 1 1090 0 0,0 1 0 0 0,0 1 1 0 0,0 0-1 0 0,13 5-371 0 0,-11-3 99 0 0,0 0 1 0 0,1-2 0 0 0,9 1-100 0 0,51 2-1500 0 0,-51-5-5311 0 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7:47.588"/>
    </inkml:context>
    <inkml:brush xml:id="br0">
      <inkml:brushProperty name="width" value="0.05" units="cm"/>
      <inkml:brushProperty name="height" value="0.05" units="cm"/>
    </inkml:brush>
  </inkml:definitions>
  <inkml:trace contextRef="#ctx0" brushRef="#br0">0 214 920 0 0,'0'0'301'0'0,"0"0"931"0"0,0 0 411 0 0,1 2 79 0 0,-1-1-1423 0 0,1-1 0 0 0,-1 1 0 0 0,0 0 0 0 0,0-1 0 0 0,1 1-1 0 0,-1 0 1 0 0,0-1 0 0 0,1 1 0 0 0,-1 0 0 0 0,1-1-1 0 0,-1 1 1 0 0,1-1 0 0 0,-1 1 0 0 0,1-1 0 0 0,0 1-1 0 0,-1-1 1 0 0,1 1 0 0 0,-1-1 0 0 0,1 0 0 0 0,0 1-1 0 0,-1-1 1 0 0,1 0 0 0 0,0 1 0 0 0,0-1 0 0 0,-1 0-1 0 0,1 0 1 0 0,0 0-299 0 0,0 0 691 0 0,0-2 21 0 0,19-50 1821 0 0,-11 32-1580 0 0,-7 17-819 0 0,0-1 0 0 0,0 0 0 0 0,0 0 0 0 0,-1 0 0 0 0,1 0 0 0 0,-1 0-134 0 0,2-7 7 0 0,1 1-1 0 0,0 0 1 0 0,1 0-1 0 0,0 0 1 0 0,6-7-7 0 0,8-17-831 0 0,-7 9 209 0 0</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0.79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4 4608 0 0,'0'0'101'0'0,"0"0"22"0"0,0 0 5 0 0,0 0 40 0 0,0 0 168 0 0,0 0 74 0 0,0 0 20 0 0,0 0-25 0 0,0 0-112 0 0,0 0-49 0 0,0 0-10 0 0,0 0-12 0 0,0 0-39 0 0,0 0-20 0 0,0 0-3 0 0,0 0-11 0 0,0 0-44 0 0,0 0-17 0 0,0 0-6 0 0,0 0 3 0 0,0 0 23 0 0,1 0-76 0 0,-1 0 0 0 0,0-1 0 0 0,0 1 0 0 0,1 0 0 0 0,-1-1 0 0 0,0 1 0 0 0,1 0 0 0 0,-1 0 0 0 0,0 0 0 0 0,1-1 0 0 0,-1 1 0 0 0,1 0 0 0 0,-1 0 0 0 0,0 0 0 0 0,1 0 0 0 0,-1 0 0 0 0,1 0 0 0 0,-1 0 0 0 0,1 0 0 0 0,-1 0 0 0 0,0 0 0 0 0,1 0 0 0 0,-1 0-32 0 0,24 22 1103 0 0,-5-6-815 0 0,-2-4-64 0 0,0 6-224 0 0,7 7 0 0 0,-23-25 0 0 0,0 1 0 0 0,0-1 0 0 0,0 1 0 0 0,0 0 0 0 0,0-1 0 0 0,0 1 0 0 0,-1 0 0 0 0,1 0 0 0 0,0 0 0 0 0,0 0 0 0 0,0 0 0 0 0,-1 0 0 0 0,1 0 0 0 0,-1 0 0 0 0,1 0 0 0 0,-1 0 0 0 0,2 3 0 0 0,4 4 0 0 0,-6-7 0 0 0,1 0 0 0 0,0 0 0 0 0,0 0 0 0 0,-1 0 0 0 0,1 0 0 0 0,0 0 0 0 0,0 0 0 0 0,0 0 0 0 0,0 0 0 0 0,1-1 0 0 0,-1 1 0 0 0,44 38 64 0 0,7-2-927 0 0,-48-35 371 0 0,-1 1 0 0 0,0-1 0 0 0,0 0 0 0 0,0 1 0 0 0,0 0 0 0 0,0 0 0 0 0,0 1 492 0 0,1 6-2989 0 0</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1.883"/>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0 6448 0 0,'0'0'141'0'0,"0"0"23"0"0,0 0 13 0 0,10 2 1895 0 0,5 10-2159 0 0,-12-10 128 0 0,-1 0-1 0 0,1 0 0 0 0,0 0 1 0 0,-1 0-1 0 0,0 0 1 0 0,0 1-1 0 0,1-1 0 0 0,-1 1 1 0 0,-1 0-1 0 0,1-1 1 0 0,0 3-41 0 0,1-1 36 0 0,-1 0 0 0 0,1 0 0 0 0,0 0-1 0 0,0 0 1 0 0,0-1 0 0 0,0 1 0 0 0,1-1 0 0 0,0 1 0 0 0,1 0-36 0 0,0 0 5 0 0,-1 0 1 0 0,0-1-1 0 0,0 2 0 0 0,0-1 0 0 0,-1 0 0 0 0,2 2-5 0 0,-1 0 10 0 0,1 0 0 0 0,0-1 0 0 0,1 1 0 0 0,-1-2 0 0 0,1 1 0 0 0,0 0 0 0 0,1-1-10 0 0,1 2 37 0 0,70 53-26 0 0,-61-44-33 0 0,-14-12 13 0 0,0 1-1 0 0,0-1 0 0 0,1-1 0 0 0,-1 1 0 0 0,1 0 1 0 0,0-1 9 0 0,-2-1-29 0 0,0 1 0 0 0,-1-1 0 0 0,1 0 0 0 0,0 1 0 0 0,-1-1 0 0 0,1 1 0 0 0,-1-1 0 0 0,2 3 29 0 0,-2-2-191 0 0,1 0 0 0 0,0 0 0 0 0,0 0 0 0 0,0 0 0 0 0,0 0 0 0 0,0-1-1 0 0,1 2 192 0 0,9 4-2990 0 0</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2.482"/>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1376 0 0,'0'0'240'0'0,"0"0"469"0"0,0 0 203 0 0,0 0 44 0 0,0 0-78 0 0,0 0-376 0 0,0 0-166 0 0,0 0-31 0 0,0 0-33 0 0,0 0-108 0 0,8 3 58 0 0,-4-1-121 0 0,0-1 0 0 0,0 1 0 0 0,-1 0 0 0 0,1 0 0 0 0,-1 1 0 0 0,1-1 0 0 0,-1 1 0 0 0,2 1-101 0 0,8 8 277 0 0,-10-10-226 0 0,-1 0 1 0 0,0 0-1 0 0,1 0 1 0 0,-1 0-1 0 0,0 1 1 0 0,0-1-1 0 0,0 1-51 0 0,2 3 67 0 0,1 0 0 0 0,0 0 1 0 0,0-1-1 0 0,1 0 0 0 0,-1 0 0 0 0,1 0 0 0 0,2 1-67 0 0,8 7 137 0 0,21 10-61 0 0,-4-2-92 0 0,-15-10-87 0 0,-15-10-174 0 0,0 1 0 0 0,1 0 0 0 0,-1 0 0 0 0,0 0 0 0 0,0 1-1 0 0,1 0 278 0 0,3 4-2650 0 0</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2.989"/>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3424 0 0,'5'0'53'0'0,"13"5"294"0"0,0 11 1246 0 0,-12-14-1233 0 0,0 1 0 0 0,0 0 0 0 0,-1 0 0 0 0,1 1 0 0 0,-1-1-1 0 0,0 1 1 0 0,0 1 0 0 0,-1-1 0 0 0,1 1 0 0 0,-1-1 0 0 0,1 2-360 0 0,10 7 500 0 0,-14-12-472 0 0,1 0-1 0 0,-1-1 1 0 0,0 1-1 0 0,0 0 0 0 0,0 0 1 0 0,0 0-1 0 0,0 0 0 0 0,0 0 1 0 0,0 0-1 0 0,0 0 0 0 0,0 0 1 0 0,0 0-1 0 0,0 0 1 0 0,-1 0-1 0 0,1 1 0 0 0,0-1 1 0 0,-1 0-1 0 0,1 1 0 0 0,-1-1 1 0 0,1 2-28 0 0,-1-3 7 0 0,-1 1 1 0 0,1 0-1 0 0,0 0 1 0 0,0 0 0 0 0,1 0-1 0 0,-1 0 1 0 0,0 0-1 0 0,0-1 1 0 0,0 1-1 0 0,1 0 1 0 0,-1 0 0 0 0,0 0-1 0 0,1-1 1 0 0,-1 1-1 0 0,0 0 1 0 0,1 0-1 0 0,-1-1 1 0 0,1 1 0 0 0,0 0-1 0 0,-1-1 1 0 0,1 1-1 0 0,-1 0 1 0 0,1-1 0 0 0,0 1-1 0 0,0-1 1 0 0,-1 1-1 0 0,1-1 1 0 0,0 1-8 0 0,5 3 28 0 0,20 19 58 0 0,-20-17-150 0 0,1 1 0 0 0,0-2 0 0 0,4 4 64 0 0,10 9-1721 0 0,-13-14 940 0 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3.603"/>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1376 0 0,'2'4'223'0'0,"1"0"0"0"0,0 0 0 0 0,0-1 0 0 0,0 1 0 0 0,1 0 0 0 0,-1-1 0 0 0,1 0 0 0 0,3 2-223 0 0,-2-1 437 0 0,-1-1-1 0 0,0 1 0 0 0,0 0 1 0 0,0 0-1 0 0,0 1 0 0 0,0-1 0 0 0,-1 1-436 0 0,25 27 1114 0 0,-27-31-897 0 0,12 15 687 0 0,9 6-248 0 0,-17-14-211 0 0,-3-4-339 0 0,7 4 173 0 0,-8-7-219 0 0,1 1-1 0 0,0-1 1 0 0,-1 1-1 0 0,1-1 1 0 0,-1 1 0 0 0,1 0-1 0 0,-1-1 1 0 0,0 1-60 0 0,3 4 136 0 0,1 0 0 0 0,-1 0 0 0 0,1-1 0 0 0,1 0-136 0 0,15 20 396 0 0,-19-22-377 0 0,0 0 1 0 0,1 0-1 0 0,0 0 1 0 0,-1-1-1 0 0,1 1 0 0 0,0-1 1 0 0,0 0-1 0 0,0 0 1 0 0,1 0-1 0 0,1 1-19 0 0,-1-1 6 0 0,0 0 0 0 0,-1 0 0 0 0,1 1 0 0 0,-1-1 0 0 0,3 4-6 0 0,8 3 0 0 0,-12-9 0 0 0,-1 1 0 0 0,0-1 0 0 0,0 1 0 0 0,0 0 0 0 0,0-1 0 0 0,0 1 0 0 0,0 0 0 0 0,0 0 0 0 0,0 0 0 0 0,0-1 0 0 0,0 1 0 0 0,0 1 0 0 0,17 19-192 0 0,-14-17-573 0 0,0 0-1 0 0,-1 0 1 0 0,0 1-1 0 0,0-1 1 0 0,3 6 765 0 0,-5-9-3253 0 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4.05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 3824 0 0,'10'17'312'0'0,"1"3"-177"0"0,-10-19-45 0 0,0 1 1 0 0,1-1 0 0 0,-1 0 0 0 0,0 1 0 0 0,1-1 0 0 0,-1 0 0 0 0,0 0 0 0 0,1 0 0 0 0,-1 0 0 0 0,1 0 0 0 0,0 0-1 0 0,-1 0 1 0 0,1 0 0 0 0,0 0-91 0 0,8 4 763 0 0,-2-1-462 0 0,-7-3-276 0 0,0-1-1 0 0,0 0 1 0 0,0 1 0 0 0,0-1-1 0 0,0 1 1 0 0,-1 0 0 0 0,1-1-1 0 0,0 1 1 0 0,0 0 0 0 0,0-1-1 0 0,-1 1 1 0 0,1 0 0 0 0,0 0-25 0 0,11 8 117 0 0,-7-6-93 0 0,10 8 5 0 0,7 3 118 0 0,-2 2 0 0 0,16 15-147 0 0,5 5 82 0 0,-36-31-39 0 0,0 1 0 0 0,1-1 0 0 0,0-1-1 0 0,1 2-42 0 0,9 7-209 0 0,-9-8-123 0 0</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6.388"/>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82 18 920 0 0,'0'0'291'0'0,"0"0"885"0"0,0 0 390 0 0,0 0 82 0 0,0 0-113 0 0,0-12 1573 0 0,0 6-1970 0 0,0 13 1573 0 0,1 11-1420 0 0,-1-16-1204 0 0,1 0 1 0 0,0 0-1 0 0,-1 0 1 0 0,0 0-1 0 0,0 1 1 0 0,1-1-1 0 0,-1 0 1 0 0,0 0-1 0 0,-1 0 1 0 0,1 1-1 0 0,0-1 1 0 0,-1 0-1 0 0,1 0 1 0 0,-1 1-88 0 0,-8 29 289 0 0,5-16-262 0 0,0 0 0 0 0,0 0 0 0 0,0 9-27 0 0,2-5 18 0 0,-2 0 0 0 0,-2 5-18 0 0,2-13-80 0 0,-2 10-906 0 0,0-1 1 0 0,0 9 985 0 0,-6 18-1570 0 0,5-23 78 0 0,3-10 694 0 0</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7.369"/>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32 25 6448 0 0,'-1'-4'-407'0'0,"1"3"522"0"0,0 0 0 0 0,-1 1 0 0 0,1-1-1 0 0,0 0 1 0 0,0 1 0 0 0,0-1 0 0 0,0 0 0 0 0,0 0-1 0 0,0 1 1 0 0,0-1 0 0 0,0 0 0 0 0,0 1 0 0 0,0-1-1 0 0,0 0 1 0 0,0 0 0 0 0,1 1 0 0 0,-1-1 0 0 0,0 0-1 0 0,1 1 1 0 0,-1-1 0 0 0,0 1 0 0 0,1-1 0 0 0,-1 0-1 0 0,1 1 1 0 0,-1-1 0 0 0,1 1 0 0 0,-1-1 0 0 0,1 0-115 0 0,0 0 370 0 0,-1 1 118 0 0,0 0 22 0 0,0 0 2 0 0,0 0 0 0 0,0 0 0 0 0,0 0 0 0 0,0 0-70 0 0,0 2-292 0 0,3 14-131 0 0,-3-14-19 0 0,1 0-1 0 0,-1 0 1 0 0,1 1 0 0 0,-1-1-1 0 0,0 0 1 0 0,1 1 0 0 0,-1-1-1 0 0,0 0 1 0 0,-1 0 0 0 0,1 2 0 0 0,-4 49 0 0 0,-13 51 10 0 0,11-61 119 0 0,-5 16-1263 0 0,10-40-663 0 0,-1-13 1157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03:07.276"/>
    </inkml:context>
    <inkml:brush xml:id="br0">
      <inkml:brushProperty name="width" value="0.1" units="cm"/>
      <inkml:brushProperty name="height" value="0.1" units="cm"/>
      <inkml:brushProperty name="color" value="#33CCFF"/>
    </inkml:brush>
  </inkml:definitions>
  <inkml:trace contextRef="#ctx0" brushRef="#br0">284 12 1840 0 0,'0'0'347'0'0,"0"0"783"0"0,0 0 345 0 0,0 0 70 0 0,0 0-93 0 0,0 0-447 0 0,0 0-195 0 0,0 0-40 0 0,0 0-44 0 0,-17 0 2318 0 0,0-5-680 0 0,13 4-2045 0 0,1 0-1 0 0,-1 0 0 0 0,0 0 1 0 0,0 0-1 0 0,0 1 0 0 0,-4-1-318 0 0,-2 1 764 0 0,4 0-576 0 0,0-1 0 0 0,1 1-1 0 0,-1 1 1 0 0,1-1-1 0 0,-1 1 1 0 0,1 0-1 0 0,-1 0 1 0 0,1 0-1 0 0,-1 1 1 0 0,1 0 0 0 0,0 0-1 0 0,0 0 1 0 0,-1 1-188 0 0,-47 23 890 0 0,50-24-856 0 0,1 0-1 0 0,-1 1 0 0 0,1-1 0 0 0,0 1 0 0 0,0-1 0 0 0,0 1 1 0 0,0 0-34 0 0,-10 12 77 0 0,-5 6 64 0 0,14-16-119 0 0,-1-1 1 0 0,1 1 0 0 0,0 0-1 0 0,1-1 1 0 0,-1 1-1 0 0,1 0 1 0 0,0 0-1 0 0,1 1 1 0 0,-1-1-23 0 0,0 7 73 0 0,0 0 0 0 0,1 0 0 0 0,0 0 0 0 0,1 0 1 0 0,0 0-1 0 0,1 2-73 0 0,0 15 94 0 0,-1-21-74 0 0,1 0 0 0 0,0-1 1 0 0,1 1-1 0 0,0 0 0 0 0,0 0-20 0 0,0-1 16 0 0,0 0 0 0 0,-1 1 0 0 0,0-1 0 0 0,0 0 0 0 0,0 1-16 0 0,-2-8 2 0 0,1 1-1 0 0,0 0 1 0 0,0 0-1 0 0,0-1 0 0 0,0 1 1 0 0,0 0-1 0 0,1 0 1 0 0,-1-1-1 0 0,0 1 1 0 0,0 0-1 0 0,0-1 0 0 0,1 1 1 0 0,-1 0-1 0 0,0-1 1 0 0,1 1-1 0 0,-1 0 1 0 0,0-1-1 0 0,1 1 0 0 0,-1-1 1 0 0,1 1-1 0 0,-1-1 1 0 0,1 1-1 0 0,0-1 1 0 0,-1 1-2 0 0,3 1 19 0 0,14 25 2 0 0,-16-25-16 0 0,0-1 1 0 0,1 1 0 0 0,-1 0-1 0 0,1-1 1 0 0,-1 1-1 0 0,1-1 1 0 0,0 1-1 0 0,-1-1 1 0 0,3 2-6 0 0,9 7 57 0 0,-9-8-47 0 0,12 6 20 0 0,3 3 66 0 0,-12-7-94 0 0,-4-1 5 0 0,-1-2 1 0 0,0 0-1 0 0,0 0 1 0 0,0 0-1 0 0,0 0 1 0 0,0 0-1 0 0,0-1 1 0 0,1 1-1 0 0,-1-1 1 0 0,1 1-8 0 0,5 0 43 0 0,1-1-33 0 0,33 0 54 0 0,-40 0-64 0 0,0 0 0 0 0,0 0 0 0 0,0 0 0 0 0,0 0 0 0 0,1 0 0 0 0,-1 0 0 0 0,0-1 0 0 0,0 1 0 0 0,0-1 0 0 0,0 1 0 0 0,0-1 0 0 0,0 0-1 0 0,1 0 1 0 0,2-2 12 0 0,-4 3-8 0 0,0 0 0 0 0,0 0 0 0 0,0-1 0 0 0,0 1 0 0 0,0 0 0 0 0,-1-1 0 0 0,1 1 0 0 0,0-1 1 0 0,0 1-1 0 0,0-1 0 0 0,-1 1 0 0 0,1-1 0 0 0,0 0-4 0 0,9-5 54 0 0,-2 2-44 0 0,-2-4-10 0 0,-5 6 0 0 0,0 1 0 0 0,0-1 0 0 0,0 1 0 0 0,0-1 0 0 0,0 1 0 0 0,0-1 0 0 0,0 1 0 0 0,1 0 0 0 0,-1-1 0 0 0,0 1 0 0 0,1 0 0 0 0,-1 0 0 0 0,1 0 0 0 0,0 0 0 0 0,4-4 0 0 0,3-10-2 0 0,-5 14 4 0 0,-2 0 9 0 0,1 0 15 0 0,-1-1 4 0 0,7-14-33 0 0,4-1 3 0 0,-10 7 0 0 0,6-17 64 0 0,-8 26-64 0 0,-1-1 0 0 0,1 1 0 0 0,-1 0 0 0 0,0 0 0 0 0,1-1 0 0 0,-1 1 0 0 0,0 0 0 0 0,0-1 0 0 0,0 1 0 0 0,0 0 0 0 0,0-1 0 0 0,0 1 0 0 0,0 0 0 0 0,-1-1 0 0 0,1 1 0 0 0,-1-4 0 0 0,6-61 64 0 0,-5 62-58 0 0,-1 0 0 0 0,1 1 0 0 0,-1-1 0 0 0,0 0 0 0 0,0 1 0 0 0,0-1 0 0 0,0 1 0 0 0,-1-2-6 0 0,0-3 16 0 0,-5-15 48 0 0,7 21-64 0 0,1-3 0 0 0,-7-6 0 0 0,5 6 12 0 0,-1 1 0 0 0,1 0-1 0 0,-1-1 1 0 0,0 1 0 0 0,-1 0 0 0 0,1 0-1 0 0,0 1 1 0 0,-1-1 0 0 0,0 0 0 0 0,-2-1-12 0 0,-2-3 47 0 0,7 8-40 0 0,-1-1-1 0 0,1 0 0 0 0,-1 0 0 0 0,1 1 1 0 0,-1-1-1 0 0,0 1 0 0 0,1-1 0 0 0,-1 0 1 0 0,0 1-1 0 0,1-1 0 0 0,-1 1 1 0 0,0-1-1 0 0,0 1 0 0 0,1 0 0 0 0,-1-1 1 0 0,0 1-1 0 0,0 0 0 0 0,0 0 0 0 0,1-1 1 0 0,-1 1-1 0 0,0 0 0 0 0,0 0 1 0 0,0 0-7 0 0,-19-3 114 0 0,18 2-100 0 0,0 0 1 0 0,-1 1-1 0 0,1 0 1 0 0,0-1-1 0 0,0 1 1 0 0,0 0-1 0 0,0 0 1 0 0,0 0-1 0 0,0 0 1 0 0,-1 0-1 0 0,1 1 1 0 0,0-1-1 0 0,-2 1-14 0 0,-1 1 44 0 0,1-1-29 0 0,0 0 0 0 0,1 1 1 0 0,-1-1-1 0 0,0 1 0 0 0,0 0 0 0 0,1 0 0 0 0,-1 1 1 0 0,1-1-1 0 0,0 0 0 0 0,0 1 0 0 0,0 0 0 0 0,0 0 1 0 0,-1 1-16 0 0,-6 8 2 0 0,8-9 5 0 0,-1 0-1 0 0,0 1 1 0 0,1-1-1 0 0,0 0 1 0 0,0 1-1 0 0,0-1 1 0 0,0 1 0 0 0,0-1-1 0 0,1 1 1 0 0,0 0-1 0 0,-1 4-6 0 0,-7 24 23 0 0,6-26-16 0 0,1 0 0 0 0,1 0 0 0 0,-1 0 0 0 0,1 1-1 0 0,0-1 1 0 0,0 6-7 0 0,-4 10 0 0 0,4-19 0 0 0,0 0 0 0 0,1 0 0 0 0,-1 0 0 0 0,0 0 0 0 0,1 0 0 0 0,0 3 0 0 0,4 64 0 0 0,-4-66 0 0 0,1 1 0 0 0,-1-1 0 0 0,1 0 0 0 0,-1 1 0 0 0,1-1 0 0 0,0 0 0 0 0,1 0 0 0 0,-1 0 0 0 0,1 0 0 0 0,2 4 0 0 0,13 20 0 0 0,-16-26 0 0 0,-1 1 0 0 0,8 7 0 0 0,-1-5 0 0 0,0 2 0 0 0,3 0 0 0 0,-1-3 0 0 0,-1 3 0 0 0,1-2 0 0 0,3-2 0 0 0,-3 1 0 0 0,4-1-12 0 0,2-2-52 0 0,-4-2-12 0 0,2-2 71 0 0,6-4 63 0 0,8-5-63 0 0,-15 9-5 0 0,-11 3 8 0 0,0 0 1 0 0,1 0 0 0 0,-1 0 0 0 0,1 0 0 0 0,-1-1 0 0 0,1 1 0 0 0,-1 0 0 0 0,1-1 0 0 0,-1 1-1 0 0,0-1 1 0 0,1 1 0 0 0,-1-1 0 0 0,0 0 0 0 0,0 0 0 0 0,1 1 0 0 0,-1-1 0 0 0,0 0-1 0 0,0 0 1 0 0,1-1 1 0 0,3-2 22 0 0,-4 3-25 0 0,1 1 1 0 0,-1-1-1 0 0,1 1 1 0 0,-1-1 0 0 0,1 0-1 0 0,-1 0 1 0 0,1 1-1 0 0,-1-1 1 0 0,0 0 0 0 0,1 0-1 0 0,-1-1 1 0 0,0 1-1 0 0,0 0 1 0 0,1-1 2 0 0,8-11-20 0 0,0 2 45 0 0,-6 7-15 0 0,-1 1 0 0 0,0-1 0 0 0,0 0 0 0 0,0 0-1 0 0,0 0 1 0 0,1-2-10 0 0,0-3-84 0 0,-1 3 110 0 0,0 1 0 0 0,0-2 0 0 0,-1 1 0 0 0,1-2-26 0 0,-3 7 3 0 0,0-1 0 0 0,1 1 1 0 0,-1-1-1 0 0,0 1 0 0 0,1-1 0 0 0,-1 1 0 0 0,1 0 0 0 0,0-1 0 0 0,0 1 0 0 0,-1 0 1 0 0,1 0-1 0 0,0-1 0 0 0,0 1 0 0 0,0 0 0 0 0,0 0 0 0 0,1 0-3 0 0,-2 0 1 0 0,0 1-1 0 0,1 0 1 0 0,-1-1-1 0 0,0 1 1 0 0,1-1 0 0 0,-1 1-1 0 0,0 0 1 0 0,1-1-1 0 0,-1 1 1 0 0,0-1-1 0 0,1 1 1 0 0,-1-1-1 0 0,0 1 1 0 0,0-1 0 0 0,0 1-1 0 0,0-1 1 0 0,0 1-1 0 0,0-1 1 0 0,0 0-1 0 0,1 1 1 0 0,-1-1 0 0 0,-1 1-1 0 0,1-1 1 0 0,0 1-1 0 0,0-1 0 0 0,0-11 0 0 0,-1 0 0 0 0,0 0 0 0 0,0 1 0 0 0,-1-1 0 0 0,-1-1 0 0 0,-2-14 0 0 0,-4-11 0 0 0,8 32 5 0 0,-1 1 0 0 0,0 0 0 0 0,-1-1 0 0 0,1 1 0 0 0,-1 0 0 0 0,0 1 0 0 0,0-1 0 0 0,-1 0 0 0 0,1 1-1 0 0,-1 0 1 0 0,0 0 0 0 0,-1 0 0 0 0,-1-2-5 0 0,-1 1-47 0 0,4 3-58 0 0,-1-1 1 0 0,1 1-1 0 0,-1 0 1 0 0,1 0 0 0 0,-1 0-1 0 0,-2 0 105 0 0,5 2-166 0 0,0-1 0 0 0,-1 1 1 0 0,0 0-1 0 0,1 0 0 0 0,-1 0 0 0 0,1 0 0 0 0,-1 0 0 0 0,1 0 1 0 0,-1 0-1 0 0,1 0 0 0 0,-1 1 0 0 0,1-1 0 0 0,-1 1 0 0 0,1-1 0 0 0,0 1 1 0 0,-1-1-1 0 0,1 1 0 0 0,0 0 0 0 0,-2 0 166 0 0,-6 6-1999 0 0</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8.600"/>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50 23 1840 0 0,'0'0'309'0'0,"0"-14"5592"0"0,0 5-4914 0 0,0 23 841 0 0,-1 21 723 0 0,-3-15-2551 0 0,0-10 0 0 0,-3 17 0 0 0,-1 46 64 0 0,5-41-314 0 0,2-26 167 0 0,0 1 1 0 0,0-1-1 0 0,1 0 1 0 0,0 0-1 0 0,0 0 0 0 0,1 1 83 0 0,-1-3-58 0 0,0 0-1 0 0,0 0 1 0 0,0 0-1 0 0,-1 0 0 0 0,1 0 1 0 0,-1 2 58 0 0,-2 22-361 0 0,4-23 250 0 0,-1 1 0 0 0,-1-1 0 0 0,1 1 0 0 0,-1-1 0 0 0,-1 5 111 0 0,-2 21-677 0 0,0-11 189 0 0,3-17 378 0 0,1-1 0 0 0,-1 1 0 0 0,0-1 0 0 0,1 1-1 0 0,-1-1 1 0 0,1 1 0 0 0,0 0 0 0 0,0-1-1 0 0,0 3 111 0 0,2 1-280 0 0,-2-5 13 0 0,1 0 1 0 0,-1 0 0 0 0,0 1-1 0 0,0-1 1 0 0,0 0 0 0 0,1 0-1 0 0,-1 1 1 0 0,0-1 0 0 0,-1 0-1 0 0,1 2 267 0 0,-4 7-2750 0 0</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9.216"/>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56 0 1840 0 0,'14'4'269'0'0,"-12"-3"459"0"0,-2 3 2068 0 0,-1 13-1668 0 0,2-14-958 0 0,-1-1 1 0 0,0 0 0 0 0,0 1 0 0 0,-1-1-1 0 0,1 1 1 0 0,0-1 0 0 0,-1 2-171 0 0,-8 17 1202 0 0,4 3-154 0 0,4-21-957 0 0,-1 0 0 0 0,1 1 0 0 0,0-1 0 0 0,0 1 0 0 0,0 0-1 0 0,1-1 1 0 0,0 1 0 0 0,-1 0 0 0 0,1-1 0 0 0,0 1-1 0 0,1 0 1 0 0,-1-1 0 0 0,0 1 0 0 0,1 0 0 0 0,0-1 0 0 0,0 1-91 0 0,-1 14 68 0 0,0-15-55 0 0,-1-1 0 0 0,1 0 1 0 0,0 1-1 0 0,0-1 0 0 0,0 1 1 0 0,0-1-1 0 0,1 3-13 0 0,-1-2 1 0 0,0-1 1 0 0,0 1-1 0 0,0 0 1 0 0,0 0-1 0 0,0-1 1 0 0,-1 1-1 0 0,0 0 1 0 0,1 0-1 0 0,-2 1-1 0 0,-2 17-2 0 0,4-19 2 0 0,0-1 0 0 0,0 1 0 0 0,-1-1 0 0 0,1 1 0 0 0,0-1 0 0 0,-1 0 0 0 0,1 1 0 0 0,-1-1 0 0 0,1 0 0 0 0,-1 1 0 0 0,0-1 0 0 0,0 0 0 0 0,1 0 0 0 0,-1 1 0 0 0,0-1 0 0 0,0 0 0 0 0,-1 1 0 0 0,-2 2 0 0 0,4-3 0 0 0,-1 0 0 0 0,1-1 0 0 0,0 1 0 0 0,-1 0 0 0 0,1 0 0 0 0,0 0 0 0 0,-1-1 0 0 0,1 1 0 0 0,0 0 0 0 0,0 0 0 0 0,0 0 0 0 0,0 0 0 0 0,0 0 0 0 0,0-1 0 0 0,0 1 0 0 0,0 0 0 0 0,0 0 0 0 0,-2 13 0 0 0,-6 7 0 0 0,5-15-105 0 0,1-1 0 0 0,0 1 0 0 0,1 0 0 0 0,-1 0 0 0 0,1 0 0 0 0,0 0 0 0 0,1 0 0 0 0,-1 1 105 0 0,3 7-465 0 0,-2-13 428 0 0,0 0 1 0 0,1 0-1 0 0,-1 0 1 0 0,0 0-1 0 0,0 1 1 0 0,0-1-1 0 0,0 0 1 0 0,0 0-1 0 0,0 0 1 0 0,0 0-1 0 0,-1 0 1 0 0,1 0-1 0 0,0 0 1 0 0,-1 1 36 0 0,0 0-330 0 0,-1 15-1348 0 0,1-16 1078 0 0</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8:59.722"/>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65 1 6448 0 0,'-17'6'297'0'0,"14"-5"-9"0"0,3-1-117 0 0,-4 8 691 0 0,4-5-596 0 0,0-2-147 0 0,0 1-1 0 0,0-1 1 0 0,0 1 0 0 0,-1-1-1 0 0,1 1 1 0 0,0-1 0 0 0,-1 0-1 0 0,1 1 1 0 0,-1-1-1 0 0,1 0 1 0 0,-1 0 0 0 0,0 1-1 0 0,1-1 1 0 0,-1 0 0 0 0,-1 1-119 0 0,2 19 1104 0 0,0-19-1083 0 0,0 1 1 0 0,0-1 0 0 0,0 0 0 0 0,0 1 0 0 0,-1-1 0 0 0,1 1-1 0 0,-1-1 1 0 0,0 0 0 0 0,1 1 0 0 0,-2 0-22 0 0,1-1 124 0 0,1-1-1 0 0,-1 1 1 0 0,1-1 0 0 0,-1 1 0 0 0,1-1 0 0 0,0 1-1 0 0,-1-1 1 0 0,1 1 0 0 0,0-1 0 0 0,0 2-124 0 0,0 25 608 0 0,-1-21-608 0 0,1-4 0 0 0,0-1 0 0 0,-1 0 0 0 0,1 0 0 0 0,0 1 0 0 0,0-1 0 0 0,0 0 0 0 0,1 0 0 0 0,-1 1 0 0 0,0-1 0 0 0,1 0 0 0 0,0 2 0 0 0,0-3 0 0 0,-1 1 0 0 0,1-1 0 0 0,-1 1 0 0 0,0 0 0 0 0,1-1 0 0 0,-1 1 0 0 0,0 0 0 0 0,0-1 0 0 0,0 1 0 0 0,0 0 0 0 0,0-1 0 0 0,0 1 0 0 0,-1 0 0 0 0,1 0 0 0 0,-1-1 0 0 0,1 0 0 0 0,0 0 0 0 0,0 0 0 0 0,0 0 0 0 0,-1 0 0 0 0,1 0 0 0 0,0 0 0 0 0,0 0 0 0 0,1 0 0 0 0,-1 0 0 0 0,0 0 0 0 0,0 0 0 0 0,0-1 0 0 0,1 1 0 0 0,-1 0 0 0 0,0 0 0 0 0,1 0 0 0 0,-1 0 0 0 0,1 0 0 0 0,-1 1 0 0 0,0 0 0 0 0,0 0 0 0 0,1 0 0 0 0,-1 0 0 0 0,-1 0 0 0 0,1 0 0 0 0,0 0 0 0 0,0-1 0 0 0,-1 1 0 0 0,1 0 0 0 0,-1 0 0 0 0,0 0 0 0 0,1 0 0 0 0,-1 0 0 0 0,0 0 0 0 0,-1 1 0 0 0,1 1 0 0 0,0-1 0 0 0,0 1 0 0 0,0-1 0 0 0,0 1 0 0 0,1 1 0 0 0,0-1 19 0 0,0 0 1 0 0,0-1-1 0 0,-1 1 1 0 0,1 0 0 0 0,-1-1-1 0 0,1 1 1 0 0,-1 0-1 0 0,0-1 1 0 0,-1 1 0 0 0,1 0-20 0 0,0-3 22 0 0,1 1 1 0 0,-1-1-1 0 0,1 1 1 0 0,0 0 0 0 0,0-1-1 0 0,0 1 1 0 0,0-1-1 0 0,0 1 1 0 0,0-1 0 0 0,0 1-1 0 0,0-1 1 0 0,0 1-1 0 0,1-1 1 0 0,0 2-23 0 0,-1-1 29 0 0,1 0 0 0 0,-1 0 1 0 0,0 0-1 0 0,1 0 0 0 0,-1 0 0 0 0,0 1 0 0 0,0-1 0 0 0,0 0 0 0 0,-1 0 1 0 0,1 0-30 0 0,-5 13 26 0 0,4-13-44 0 0,0 1 0 0 0,0 0 0 0 0,1 0 0 0 0,-1 0-1 0 0,0 0 1 0 0,1 0 0 0 0,0 0 0 0 0,0 0 0 0 0,0 0 0 0 0,0 3 18 0 0,3 49-1008 0 0,-2-31-2657 0 0,-1-9-327 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1.645"/>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271 5184 0 0,'0'0'233'0'0,"0"0"66"0"0,0 0 127 0 0,0 0 57 0 0,0 0 12 0 0,6-4 1489 0 0,-3 3-1602 0 0,0 0 1 0 0,0-1-1 0 0,0 0 0 0 0,-1 1 1 0 0,1-1-1 0 0,1-2-382 0 0,-2 3 288 0 0,-2 1-6 0 0,13-10 444 0 0,-3 4-444 0 0,-1 0 0 0 0,0 0 0 0 0,1 0-1 0 0,-2-1 1 0 0,6-5-282 0 0,26-20 161 0 0,-35 28-137 0 0,0 1 0 0 0,-1-1-1 0 0,0 0 1 0 0,4-4-24 0 0,-4 4 14 0 0,0 0 1 0 0,0 0-1 0 0,0 1 0 0 0,4-3-14 0 0,40-26 8 0 0,-14 10-1186 0 0,22-12 1178 0 0,-51 32-356 0 0,0-2 1 0 0,0 1-1 0 0,-1 0 0 0 0,1-1 0 0 0,0-1 356 0 0,-1 2-245 0 0,12-9-801 0 0</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2.063"/>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20 2760 0 0,'0'0'125'0'0,"0"0"178"0"0,0 0 660 0 0,0 0 285 0 0,0 0 57 0 0,0 0-96 0 0,0 0-432 0 0,0 0-191 0 0,0 0-40 0 0,0 0-55 0 0,0 0-196 0 0,1-2-82 0 0,19-12 178 0 0,1 1 0 0 0,1 1 0 0 0,3-1-391 0 0,24-14 34 0 0,19-5-1384 0 0,-55 26 776 0 0</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2.83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268 1376 0 0,'1'-1'309'0'0,"36"-56"8918"0"0,-5 18-6851 0 0,-4 6-1598 0 0,-20 24-663 0 0,0 0-1 0 0,1 0 1 0 0,0 1 0 0 0,0 1-1 0 0,8-6-114 0 0,-3 2 67 0 0,1 0-19 0 0,-8 6-67 0 0,0 0-1 0 0,-1 0 0 0 0,1 0 1 0 0,4-7 19 0 0,-6 8-251 0 0,0 0 1 0 0,0 0 0 0 0,0 0 0 0 0,0 1 0 0 0,1 0 250 0 0,-1 0-972 0 0,-1 0-3569 0 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3.322"/>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264 7800 0 0,'8'-3'377'0'0,"-2"-1"-227"0"0,-1 0 1 0 0,1 0-1 0 0,-1-1 0 0 0,0 1 0 0 0,3-5-150 0 0,6-4 1216 0 0,18-9 406 0 0,-12 5-1025 0 0,-15 14-438 0 0,0-2 0 0 0,1 1 1 0 0,-2 0-1 0 0,1-1 1 0 0,3-4-160 0 0,29-35 886 0 0,-13 21-724 0 0,-22 20-158 0 0,-1 1 0 0 0,0-1 0 0 0,1 1 1 0 0,0 0-1 0 0,-1-1 0 0 0,1 1 0 0 0,0 0 1 0 0,0 0-1 0 0,0 0 0 0 0,1 1 1 0 0,-1-1-1 0 0,0 0 0 0 0,1 1 0 0 0,-1 0 1 0 0,1-1-5 0 0,-1 1-67 0 0,0 0 1 0 0,-1 0 0 0 0,1 0 0 0 0,-1-1 0 0 0,1 1 0 0 0,-1 0 0 0 0,1-1 0 0 0,-1 1 0 0 0,0-1 0 0 0,0 1 0 0 0,0-1 0 0 0,0 0 66 0 0,7-7-531 0 0,-7 8 372 0 0,1-1 0 0 0,-1 1 0 0 0,0 0 0 0 0,0-1 0 0 0,0 1 0 0 0,0 0 0 0 0,0-1 0 0 0,0 1 0 0 0,0-2 159 0 0,4-4-797 0 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3.831"/>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49 7024 0 0,'8'-2'183'0'0,"-7"2"-60"0"0,0 0 0 0 0,1-1 0 0 0,-1 1 0 0 0,0-1 1 0 0,1 1-1 0 0,-1-1 0 0 0,0 0 0 0 0,0 1 0 0 0,1-1 0 0 0,-1 0 0 0 0,0 0 0 0 0,0 0 0 0 0,0 0 0 0 0,0 0 1 0 0,0 0-1 0 0,0 0 0 0 0,0 0-123 0 0,5-5 746 0 0,0 0-1 0 0,0 1 1 0 0,1-1 0 0 0,0 2 0 0 0,0-1 0 0 0,0 1-1 0 0,1 0 1 0 0,6-2-746 0 0,-2-2 277 0 0,-11 8-280 0 0,0-1 0 0 0,0 0 0 0 0,1 0 0 0 0,-1 1 0 0 0,0-1 0 0 0,0 0 0 0 0,0 1-1 0 0,1-1 1 0 0,-1 1 0 0 0,0 0 0 0 0,0-1 0 0 0,1 1 0 0 0,-1 0 0 0 0,0 0 0 0 0,1 0 3 0 0,-1 0-83 0 0,1-1 131 0 0,1-2-40 0 0,0 1 0 0 0,0-1 0 0 0,-1 0 0 0 0,1 0 0 0 0,-1 0-1 0 0,1 0 1 0 0,-1 0 0 0 0,0 0 0 0 0,0-1 0 0 0,0-1-8 0 0,12-13-1161 0 0,-5 7-2470 0 0,-5 3-998 0 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4.383"/>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0 225 4608 0 0,'2'-5'65'0'0,"-1"4"-43"0"0,-1 0 1 0 0,1 0 0 0 0,-1 0 0 0 0,1 0 0 0 0,-1 0-1 0 0,1 0 1 0 0,-1 0 0 0 0,1 0 0 0 0,0 0 0 0 0,0 1-1 0 0,-1-1 1 0 0,1 0 0 0 0,0 1 0 0 0,0-1 0 0 0,1 0-23 0 0,4-2 305 0 0,11-7 6630 0 0,7-2-4464 0 0,-21 11-2340 0 0,-1 0 0 0 0,0 0-1 0 0,0 0 1 0 0,0 0 0 0 0,0-1 0 0 0,0 1-1 0 0,0-1 1 0 0,0 1 0 0 0,-1-1 0 0 0,1 0-1 0 0,0 0 1 0 0,-1 0 0 0 0,0 0 0 0 0,1 0-1 0 0,-1 0 1 0 0,0 0 0 0 0,0 0-1 0 0,0-1-130 0 0,1 0 71 0 0,-1 0-1 0 0,1 1 1 0 0,-1-1-1 0 0,1 1 0 0 0,0 0 1 0 0,0 0-1 0 0,0-1 0 0 0,0 1-70 0 0,11-13 176 0 0,-12 13-168 0 0,1-1 1 0 0,0 1-1 0 0,0 0 0 0 0,0 0 0 0 0,0 0 0 0 0,0 0 1 0 0,1 0-9 0 0,11-10-31 0 0,-3 3-104 0 0,-9 8 94 0 0,-1 0 0 0 0,1 0 0 0 0,-1 0 0 0 0,1 0 0 0 0,-1 0 0 0 0,0-1 0 0 0,1 1 0 0 0,-1 0 0 0 0,0-1 0 0 0,0 1 0 0 0,0 0 0 0 0,0-1 0 0 0,0 1 0 0 0,0-1 0 0 0,-1 0 0 0 0,1 1 0 0 0,0-1 41 0 0,0-1-107 0 0,0 1 0 0 0,1 0 1 0 0,-1 0-1 0 0,1 0 0 0 0,-1 0 1 0 0,1 0-1 0 0,0 0 0 0 0,0 0 0 0 0,0 0 1 0 0,0 1-1 0 0,0-1 0 0 0,0 1 1 0 0,0 0-1 0 0,0-1 0 0 0,1 1 0 0 0,0 0 107 0 0,17-13-3276 0 0,-13 9-1209 0 0</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19-08-18T13:59:06.185"/>
    </inkml:context>
    <inkml:brush xml:id="br0">
      <inkml:brushProperty name="width" value="0.1" units="cm"/>
      <inkml:brushProperty name="height" value="0.2" units="cm"/>
      <inkml:brushProperty name="color" value="#B08200"/>
      <inkml:brushProperty name="tip" value="rectangle"/>
      <inkml:brushProperty name="rasterOp" value="maskPen"/>
    </inkml:brush>
  </inkml:definitions>
  <inkml:trace contextRef="#ctx0" brushRef="#br0">1 18 4608 0 0,'6'13'101'0'0,"-5"-11"22"0"0,-1-2 5 0 0,0 0 71 0 0,0 0 296 0 0,0 0 135 0 0,0 0 30 0 0,0 0-15 0 0,0 0-77 0 0,6-3 535 0 0,-6 2-942 0 0,1 0 0 0 0,-1 1 0 0 0,1-1 0 0 0,-1 1 0 0 0,1-1 0 0 0,0 1 0 0 0,-1 0 0 0 0,1-1 0 0 0,-1 1 0 0 0,1 0 0 0 0,0-1 0 0 0,-1 1 1 0 0,1 0-1 0 0,0 0 0 0 0,-1-1 0 0 0,1 1 0 0 0,0 0 0 0 0,0 0 0 0 0,0 0-161 0 0,29-4 973 0 0,-22 3-979 0 0,0 0 0 0 0,0 0 0 0 0,0 0 1 0 0,1 1-1 0 0,5 1 6 0 0,4 0 0 0 0,0-1 0 0 0,0 0 0 0 0,1-2 0 0 0,0 0 0 0 0,50-3 0 0 0,-44 5-68 0 0,-1 1-920 0 0,0-2 0 0 0,20-3 988 0 0,-31 0-4084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60" cy="496412"/>
          </a:xfrm>
          <a:prstGeom prst="rect">
            <a:avLst/>
          </a:prstGeom>
        </p:spPr>
        <p:txBody>
          <a:bodyPr vert="horz" lIns="97361" tIns="48682" rIns="97361" bIns="48682" rtlCol="0"/>
          <a:lstStyle>
            <a:lvl1pPr algn="l">
              <a:defRPr sz="1300"/>
            </a:lvl1pPr>
          </a:lstStyle>
          <a:p>
            <a:endParaRPr lang="de-DE"/>
          </a:p>
        </p:txBody>
      </p:sp>
      <p:sp>
        <p:nvSpPr>
          <p:cNvPr id="3" name="Datumsplatzhalter 2"/>
          <p:cNvSpPr>
            <a:spLocks noGrp="1"/>
          </p:cNvSpPr>
          <p:nvPr>
            <p:ph type="dt" idx="1"/>
          </p:nvPr>
        </p:nvSpPr>
        <p:spPr>
          <a:xfrm>
            <a:off x="3850442" y="0"/>
            <a:ext cx="2945660" cy="496412"/>
          </a:xfrm>
          <a:prstGeom prst="rect">
            <a:avLst/>
          </a:prstGeom>
        </p:spPr>
        <p:txBody>
          <a:bodyPr vert="horz" lIns="97361" tIns="48682" rIns="97361" bIns="48682" rtlCol="0"/>
          <a:lstStyle>
            <a:lvl1pPr algn="r">
              <a:defRPr sz="1300"/>
            </a:lvl1pPr>
          </a:lstStyle>
          <a:p>
            <a:fld id="{F77D7984-F844-417F-889B-8A0FE7D7A0D1}" type="datetimeFigureOut">
              <a:rPr lang="de-DE" smtClean="0"/>
              <a:pPr/>
              <a:t>02.09.2019</a:t>
            </a:fld>
            <a:endParaRPr lang="de-DE"/>
          </a:p>
        </p:txBody>
      </p:sp>
      <p:sp>
        <p:nvSpPr>
          <p:cNvPr id="4" name="Folienbildplatzhalter 3"/>
          <p:cNvSpPr>
            <a:spLocks noGrp="1" noRot="1" noChangeAspect="1"/>
          </p:cNvSpPr>
          <p:nvPr>
            <p:ph type="sldImg" idx="2"/>
          </p:nvPr>
        </p:nvSpPr>
        <p:spPr>
          <a:xfrm>
            <a:off x="917575" y="746125"/>
            <a:ext cx="4962525" cy="3722688"/>
          </a:xfrm>
          <a:prstGeom prst="rect">
            <a:avLst/>
          </a:prstGeom>
          <a:noFill/>
          <a:ln w="12700">
            <a:solidFill>
              <a:prstClr val="black"/>
            </a:solidFill>
          </a:ln>
        </p:spPr>
        <p:txBody>
          <a:bodyPr vert="horz" lIns="97361" tIns="48682" rIns="97361" bIns="48682" rtlCol="0" anchor="ctr"/>
          <a:lstStyle/>
          <a:p>
            <a:endParaRPr lang="de-DE"/>
          </a:p>
        </p:txBody>
      </p:sp>
      <p:sp>
        <p:nvSpPr>
          <p:cNvPr id="5" name="Notizenplatzhalter 4"/>
          <p:cNvSpPr>
            <a:spLocks noGrp="1"/>
          </p:cNvSpPr>
          <p:nvPr>
            <p:ph type="body" sz="quarter" idx="3"/>
          </p:nvPr>
        </p:nvSpPr>
        <p:spPr>
          <a:xfrm>
            <a:off x="679768" y="4715909"/>
            <a:ext cx="5438140" cy="4467701"/>
          </a:xfrm>
          <a:prstGeom prst="rect">
            <a:avLst/>
          </a:prstGeom>
        </p:spPr>
        <p:txBody>
          <a:bodyPr vert="horz" lIns="97361" tIns="48682" rIns="97361" bIns="48682"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0"/>
            <a:ext cx="2945660" cy="496412"/>
          </a:xfrm>
          <a:prstGeom prst="rect">
            <a:avLst/>
          </a:prstGeom>
        </p:spPr>
        <p:txBody>
          <a:bodyPr vert="horz" lIns="97361" tIns="48682" rIns="97361" bIns="48682" rtlCol="0" anchor="b"/>
          <a:lstStyle>
            <a:lvl1pPr algn="l">
              <a:defRPr sz="1300"/>
            </a:lvl1pPr>
          </a:lstStyle>
          <a:p>
            <a:endParaRPr lang="de-DE"/>
          </a:p>
        </p:txBody>
      </p:sp>
      <p:sp>
        <p:nvSpPr>
          <p:cNvPr id="7" name="Foliennummernplatzhalter 6"/>
          <p:cNvSpPr>
            <a:spLocks noGrp="1"/>
          </p:cNvSpPr>
          <p:nvPr>
            <p:ph type="sldNum" sz="quarter" idx="5"/>
          </p:nvPr>
        </p:nvSpPr>
        <p:spPr>
          <a:xfrm>
            <a:off x="3850442" y="9430090"/>
            <a:ext cx="2945660" cy="496412"/>
          </a:xfrm>
          <a:prstGeom prst="rect">
            <a:avLst/>
          </a:prstGeom>
        </p:spPr>
        <p:txBody>
          <a:bodyPr vert="horz" lIns="97361" tIns="48682" rIns="97361" bIns="48682" rtlCol="0" anchor="b"/>
          <a:lstStyle>
            <a:lvl1pPr algn="r">
              <a:defRPr sz="1300"/>
            </a:lvl1pPr>
          </a:lstStyle>
          <a:p>
            <a:fld id="{93231994-1FBC-4FDC-800D-F5D970D70F0F}" type="slidenum">
              <a:rPr lang="de-DE" smtClean="0"/>
              <a:pPr/>
              <a:t>‹Nr.›</a:t>
            </a:fld>
            <a:endParaRPr lang="de-DE"/>
          </a:p>
        </p:txBody>
      </p:sp>
    </p:spTree>
    <p:extLst>
      <p:ext uri="{BB962C8B-B14F-4D97-AF65-F5344CB8AC3E}">
        <p14:creationId xmlns:p14="http://schemas.microsoft.com/office/powerpoint/2010/main" xmlns="" val="3948273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4.g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bg>
      <p:bgPr>
        <a:blipFill rotWithShape="1">
          <a:blip r:embed="rId2" cstate="print">
            <a:alphaModFix amt="98000"/>
          </a:blip>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7200" y="2763676"/>
            <a:ext cx="8229600" cy="725767"/>
          </a:xfrm>
        </p:spPr>
        <p:txBody>
          <a:bodyPr anchor="t" anchorCtr="0"/>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AT" dirty="0" err="1"/>
              <a:t>Subtitel</a:t>
            </a:r>
            <a:r>
              <a:rPr lang="de-AT" dirty="0"/>
              <a:t> sind schön!</a:t>
            </a:r>
            <a:endParaRPr lang="en-US" dirty="0"/>
          </a:p>
        </p:txBody>
      </p:sp>
      <p:sp>
        <p:nvSpPr>
          <p:cNvPr id="8" name="Title 7"/>
          <p:cNvSpPr>
            <a:spLocks noGrp="1"/>
          </p:cNvSpPr>
          <p:nvPr>
            <p:ph type="title" hasCustomPrompt="1"/>
          </p:nvPr>
        </p:nvSpPr>
        <p:spPr>
          <a:xfrm>
            <a:off x="457200" y="1389479"/>
            <a:ext cx="8229600" cy="1143000"/>
          </a:xfrm>
        </p:spPr>
        <p:txBody>
          <a:bodyPr anchor="b" anchorCtr="0">
            <a:noAutofit/>
          </a:bodyPr>
          <a:lstStyle>
            <a:lvl1pPr algn="l">
              <a:defRPr sz="4000" b="1" i="0" baseline="0">
                <a:latin typeface="Tahoma"/>
                <a:cs typeface="Tahoma"/>
              </a:defRPr>
            </a:lvl1pPr>
          </a:lstStyle>
          <a:p>
            <a:r>
              <a:rPr lang="en-US" dirty="0" err="1"/>
              <a:t>Blindtext-Schreibkurs</a:t>
            </a:r>
            <a:r>
              <a:rPr lang="en-US" dirty="0"/>
              <a:t/>
            </a:r>
            <a:br>
              <a:rPr lang="en-US" dirty="0"/>
            </a:br>
            <a:r>
              <a:rPr lang="en-US" dirty="0" err="1"/>
              <a:t>für</a:t>
            </a:r>
            <a:r>
              <a:rPr lang="en-US" dirty="0"/>
              <a:t> </a:t>
            </a:r>
            <a:r>
              <a:rPr lang="en-US" dirty="0" err="1"/>
              <a:t>Anfänger</a:t>
            </a:r>
            <a:endParaRPr lang="en-US" dirty="0"/>
          </a:p>
        </p:txBody>
      </p:sp>
      <p:sp>
        <p:nvSpPr>
          <p:cNvPr id="6" name="Text Placeholder 13"/>
          <p:cNvSpPr>
            <a:spLocks noGrp="1"/>
          </p:cNvSpPr>
          <p:nvPr>
            <p:ph type="body" sz="quarter" idx="11" hasCustomPrompt="1"/>
          </p:nvPr>
        </p:nvSpPr>
        <p:spPr>
          <a:xfrm>
            <a:off x="554061" y="3920981"/>
            <a:ext cx="3169728" cy="215444"/>
          </a:xfrm>
          <a:noFill/>
        </p:spPr>
        <p:txBody>
          <a:bodyPr wrap="square" lIns="0" tIns="0" rIns="0" bIns="0" anchor="ctr" anchorCtr="0">
            <a:sp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solidFill>
                  <a:schemeClr val="tx1"/>
                </a:solidFill>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err="1"/>
              <a:t>TrainerInnen</a:t>
            </a:r>
            <a:r>
              <a:rPr lang="en-US" dirty="0"/>
              <a:t>:</a:t>
            </a:r>
          </a:p>
        </p:txBody>
      </p:sp>
      <p:sp>
        <p:nvSpPr>
          <p:cNvPr id="7" name="Text Placeholder 8"/>
          <p:cNvSpPr>
            <a:spLocks noGrp="1"/>
          </p:cNvSpPr>
          <p:nvPr>
            <p:ph type="body" sz="quarter" idx="12" hasCustomPrompt="1"/>
          </p:nvPr>
        </p:nvSpPr>
        <p:spPr>
          <a:xfrm>
            <a:off x="457200" y="4149500"/>
            <a:ext cx="8229600" cy="463550"/>
          </a:xfrm>
        </p:spPr>
        <p:txBody>
          <a:bodyPr>
            <a:normAutofit/>
          </a:bodyPr>
          <a:lstStyle>
            <a:lvl1pPr marL="0" indent="0">
              <a:buNone/>
              <a:defRPr sz="2000" baseline="0"/>
            </a:lvl1pPr>
          </a:lstStyle>
          <a:p>
            <a:pPr lvl="0"/>
            <a:r>
              <a:rPr lang="en-US" dirty="0"/>
              <a:t>Trainer und </a:t>
            </a:r>
            <a:r>
              <a:rPr lang="en-US" dirty="0" err="1"/>
              <a:t>TrainerInnen</a:t>
            </a:r>
            <a:endParaRPr lang="en-US" dirty="0"/>
          </a:p>
        </p:txBody>
      </p:sp>
    </p:spTree>
    <p:extLst>
      <p:ext uri="{BB962C8B-B14F-4D97-AF65-F5344CB8AC3E}">
        <p14:creationId xmlns:p14="http://schemas.microsoft.com/office/powerpoint/2010/main" xmlns="" val="3307969057"/>
      </p:ext>
    </p:extLst>
  </p:cSld>
  <p:clrMapOvr>
    <a:masterClrMapping/>
  </p:clrMapOvr>
  <p:transition spd="slow">
    <p:pull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ild Links - Text Rech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6845" y="457201"/>
            <a:ext cx="4019956" cy="1143000"/>
          </a:xfrm>
        </p:spPr>
        <p:txBody>
          <a:bodyPr/>
          <a:lstStyle/>
          <a:p>
            <a:r>
              <a:rPr lang="de-AT" dirty="0"/>
              <a:t>Titel</a:t>
            </a:r>
            <a:endParaRPr lang="en-US" dirty="0"/>
          </a:p>
        </p:txBody>
      </p:sp>
      <p:sp>
        <p:nvSpPr>
          <p:cNvPr id="3" name="Content Placeholder 2"/>
          <p:cNvSpPr>
            <a:spLocks noGrp="1"/>
          </p:cNvSpPr>
          <p:nvPr>
            <p:ph idx="1" hasCustomPrompt="1"/>
          </p:nvPr>
        </p:nvSpPr>
        <p:spPr>
          <a:xfrm>
            <a:off x="4666844" y="1600200"/>
            <a:ext cx="4019957" cy="4509329"/>
          </a:xfrm>
        </p:spPr>
        <p:txBody>
          <a:bodyPr>
            <a:normAutofit/>
          </a:bodyPr>
          <a:lstStyle>
            <a:lvl1pPr marL="0" indent="0">
              <a:buNone/>
              <a:defRPr sz="2400" baseline="0"/>
            </a:lvl1pPr>
          </a:lstStyle>
          <a:p>
            <a:pPr lvl="0"/>
            <a:r>
              <a:rPr lang="ro-RO" dirty="0"/>
              <a:t>Lorem ipsum dolor sit amet, consetetur sadipscing elitr, sed diam nonumy eirmod tempor invidunt ut labore et dolore magna aliquyam erat, sed diam voluptua. At vero eos et accusam et justo duo dolores et ea rebum. </a:t>
            </a:r>
            <a:endParaRPr lang="en-US" dirty="0"/>
          </a:p>
        </p:txBody>
      </p:sp>
      <p:sp>
        <p:nvSpPr>
          <p:cNvPr id="8" name="Picture Placeholder 4"/>
          <p:cNvSpPr>
            <a:spLocks noGrp="1"/>
          </p:cNvSpPr>
          <p:nvPr>
            <p:ph type="pic" sz="quarter" idx="15" hasCustomPrompt="1"/>
          </p:nvPr>
        </p:nvSpPr>
        <p:spPr>
          <a:xfrm>
            <a:off x="457199" y="457202"/>
            <a:ext cx="4015921" cy="5652328"/>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7"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Tree>
    <p:extLst>
      <p:ext uri="{BB962C8B-B14F-4D97-AF65-F5344CB8AC3E}">
        <p14:creationId xmlns:p14="http://schemas.microsoft.com/office/powerpoint/2010/main" xmlns="" val="1449193939"/>
      </p:ext>
    </p:extLst>
  </p:cSld>
  <p:clrMapOvr>
    <a:masterClrMapping/>
  </p:clrMapOvr>
  <p:transition spd="slow">
    <p:pull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itat mit Bild">
    <p:spTree>
      <p:nvGrpSpPr>
        <p:cNvPr id="1" name=""/>
        <p:cNvGrpSpPr/>
        <p:nvPr/>
      </p:nvGrpSpPr>
      <p:grpSpPr>
        <a:xfrm>
          <a:off x="0" y="0"/>
          <a:ext cx="0" cy="0"/>
          <a:chOff x="0" y="0"/>
          <a:chExt cx="0" cy="0"/>
        </a:xfrm>
      </p:grpSpPr>
      <p:pic>
        <p:nvPicPr>
          <p:cNvPr id="4" name="Picture 3" descr="footer_balken.jp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6526530"/>
            <a:ext cx="9144000" cy="331470"/>
          </a:xfrm>
          <a:prstGeom prst="rect">
            <a:avLst/>
          </a:prstGeom>
        </p:spPr>
      </p:pic>
      <p:sp>
        <p:nvSpPr>
          <p:cNvPr id="2" name="Title 1"/>
          <p:cNvSpPr>
            <a:spLocks noGrp="1"/>
          </p:cNvSpPr>
          <p:nvPr>
            <p:ph type="title" hasCustomPrompt="1"/>
          </p:nvPr>
        </p:nvSpPr>
        <p:spPr>
          <a:xfrm>
            <a:off x="457200" y="1838581"/>
            <a:ext cx="8229601" cy="1898089"/>
          </a:xfrm>
        </p:spPr>
        <p:txBody>
          <a:bodyPr anchor="b" anchorCtr="0"/>
          <a:lstStyle>
            <a:lvl1pPr>
              <a:defRPr b="1" i="0">
                <a:solidFill>
                  <a:schemeClr val="bg1"/>
                </a:solidFill>
                <a:effectLst>
                  <a:outerShdw blurRad="50800" dist="38100" dir="2700000" algn="tl" rotWithShape="0">
                    <a:prstClr val="black">
                      <a:alpha val="65000"/>
                    </a:prstClr>
                  </a:outerShdw>
                </a:effectLst>
              </a:defRPr>
            </a:lvl1pPr>
          </a:lstStyle>
          <a:p>
            <a:r>
              <a:rPr lang="en-US" dirty="0"/>
              <a:t>“Handle stets so,</a:t>
            </a:r>
            <a:br>
              <a:rPr lang="en-US" dirty="0"/>
            </a:br>
            <a:r>
              <a:rPr lang="en-US" dirty="0"/>
              <a:t>das die </a:t>
            </a:r>
            <a:r>
              <a:rPr lang="en-US" dirty="0" err="1"/>
              <a:t>Anzahl</a:t>
            </a:r>
            <a:r>
              <a:rPr lang="en-US" dirty="0"/>
              <a:t> </a:t>
            </a:r>
            <a:r>
              <a:rPr lang="en-US" dirty="0" err="1"/>
              <a:t>deiner</a:t>
            </a:r>
            <a:r>
              <a:rPr lang="en-US" dirty="0"/>
              <a:t> </a:t>
            </a:r>
            <a:r>
              <a:rPr lang="en-US" dirty="0" err="1"/>
              <a:t>Möglichkeiten</a:t>
            </a:r>
            <a:r>
              <a:rPr lang="en-US" dirty="0"/>
              <a:t> </a:t>
            </a:r>
            <a:r>
              <a:rPr lang="en-US" dirty="0" err="1"/>
              <a:t>zunimmt</a:t>
            </a:r>
            <a:r>
              <a:rPr lang="en-US" dirty="0"/>
              <a:t>”</a:t>
            </a:r>
          </a:p>
        </p:txBody>
      </p:sp>
      <p:sp>
        <p:nvSpPr>
          <p:cNvPr id="15" name="Text Placeholder 14"/>
          <p:cNvSpPr>
            <a:spLocks noGrp="1"/>
          </p:cNvSpPr>
          <p:nvPr>
            <p:ph type="body" sz="quarter" idx="14" hasCustomPrompt="1"/>
          </p:nvPr>
        </p:nvSpPr>
        <p:spPr>
          <a:xfrm>
            <a:off x="457199" y="3910807"/>
            <a:ext cx="8229602" cy="1204912"/>
          </a:xfrm>
        </p:spPr>
        <p:txBody>
          <a:bodyPr/>
          <a:lstStyle>
            <a:lvl1pPr marL="0" marR="0" indent="0" algn="l" defTabSz="914400" rtl="0" eaLnBrk="1" fontAlgn="auto" latinLnBrk="0" hangingPunct="1">
              <a:lnSpc>
                <a:spcPct val="100000"/>
              </a:lnSpc>
              <a:spcBef>
                <a:spcPct val="20000"/>
              </a:spcBef>
              <a:spcAft>
                <a:spcPts val="0"/>
              </a:spcAft>
              <a:buClrTx/>
              <a:buSzTx/>
              <a:buFont typeface="Lucida Grande"/>
              <a:buNone/>
              <a:tabLst/>
              <a:defRPr>
                <a:solidFill>
                  <a:schemeClr val="bg1"/>
                </a:solidFill>
                <a:effectLst>
                  <a:outerShdw blurRad="50800" dist="38100" dir="2700000" algn="tl" rotWithShape="0">
                    <a:srgbClr val="000000">
                      <a:alpha val="65000"/>
                    </a:srgbClr>
                  </a:outerShdw>
                </a:effectLst>
              </a:defRPr>
            </a:lvl1pPr>
          </a:lstStyle>
          <a:p>
            <a:pPr marL="0" marR="0" lvl="0" indent="0" algn="l" defTabSz="914400" rtl="0" eaLnBrk="1" fontAlgn="auto" latinLnBrk="0" hangingPunct="1">
              <a:lnSpc>
                <a:spcPct val="100000"/>
              </a:lnSpc>
              <a:spcBef>
                <a:spcPct val="20000"/>
              </a:spcBef>
              <a:spcAft>
                <a:spcPts val="0"/>
              </a:spcAft>
              <a:buClrTx/>
              <a:buSzTx/>
              <a:buFont typeface="Lucida Grande"/>
              <a:buNone/>
              <a:tabLst/>
              <a:defRPr/>
            </a:pPr>
            <a:r>
              <a:rPr lang="en-US" sz="2800" b="0" i="1" baseline="0" dirty="0"/>
              <a:t>Heinz V. </a:t>
            </a:r>
            <a:r>
              <a:rPr lang="en-US" sz="2800" b="0" i="1" baseline="0" dirty="0" err="1"/>
              <a:t>Förster</a:t>
            </a:r>
            <a:endParaRPr lang="en-US" sz="2800" b="0" i="1" baseline="0" dirty="0"/>
          </a:p>
          <a:p>
            <a:pPr lvl="0"/>
            <a:endParaRPr lang="en-US" dirty="0"/>
          </a:p>
        </p:txBody>
      </p:sp>
      <p:sp>
        <p:nvSpPr>
          <p:cNvPr id="6" name="Slide Number Placeholder 5"/>
          <p:cNvSpPr>
            <a:spLocks noGrp="1"/>
          </p:cNvSpPr>
          <p:nvPr>
            <p:ph type="sldNum" sz="quarter" idx="12"/>
          </p:nvPr>
        </p:nvSpPr>
        <p:spPr>
          <a:xfrm>
            <a:off x="7252811" y="6538913"/>
            <a:ext cx="1433990"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pic>
        <p:nvPicPr>
          <p:cNvPr id="3" name="Picture 2" descr="footer_eb.jp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6983" y="6586567"/>
            <a:ext cx="1679575" cy="222801"/>
          </a:xfrm>
          <a:prstGeom prst="rect">
            <a:avLst/>
          </a:prstGeom>
        </p:spPr>
      </p:pic>
      <p:pic>
        <p:nvPicPr>
          <p:cNvPr id="7" name="Picture 6" descr="footer_balken.jp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6526530"/>
            <a:ext cx="9144000" cy="331470"/>
          </a:xfrm>
          <a:prstGeom prst="rect">
            <a:avLst/>
          </a:prstGeom>
        </p:spPr>
      </p:pic>
      <p:pic>
        <p:nvPicPr>
          <p:cNvPr id="8" name="Picture 7" descr="footer_eb.jp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82832" y="6577160"/>
            <a:ext cx="1679575" cy="222801"/>
          </a:xfrm>
          <a:prstGeom prst="rect">
            <a:avLst/>
          </a:prstGeom>
        </p:spPr>
      </p:pic>
      <p:sp>
        <p:nvSpPr>
          <p:cNvPr id="9" name="Slide Number Placeholder 2"/>
          <p:cNvSpPr txBox="1">
            <a:spLocks/>
          </p:cNvSpPr>
          <p:nvPr/>
        </p:nvSpPr>
        <p:spPr>
          <a:xfrm>
            <a:off x="7134428" y="6538913"/>
            <a:ext cx="1552371" cy="319088"/>
          </a:xfrm>
          <a:prstGeom prst="rect">
            <a:avLst/>
          </a:prstGeom>
        </p:spPr>
        <p:txBody>
          <a:bodyPr/>
          <a:lstStyle>
            <a:defPPr>
              <a:defRPr lang="en-US"/>
            </a:defPPr>
            <a:lvl1pPr marL="0" algn="r" defTabSz="457200" rtl="0" eaLnBrk="1" latinLnBrk="0" hangingPunct="1">
              <a:defRPr sz="1200" kern="1200">
                <a:solidFill>
                  <a:schemeClr val="tx1"/>
                </a:solidFill>
                <a:latin typeface="Tahoma"/>
                <a:ea typeface="+mn-ea"/>
                <a:cs typeface="Tahom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F7A396E-8C2F-A045-AC4B-CC254D3BA2D9}" type="slidenum">
              <a:rPr lang="en-US" smtClean="0">
                <a:solidFill>
                  <a:schemeClr val="bg1"/>
                </a:solidFill>
              </a:rPr>
              <a:pPr/>
              <a:t>‹Nr.›</a:t>
            </a:fld>
            <a:endParaRPr lang="en-US" dirty="0">
              <a:solidFill>
                <a:schemeClr val="bg1"/>
              </a:solidFill>
            </a:endParaRPr>
          </a:p>
        </p:txBody>
      </p:sp>
    </p:spTree>
    <p:extLst>
      <p:ext uri="{BB962C8B-B14F-4D97-AF65-F5344CB8AC3E}">
        <p14:creationId xmlns:p14="http://schemas.microsoft.com/office/powerpoint/2010/main" xmlns="" val="638345821"/>
      </p:ext>
    </p:extLst>
  </p:cSld>
  <p:clrMapOvr>
    <a:masterClrMapping/>
  </p:clrMapOvr>
  <p:transition spd="slow">
    <p:pull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etzte_AdresseFix">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18" name="TextBox 17"/>
          <p:cNvSpPr txBox="1"/>
          <p:nvPr/>
        </p:nvSpPr>
        <p:spPr>
          <a:xfrm>
            <a:off x="0" y="3568731"/>
            <a:ext cx="9143999" cy="1169551"/>
          </a:xfrm>
          <a:prstGeom prst="rect">
            <a:avLst/>
          </a:prstGeom>
          <a:noFill/>
        </p:spPr>
        <p:txBody>
          <a:bodyPr wrap="square" rtlCol="0">
            <a:spAutoFit/>
          </a:bodyPr>
          <a:lstStyle/>
          <a:p>
            <a:pPr algn="ctr"/>
            <a:r>
              <a:rPr lang="en-US" sz="1200" b="1" dirty="0">
                <a:latin typeface="Tahoma"/>
                <a:cs typeface="Tahoma"/>
              </a:rPr>
              <a:t>KOMUNARIKO</a:t>
            </a:r>
            <a:r>
              <a:rPr lang="en-US" sz="1200" b="1" baseline="0" dirty="0">
                <a:latin typeface="Tahoma"/>
                <a:cs typeface="Tahoma"/>
              </a:rPr>
              <a:t> GmbH</a:t>
            </a:r>
          </a:p>
          <a:p>
            <a:pPr algn="ctr"/>
            <a:r>
              <a:rPr lang="en-US" sz="1200" baseline="0" dirty="0">
                <a:latin typeface="Tahoma"/>
                <a:cs typeface="Tahoma"/>
              </a:rPr>
              <a:t>A-5020 Salzburg</a:t>
            </a:r>
          </a:p>
          <a:p>
            <a:pPr algn="ctr"/>
            <a:r>
              <a:rPr lang="en-US" sz="1200" baseline="0" dirty="0">
                <a:latin typeface="Tahoma"/>
                <a:cs typeface="Tahoma"/>
              </a:rPr>
              <a:t>Johann Wolf </a:t>
            </a:r>
            <a:r>
              <a:rPr lang="en-US" sz="1200" baseline="0" dirty="0" err="1">
                <a:latin typeface="Tahoma"/>
                <a:cs typeface="Tahoma"/>
              </a:rPr>
              <a:t>Straße</a:t>
            </a:r>
            <a:r>
              <a:rPr lang="en-US" sz="1200" baseline="0" dirty="0">
                <a:latin typeface="Tahoma"/>
                <a:cs typeface="Tahoma"/>
              </a:rPr>
              <a:t> 13</a:t>
            </a:r>
          </a:p>
          <a:p>
            <a:pPr algn="ctr"/>
            <a:endParaRPr lang="en-US" sz="1200" baseline="0" dirty="0">
              <a:latin typeface="Tahoma"/>
              <a:cs typeface="Tahoma"/>
            </a:endParaRPr>
          </a:p>
          <a:p>
            <a:pPr algn="ctr"/>
            <a:r>
              <a:rPr lang="en-US" sz="1000" baseline="0" dirty="0" err="1">
                <a:latin typeface="Tahoma"/>
                <a:cs typeface="Tahoma"/>
              </a:rPr>
              <a:t>www.komunariko.at</a:t>
            </a:r>
            <a:endParaRPr lang="en-US" sz="1000" baseline="0" dirty="0">
              <a:latin typeface="Tahoma"/>
              <a:cs typeface="Tahoma"/>
            </a:endParaRPr>
          </a:p>
          <a:p>
            <a:pPr algn="ctr"/>
            <a:endParaRPr lang="en-US" sz="1200" b="1" dirty="0">
              <a:latin typeface="Tahoma"/>
              <a:cs typeface="Tahoma"/>
            </a:endParaRPr>
          </a:p>
        </p:txBody>
      </p:sp>
    </p:spTree>
    <p:extLst>
      <p:ext uri="{BB962C8B-B14F-4D97-AF65-F5344CB8AC3E}">
        <p14:creationId xmlns:p14="http://schemas.microsoft.com/office/powerpoint/2010/main" xmlns="" val="2488079913"/>
      </p:ext>
    </p:extLst>
  </p:cSld>
  <p:clrMapOvr>
    <a:masterClrMapping/>
  </p:clrMapOvr>
  <p:transition spd="slow">
    <p:pull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etzte AdresseZumEingeben">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15" name="Text Placeholder 14"/>
          <p:cNvSpPr>
            <a:spLocks noGrp="1" noChangeAspect="1"/>
          </p:cNvSpPr>
          <p:nvPr>
            <p:ph type="body" sz="quarter" idx="10" hasCustomPrompt="1"/>
          </p:nvPr>
        </p:nvSpPr>
        <p:spPr>
          <a:xfrm>
            <a:off x="-1" y="3554933"/>
            <a:ext cx="9144002" cy="1635532"/>
          </a:xfrm>
        </p:spPr>
        <p:txBody>
          <a:bodyPr>
            <a:normAutofit/>
          </a:bodyPr>
          <a:lstStyle>
            <a:lvl1pPr marL="0" indent="0" algn="ctr">
              <a:buNone/>
              <a:defRPr sz="1200" b="0" i="0" baseline="0"/>
            </a:lvl1pPr>
          </a:lstStyle>
          <a:p>
            <a:pPr algn="ctr"/>
            <a:r>
              <a:rPr lang="en-US" sz="1200" b="1" dirty="0">
                <a:latin typeface="Tahoma"/>
                <a:cs typeface="Tahoma"/>
              </a:rPr>
              <a:t>KOMUNARIKO</a:t>
            </a:r>
            <a:endParaRPr lang="en-US" sz="1200" b="1" baseline="0" dirty="0">
              <a:latin typeface="Tahoma"/>
              <a:cs typeface="Tahoma"/>
            </a:endParaRPr>
          </a:p>
          <a:p>
            <a:pPr algn="ctr"/>
            <a:r>
              <a:rPr lang="en-US" sz="1200" b="1" baseline="0" dirty="0">
                <a:latin typeface="Tahoma"/>
                <a:cs typeface="Tahoma"/>
              </a:rPr>
              <a:t>Mag. Guido Czeija</a:t>
            </a:r>
          </a:p>
          <a:p>
            <a:pPr algn="ctr"/>
            <a:r>
              <a:rPr lang="en-US" sz="1200" baseline="0" dirty="0" err="1">
                <a:latin typeface="Tahoma"/>
                <a:cs typeface="Tahoma"/>
              </a:rPr>
              <a:t>Mayerlehen</a:t>
            </a:r>
            <a:r>
              <a:rPr lang="en-US" sz="1200" baseline="0" dirty="0">
                <a:latin typeface="Tahoma"/>
                <a:cs typeface="Tahoma"/>
              </a:rPr>
              <a:t> 63</a:t>
            </a:r>
          </a:p>
          <a:p>
            <a:pPr algn="ctr"/>
            <a:r>
              <a:rPr lang="en-US" sz="1200" baseline="0" dirty="0">
                <a:latin typeface="Tahoma"/>
                <a:cs typeface="Tahoma"/>
              </a:rPr>
              <a:t>5201 </a:t>
            </a:r>
            <a:r>
              <a:rPr lang="en-US" sz="1200" baseline="0" dirty="0" err="1">
                <a:latin typeface="Tahoma"/>
                <a:cs typeface="Tahoma"/>
              </a:rPr>
              <a:t>Seekirchen</a:t>
            </a:r>
            <a:endParaRPr lang="en-US" sz="1200" baseline="0" dirty="0">
              <a:latin typeface="Tahoma"/>
              <a:cs typeface="Tahoma"/>
            </a:endParaRPr>
          </a:p>
          <a:p>
            <a:pPr algn="ctr"/>
            <a:endParaRPr lang="en-US" sz="1200" baseline="0" dirty="0">
              <a:latin typeface="Tahoma"/>
              <a:cs typeface="Tahoma"/>
            </a:endParaRPr>
          </a:p>
          <a:p>
            <a:pPr algn="ctr"/>
            <a:r>
              <a:rPr lang="en-US" sz="1000" baseline="0" dirty="0" err="1">
                <a:latin typeface="Tahoma"/>
                <a:cs typeface="Tahoma"/>
              </a:rPr>
              <a:t>guido.czeija@komunariko.at</a:t>
            </a:r>
            <a:endParaRPr lang="en-US" sz="1000" baseline="0" dirty="0">
              <a:latin typeface="Tahoma"/>
              <a:cs typeface="Tahoma"/>
            </a:endParaRPr>
          </a:p>
          <a:p>
            <a:pPr algn="ctr"/>
            <a:r>
              <a:rPr lang="en-US" sz="1000" baseline="0" dirty="0" err="1">
                <a:latin typeface="Tahoma"/>
                <a:cs typeface="Tahoma"/>
              </a:rPr>
              <a:t>www.komunariko.at</a:t>
            </a:r>
            <a:endParaRPr lang="en-US" sz="1000" baseline="0" dirty="0">
              <a:latin typeface="Tahoma"/>
              <a:cs typeface="Tahoma"/>
            </a:endParaRPr>
          </a:p>
          <a:p>
            <a:pPr algn="ctr"/>
            <a:endParaRPr lang="en-US" sz="1000" baseline="0" dirty="0">
              <a:latin typeface="Tahoma"/>
              <a:cs typeface="Tahoma"/>
            </a:endParaRPr>
          </a:p>
        </p:txBody>
      </p:sp>
    </p:spTree>
    <p:extLst>
      <p:ext uri="{BB962C8B-B14F-4D97-AF65-F5344CB8AC3E}">
        <p14:creationId xmlns:p14="http://schemas.microsoft.com/office/powerpoint/2010/main" xmlns="" val="2022598050"/>
      </p:ext>
    </p:extLst>
  </p:cSld>
  <p:clrMapOvr>
    <a:masterClrMapping/>
  </p:clrMapOvr>
  <p:transition spd="slow">
    <p:pull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elfolie">
    <p:bg>
      <p:bgPr>
        <a:blipFill rotWithShape="1">
          <a:blip r:embed="rId2" cstate="print">
            <a:alphaModFix amt="98000"/>
          </a:blip>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7200" y="2763676"/>
            <a:ext cx="8229600" cy="725767"/>
          </a:xfrm>
        </p:spPr>
        <p:txBody>
          <a:bodyPr anchor="t" anchorCtr="0"/>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AT" dirty="0" err="1"/>
              <a:t>Subtitel</a:t>
            </a:r>
            <a:r>
              <a:rPr lang="de-AT" dirty="0"/>
              <a:t> sind schön!</a:t>
            </a:r>
            <a:endParaRPr lang="en-US" dirty="0"/>
          </a:p>
        </p:txBody>
      </p:sp>
      <p:sp>
        <p:nvSpPr>
          <p:cNvPr id="8" name="Title 7"/>
          <p:cNvSpPr>
            <a:spLocks noGrp="1"/>
          </p:cNvSpPr>
          <p:nvPr>
            <p:ph type="title" hasCustomPrompt="1"/>
          </p:nvPr>
        </p:nvSpPr>
        <p:spPr>
          <a:xfrm>
            <a:off x="457200" y="1389479"/>
            <a:ext cx="8229600" cy="1143000"/>
          </a:xfrm>
        </p:spPr>
        <p:txBody>
          <a:bodyPr anchor="b" anchorCtr="0">
            <a:noAutofit/>
          </a:bodyPr>
          <a:lstStyle>
            <a:lvl1pPr algn="l">
              <a:defRPr sz="4000" b="1" i="0" baseline="0">
                <a:latin typeface="Tahoma"/>
                <a:cs typeface="Tahoma"/>
              </a:defRPr>
            </a:lvl1pPr>
          </a:lstStyle>
          <a:p>
            <a:r>
              <a:rPr lang="en-US" dirty="0" err="1"/>
              <a:t>Blindtext-Schreibkurs</a:t>
            </a:r>
            <a:r>
              <a:rPr lang="en-US" dirty="0"/>
              <a:t/>
            </a:r>
            <a:br>
              <a:rPr lang="en-US" dirty="0"/>
            </a:br>
            <a:r>
              <a:rPr lang="en-US" dirty="0" err="1"/>
              <a:t>für</a:t>
            </a:r>
            <a:r>
              <a:rPr lang="en-US" dirty="0"/>
              <a:t> </a:t>
            </a:r>
            <a:r>
              <a:rPr lang="en-US" dirty="0" err="1"/>
              <a:t>Anfänger</a:t>
            </a:r>
            <a:endParaRPr lang="en-US" dirty="0"/>
          </a:p>
        </p:txBody>
      </p:sp>
      <p:sp>
        <p:nvSpPr>
          <p:cNvPr id="6" name="Text Placeholder 13"/>
          <p:cNvSpPr>
            <a:spLocks noGrp="1"/>
          </p:cNvSpPr>
          <p:nvPr>
            <p:ph type="body" sz="quarter" idx="11" hasCustomPrompt="1"/>
          </p:nvPr>
        </p:nvSpPr>
        <p:spPr>
          <a:xfrm>
            <a:off x="554061" y="3920981"/>
            <a:ext cx="3169728" cy="215444"/>
          </a:xfrm>
          <a:noFill/>
        </p:spPr>
        <p:txBody>
          <a:bodyPr wrap="square" lIns="0" tIns="0" rIns="0" bIns="0" anchor="ctr" anchorCtr="0">
            <a:sp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solidFill>
                  <a:schemeClr val="tx1"/>
                </a:solidFill>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err="1"/>
              <a:t>TrainerInnen</a:t>
            </a:r>
            <a:r>
              <a:rPr lang="en-US" dirty="0"/>
              <a:t>:</a:t>
            </a:r>
          </a:p>
        </p:txBody>
      </p:sp>
      <p:sp>
        <p:nvSpPr>
          <p:cNvPr id="7" name="Text Placeholder 8"/>
          <p:cNvSpPr>
            <a:spLocks noGrp="1"/>
          </p:cNvSpPr>
          <p:nvPr>
            <p:ph type="body" sz="quarter" idx="12" hasCustomPrompt="1"/>
          </p:nvPr>
        </p:nvSpPr>
        <p:spPr>
          <a:xfrm>
            <a:off x="457200" y="4149500"/>
            <a:ext cx="8229600" cy="463550"/>
          </a:xfrm>
        </p:spPr>
        <p:txBody>
          <a:bodyPr>
            <a:normAutofit/>
          </a:bodyPr>
          <a:lstStyle>
            <a:lvl1pPr marL="0" indent="0">
              <a:buNone/>
              <a:defRPr sz="2000" baseline="0"/>
            </a:lvl1pPr>
          </a:lstStyle>
          <a:p>
            <a:pPr lvl="0"/>
            <a:r>
              <a:rPr lang="en-US" dirty="0"/>
              <a:t>Trainer und </a:t>
            </a:r>
            <a:r>
              <a:rPr lang="en-US" dirty="0" err="1"/>
              <a:t>TrainerInnen</a:t>
            </a:r>
            <a:endParaRPr lang="en-US" dirty="0"/>
          </a:p>
        </p:txBody>
      </p:sp>
    </p:spTree>
    <p:extLst>
      <p:ext uri="{BB962C8B-B14F-4D97-AF65-F5344CB8AC3E}">
        <p14:creationId xmlns:p14="http://schemas.microsoft.com/office/powerpoint/2010/main" xmlns="" val="3307969057"/>
      </p:ext>
    </p:extLst>
  </p:cSld>
  <p:clrMapOvr>
    <a:masterClrMapping/>
  </p:clrMapOvr>
  <p:transition spd="slow">
    <p:pull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Conten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00855541-B0DF-4578-9EF0-EB3074FA6F7E}"/>
              </a:ext>
            </a:extLst>
          </p:cNvPr>
          <p:cNvGraphicFramePr>
            <a:graphicFrameLocks noChangeAspect="1"/>
          </p:cNvGraphicFramePr>
          <p:nvPr userDrawn="1">
            <p:extLst>
              <p:ext uri="{D42A27DB-BD31-4B8C-83A1-F6EECF244321}">
                <p14:modId xmlns:p14="http://schemas.microsoft.com/office/powerpoint/2010/main" xmlns="" val="1026126810"/>
              </p:ext>
            </p:extLst>
          </p:nvPr>
        </p:nvGraphicFramePr>
        <p:xfrm>
          <a:off x="1588" y="1588"/>
          <a:ext cx="1588" cy="1588"/>
        </p:xfrm>
        <a:graphic>
          <a:graphicData uri="http://schemas.openxmlformats.org/presentationml/2006/ole">
            <p:oleObj spid="_x0000_s2057" name="think-cell Folie" r:id="rId3" imgW="360" imgH="360" progId="">
              <p:embed/>
            </p:oleObj>
          </a:graphicData>
        </a:graphic>
      </p:graphicFrame>
      <p:sp>
        <p:nvSpPr>
          <p:cNvPr id="6"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
        <p:nvSpPr>
          <p:cNvPr id="4" name="Rechteck 3">
            <a:extLst>
              <a:ext uri="{FF2B5EF4-FFF2-40B4-BE49-F238E27FC236}">
                <a16:creationId xmlns:a16="http://schemas.microsoft.com/office/drawing/2014/main" xmlns="" id="{0245F8A4-9002-409A-9F4C-105A79185740}"/>
              </a:ext>
            </a:extLst>
          </p:cNvPr>
          <p:cNvSpPr/>
          <p:nvPr userDrawn="1"/>
        </p:nvSpPr>
        <p:spPr>
          <a:xfrm>
            <a:off x="0" y="0"/>
            <a:ext cx="9144000" cy="653891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AT"/>
          </a:p>
        </p:txBody>
      </p:sp>
      <p:pic>
        <p:nvPicPr>
          <p:cNvPr id="5" name="Grafik 4">
            <a:extLst>
              <a:ext uri="{FF2B5EF4-FFF2-40B4-BE49-F238E27FC236}">
                <a16:creationId xmlns:a16="http://schemas.microsoft.com/office/drawing/2014/main" xmlns="" id="{FEF50170-03CC-4881-9CC4-2F5464455E7B}"/>
              </a:ext>
            </a:extLst>
          </p:cNvPr>
          <p:cNvPicPr>
            <a:picLocks noChangeAspect="1"/>
          </p:cNvPicPr>
          <p:nvPr userDrawn="1"/>
        </p:nvPicPr>
        <p:blipFill>
          <a:blip r:embed="rId4" cstate="print">
            <a:extLst>
              <a:ext uri="{28A0092B-C50C-407E-A947-70E740481C1C}">
                <a14:useLocalDpi xmlns:a14="http://schemas.microsoft.com/office/drawing/2010/main" xmlns="" val="0"/>
              </a:ext>
            </a:extLst>
          </a:blip>
          <a:stretch>
            <a:fillRect/>
          </a:stretch>
        </p:blipFill>
        <p:spPr>
          <a:xfrm>
            <a:off x="6516216" y="-9347"/>
            <a:ext cx="2225452" cy="532587"/>
          </a:xfrm>
          <a:prstGeom prst="rect">
            <a:avLst/>
          </a:prstGeom>
        </p:spPr>
      </p:pic>
      <p:sp>
        <p:nvSpPr>
          <p:cNvPr id="2" name="Title 1"/>
          <p:cNvSpPr>
            <a:spLocks noGrp="1"/>
          </p:cNvSpPr>
          <p:nvPr>
            <p:ph type="title" hasCustomPrompt="1"/>
          </p:nvPr>
        </p:nvSpPr>
        <p:spPr>
          <a:xfrm>
            <a:off x="457200" y="457200"/>
            <a:ext cx="8229600" cy="667544"/>
          </a:xfrm>
        </p:spPr>
        <p:txBody>
          <a:bodyPr/>
          <a:lstStyle>
            <a:lvl1pPr>
              <a:defRPr sz="3200" b="1" baseline="0">
                <a:solidFill>
                  <a:schemeClr val="accent1"/>
                </a:solidFill>
              </a:defRPr>
            </a:lvl1pPr>
          </a:lstStyle>
          <a:p>
            <a:r>
              <a:rPr lang="de-AT" dirty="0"/>
              <a:t>Titel</a:t>
            </a:r>
            <a:endParaRPr lang="en-US" dirty="0"/>
          </a:p>
        </p:txBody>
      </p:sp>
      <p:sp>
        <p:nvSpPr>
          <p:cNvPr id="3" name="Content Placeholder 2"/>
          <p:cNvSpPr>
            <a:spLocks noGrp="1"/>
          </p:cNvSpPr>
          <p:nvPr>
            <p:ph idx="1" hasCustomPrompt="1"/>
          </p:nvPr>
        </p:nvSpPr>
        <p:spPr>
          <a:xfrm>
            <a:off x="457200" y="1600200"/>
            <a:ext cx="8229600" cy="4525963"/>
          </a:xfrm>
        </p:spPr>
        <p:txBody>
          <a:bodyPr/>
          <a:lstStyle>
            <a:lvl1pPr marL="342900" indent="-342900">
              <a:buFont typeface="Lucida Grande"/>
              <a:buChar char="»"/>
              <a:defRPr baseline="0"/>
            </a:lvl1pPr>
            <a:lvl2pPr marL="742950" indent="-285750">
              <a:buFont typeface="Lucida Grande"/>
              <a:buChar char="»"/>
              <a:defRPr/>
            </a:lvl2pPr>
            <a:lvl3pPr marL="1143000" indent="-228600">
              <a:buFont typeface="Lucida Grande"/>
              <a:buChar char="»"/>
              <a:defRPr/>
            </a:lvl3pPr>
            <a:lvl4pPr marL="1600200" indent="-228600">
              <a:buFont typeface="Lucida Grande"/>
              <a:buChar char="»"/>
              <a:defRPr/>
            </a:lvl4pPr>
            <a:lvl5pPr marL="2057400" indent="-228600">
              <a:buFont typeface="Lucida Grande"/>
              <a:buChar char="»"/>
              <a:defRPr/>
            </a:lvl5pPr>
          </a:lstStyle>
          <a:p>
            <a:pPr lvl="0"/>
            <a:r>
              <a:rPr lang="de-AT" dirty="0"/>
              <a:t>Auflistung erste Ebene</a:t>
            </a:r>
          </a:p>
          <a:p>
            <a:pPr lvl="1"/>
            <a:r>
              <a:rPr lang="de-AT" dirty="0"/>
              <a:t>Zweite Ebene</a:t>
            </a:r>
          </a:p>
          <a:p>
            <a:pPr lvl="2"/>
            <a:r>
              <a:rPr lang="de-AT" dirty="0"/>
              <a:t>Dritte</a:t>
            </a:r>
          </a:p>
          <a:p>
            <a:pPr lvl="3"/>
            <a:r>
              <a:rPr lang="de-AT" dirty="0"/>
              <a:t>Vierte</a:t>
            </a:r>
          </a:p>
          <a:p>
            <a:pPr lvl="4"/>
            <a:r>
              <a:rPr lang="de-AT" dirty="0"/>
              <a:t>Fünfte</a:t>
            </a:r>
            <a:endParaRPr lang="en-US" dirty="0"/>
          </a:p>
        </p:txBody>
      </p:sp>
    </p:spTree>
    <p:extLst>
      <p:ext uri="{BB962C8B-B14F-4D97-AF65-F5344CB8AC3E}">
        <p14:creationId xmlns:p14="http://schemas.microsoft.com/office/powerpoint/2010/main" xmlns="" val="370041899"/>
      </p:ext>
    </p:extLst>
  </p:cSld>
  <p:clrMapOvr>
    <a:masterClrMapping/>
  </p:clrMapOvr>
  <p:transition spd="slow">
    <p:pull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3 Bilder un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1"/>
            <a:ext cx="8229600" cy="1143000"/>
          </a:xfrm>
        </p:spPr>
        <p:txBody>
          <a:bodyPr/>
          <a:lstStyle/>
          <a:p>
            <a:r>
              <a:rPr lang="de-AT" dirty="0"/>
              <a:t>Titel</a:t>
            </a:r>
            <a:endParaRPr lang="en-US" dirty="0"/>
          </a:p>
        </p:txBody>
      </p:sp>
      <p:sp>
        <p:nvSpPr>
          <p:cNvPr id="3" name="Content Placeholder 2"/>
          <p:cNvSpPr>
            <a:spLocks noGrp="1"/>
          </p:cNvSpPr>
          <p:nvPr>
            <p:ph idx="1" hasCustomPrompt="1"/>
          </p:nvPr>
        </p:nvSpPr>
        <p:spPr>
          <a:xfrm>
            <a:off x="457200" y="1600201"/>
            <a:ext cx="8229600" cy="2083990"/>
          </a:xfrm>
        </p:spPr>
        <p:txBody>
          <a:bodyPr>
            <a:normAutofit/>
          </a:bodyPr>
          <a:lstStyle>
            <a:lvl1pPr marL="0" indent="0">
              <a:buNone/>
              <a:defRPr sz="2400" baseline="0"/>
            </a:lvl1pPr>
          </a:lstStyle>
          <a:p>
            <a:pPr lvl="0"/>
            <a:r>
              <a:rPr lang="ro-RO" dirty="0"/>
              <a:t>Lorem ipsum dolor sit amet, consetetur sadipscing elitr, sed diam nonumy eirmod tempor invidunt ut labore et dolore magna aliquyam erat, sed diam voluptua. At vero eos et accusam et justo duo dolores et ea rebum. </a:t>
            </a:r>
            <a:endParaRPr lang="en-US" dirty="0"/>
          </a:p>
        </p:txBody>
      </p:sp>
      <p:sp>
        <p:nvSpPr>
          <p:cNvPr id="6"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
        <p:nvSpPr>
          <p:cNvPr id="7" name="Picture Placeholder 4"/>
          <p:cNvSpPr>
            <a:spLocks noGrp="1"/>
          </p:cNvSpPr>
          <p:nvPr>
            <p:ph type="pic" sz="quarter" idx="14" hasCustomPrompt="1"/>
          </p:nvPr>
        </p:nvSpPr>
        <p:spPr>
          <a:xfrm>
            <a:off x="3368420"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8" name="Picture Placeholder 4"/>
          <p:cNvSpPr>
            <a:spLocks noGrp="1"/>
          </p:cNvSpPr>
          <p:nvPr>
            <p:ph type="pic" sz="quarter" idx="15" hasCustomPrompt="1"/>
          </p:nvPr>
        </p:nvSpPr>
        <p:spPr>
          <a:xfrm>
            <a:off x="6237685"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9" name="Picture Placeholder 4"/>
          <p:cNvSpPr>
            <a:spLocks noGrp="1"/>
          </p:cNvSpPr>
          <p:nvPr>
            <p:ph type="pic" sz="quarter" idx="16" hasCustomPrompt="1"/>
          </p:nvPr>
        </p:nvSpPr>
        <p:spPr>
          <a:xfrm>
            <a:off x="457200"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Tree>
    <p:extLst>
      <p:ext uri="{BB962C8B-B14F-4D97-AF65-F5344CB8AC3E}">
        <p14:creationId xmlns:p14="http://schemas.microsoft.com/office/powerpoint/2010/main" xmlns="" val="1260749303"/>
      </p:ext>
    </p:extLst>
  </p:cSld>
  <p:clrMapOvr>
    <a:masterClrMapping/>
  </p:clrMapOvr>
  <p:transition spd="slow">
    <p:pull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reserve="1">
  <p:cSld name="Bild mit Beschreibung">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800600"/>
            <a:ext cx="8229600" cy="566738"/>
          </a:xfrm>
        </p:spPr>
        <p:txBody>
          <a:bodyPr anchor="b"/>
          <a:lstStyle>
            <a:lvl1pPr algn="l">
              <a:defRPr sz="2000" b="1"/>
            </a:lvl1pPr>
          </a:lstStyle>
          <a:p>
            <a:r>
              <a:rPr lang="de-AT" dirty="0"/>
              <a:t>Titel des Bildes</a:t>
            </a:r>
            <a:endParaRPr lang="en-US" dirty="0"/>
          </a:p>
        </p:txBody>
      </p:sp>
      <p:sp>
        <p:nvSpPr>
          <p:cNvPr id="3" name="Picture Placeholder 2"/>
          <p:cNvSpPr>
            <a:spLocks noGrp="1"/>
          </p:cNvSpPr>
          <p:nvPr>
            <p:ph type="pic" idx="1" hasCustomPrompt="1"/>
          </p:nvPr>
        </p:nvSpPr>
        <p:spPr>
          <a:xfrm>
            <a:off x="457200" y="612775"/>
            <a:ext cx="8229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AT" dirty="0"/>
              <a:t>Bild hier einfügen</a:t>
            </a:r>
            <a:endParaRPr lang="en-US" dirty="0"/>
          </a:p>
        </p:txBody>
      </p:sp>
      <p:sp>
        <p:nvSpPr>
          <p:cNvPr id="4" name="Text Placeholder 3"/>
          <p:cNvSpPr>
            <a:spLocks noGrp="1"/>
          </p:cNvSpPr>
          <p:nvPr>
            <p:ph type="body" sz="half" idx="2" hasCustomPrompt="1"/>
          </p:nvPr>
        </p:nvSpPr>
        <p:spPr>
          <a:xfrm>
            <a:off x="457200" y="5367338"/>
            <a:ext cx="8229600" cy="52106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AT" dirty="0"/>
              <a:t>Beschreibung kurzer Text</a:t>
            </a:r>
          </a:p>
        </p:txBody>
      </p:sp>
      <p:sp>
        <p:nvSpPr>
          <p:cNvPr id="8"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pic>
        <p:nvPicPr>
          <p:cNvPr id="6" name="Grafik 5">
            <a:extLst>
              <a:ext uri="{FF2B5EF4-FFF2-40B4-BE49-F238E27FC236}">
                <a16:creationId xmlns:a16="http://schemas.microsoft.com/office/drawing/2014/main" xmlns="" id="{47D6760D-0D6A-4373-971F-FF9F3BD80E46}"/>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6516216" y="-9347"/>
            <a:ext cx="2225452" cy="532587"/>
          </a:xfrm>
          <a:prstGeom prst="rect">
            <a:avLst/>
          </a:prstGeom>
        </p:spPr>
      </p:pic>
    </p:spTree>
    <p:extLst>
      <p:ext uri="{BB962C8B-B14F-4D97-AF65-F5344CB8AC3E}">
        <p14:creationId xmlns:p14="http://schemas.microsoft.com/office/powerpoint/2010/main" xmlns="" val="3493741632"/>
      </p:ext>
    </p:extLst>
  </p:cSld>
  <p:clrMapOvr>
    <a:masterClrMapping/>
  </p:clrMapOvr>
  <p:transition spd="slow">
    <p:pull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2 Spal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0"/>
            <a:ext cx="8229600" cy="1143000"/>
          </a:xfrm>
        </p:spPr>
        <p:txBody>
          <a:bodyPr/>
          <a:lstStyle>
            <a:lvl1pPr>
              <a:defRPr baseline="0"/>
            </a:lvl1pPr>
          </a:lstStyle>
          <a:p>
            <a:r>
              <a:rPr lang="de-AT" dirty="0"/>
              <a:t>Titel</a:t>
            </a:r>
            <a:endParaRPr lang="en-US" dirty="0"/>
          </a:p>
        </p:txBody>
      </p:sp>
      <p:sp>
        <p:nvSpPr>
          <p:cNvPr id="3" name="Content Placeholder 2"/>
          <p:cNvSpPr>
            <a:spLocks noGrp="1"/>
          </p:cNvSpPr>
          <p:nvPr>
            <p:ph idx="1" hasCustomPrompt="1"/>
          </p:nvPr>
        </p:nvSpPr>
        <p:spPr>
          <a:xfrm>
            <a:off x="457200" y="1600200"/>
            <a:ext cx="4019956" cy="4525963"/>
          </a:xfrm>
        </p:spPr>
        <p:txBody>
          <a:bodyPr/>
          <a:lstStyle>
            <a:lvl1pPr marL="342900" indent="-342900">
              <a:buFont typeface="Lucida Grande"/>
              <a:buChar char="»"/>
              <a:defRPr baseline="0"/>
            </a:lvl1pPr>
            <a:lvl2pPr marL="742950" indent="-285750">
              <a:buFont typeface="Lucida Grande"/>
              <a:buChar char="»"/>
              <a:defRPr/>
            </a:lvl2pPr>
            <a:lvl3pPr marL="1143000" indent="-228600">
              <a:buFont typeface="Lucida Grande"/>
              <a:buChar char="»"/>
              <a:defRPr/>
            </a:lvl3pPr>
            <a:lvl4pPr marL="1600200" indent="-228600">
              <a:buFont typeface="Lucida Grande"/>
              <a:buChar char="»"/>
              <a:defRPr/>
            </a:lvl4pPr>
            <a:lvl5pPr marL="2057400" indent="-228600">
              <a:buFont typeface="Lucida Grande"/>
              <a:buChar char="»"/>
              <a:defRPr/>
            </a:lvl5pPr>
          </a:lstStyle>
          <a:p>
            <a:pPr lvl="0"/>
            <a:r>
              <a:rPr lang="de-AT" dirty="0"/>
              <a:t>Auflistung erste Ebene</a:t>
            </a:r>
          </a:p>
          <a:p>
            <a:pPr lvl="1"/>
            <a:r>
              <a:rPr lang="de-AT" dirty="0"/>
              <a:t>Zweite Ebene</a:t>
            </a:r>
          </a:p>
          <a:p>
            <a:pPr lvl="2"/>
            <a:r>
              <a:rPr lang="de-AT" dirty="0"/>
              <a:t>Dritte</a:t>
            </a:r>
          </a:p>
          <a:p>
            <a:pPr lvl="3"/>
            <a:r>
              <a:rPr lang="de-AT" dirty="0"/>
              <a:t>Vierte</a:t>
            </a:r>
          </a:p>
          <a:p>
            <a:pPr lvl="4"/>
            <a:r>
              <a:rPr lang="de-AT" dirty="0"/>
              <a:t>Fünfte</a:t>
            </a:r>
            <a:endParaRPr lang="en-US" dirty="0"/>
          </a:p>
        </p:txBody>
      </p:sp>
      <p:sp>
        <p:nvSpPr>
          <p:cNvPr id="6" name="Content Placeholder 2"/>
          <p:cNvSpPr>
            <a:spLocks noGrp="1"/>
          </p:cNvSpPr>
          <p:nvPr>
            <p:ph idx="10" hasCustomPrompt="1"/>
          </p:nvPr>
        </p:nvSpPr>
        <p:spPr>
          <a:xfrm>
            <a:off x="4649354" y="1600200"/>
            <a:ext cx="4019957" cy="4525963"/>
          </a:xfrm>
        </p:spPr>
        <p:txBody>
          <a:bodyPr/>
          <a:lstStyle>
            <a:lvl1pPr marL="342900" indent="-342900">
              <a:buFont typeface="Lucida Grande"/>
              <a:buChar char="»"/>
              <a:defRPr baseline="0"/>
            </a:lvl1pPr>
            <a:lvl2pPr marL="742950" indent="-285750">
              <a:buFont typeface="Lucida Grande"/>
              <a:buChar char="»"/>
              <a:defRPr/>
            </a:lvl2pPr>
            <a:lvl3pPr marL="1143000" indent="-228600">
              <a:buFont typeface="Lucida Grande"/>
              <a:buChar char="»"/>
              <a:defRPr/>
            </a:lvl3pPr>
            <a:lvl4pPr marL="1600200" indent="-228600">
              <a:buFont typeface="Lucida Grande"/>
              <a:buChar char="»"/>
              <a:defRPr/>
            </a:lvl4pPr>
            <a:lvl5pPr marL="2057400" indent="-228600">
              <a:buFont typeface="Lucida Grande"/>
              <a:buChar char="»"/>
              <a:defRPr/>
            </a:lvl5pPr>
          </a:lstStyle>
          <a:p>
            <a:pPr lvl="0"/>
            <a:r>
              <a:rPr lang="de-AT" dirty="0"/>
              <a:t>Auflistung erste Ebene</a:t>
            </a:r>
          </a:p>
          <a:p>
            <a:pPr lvl="1"/>
            <a:r>
              <a:rPr lang="de-AT" dirty="0"/>
              <a:t>Zweite Ebene</a:t>
            </a:r>
          </a:p>
          <a:p>
            <a:pPr lvl="2"/>
            <a:r>
              <a:rPr lang="de-AT" dirty="0"/>
              <a:t>Dritte</a:t>
            </a:r>
          </a:p>
          <a:p>
            <a:pPr lvl="3"/>
            <a:r>
              <a:rPr lang="de-AT" dirty="0"/>
              <a:t>Vierte</a:t>
            </a:r>
          </a:p>
          <a:p>
            <a:pPr lvl="4"/>
            <a:r>
              <a:rPr lang="de-AT" dirty="0"/>
              <a:t>Fünfte</a:t>
            </a:r>
            <a:endParaRPr lang="en-US" dirty="0"/>
          </a:p>
        </p:txBody>
      </p:sp>
      <p:sp>
        <p:nvSpPr>
          <p:cNvPr id="8"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Tree>
    <p:extLst>
      <p:ext uri="{BB962C8B-B14F-4D97-AF65-F5344CB8AC3E}">
        <p14:creationId xmlns:p14="http://schemas.microsoft.com/office/powerpoint/2010/main" xmlns="" val="251813692"/>
      </p:ext>
    </p:extLst>
  </p:cSld>
  <p:clrMapOvr>
    <a:masterClrMapping/>
  </p:clrMapOvr>
  <p:transition spd="slow">
    <p:pull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Bilder + Titel">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6959"/>
            <a:ext cx="8229600" cy="1143000"/>
          </a:xfrm>
        </p:spPr>
        <p:txBody>
          <a:bodyPr/>
          <a:lstStyle/>
          <a:p>
            <a:r>
              <a:rPr lang="de-AT" dirty="0"/>
              <a:t>Titel</a:t>
            </a:r>
            <a:endParaRPr lang="en-US" dirty="0"/>
          </a:p>
        </p:txBody>
      </p:sp>
      <p:sp>
        <p:nvSpPr>
          <p:cNvPr id="5" name="Content Placeholder 4"/>
          <p:cNvSpPr>
            <a:spLocks noGrp="1"/>
          </p:cNvSpPr>
          <p:nvPr>
            <p:ph sz="quarter" idx="11" hasCustomPrompt="1"/>
          </p:nvPr>
        </p:nvSpPr>
        <p:spPr>
          <a:xfrm>
            <a:off x="4670880" y="1599960"/>
            <a:ext cx="4015919" cy="4502020"/>
          </a:xfrm>
        </p:spPr>
        <p:txBody>
          <a:bodyPr/>
          <a:lstStyle>
            <a:lvl1pPr marL="0" indent="0">
              <a:buNone/>
              <a:defRPr/>
            </a:lvl1pPr>
          </a:lstStyle>
          <a:p>
            <a:pPr lvl="0"/>
            <a:r>
              <a:rPr lang="en-US" dirty="0" err="1"/>
              <a:t>Bild</a:t>
            </a:r>
            <a:endParaRPr lang="en-US" dirty="0"/>
          </a:p>
        </p:txBody>
      </p:sp>
      <p:sp>
        <p:nvSpPr>
          <p:cNvPr id="10" name="Content Placeholder 9"/>
          <p:cNvSpPr>
            <a:spLocks noGrp="1"/>
          </p:cNvSpPr>
          <p:nvPr>
            <p:ph sz="quarter" idx="12" hasCustomPrompt="1"/>
          </p:nvPr>
        </p:nvSpPr>
        <p:spPr>
          <a:xfrm>
            <a:off x="457200" y="1599959"/>
            <a:ext cx="4019956" cy="4501780"/>
          </a:xfrm>
        </p:spPr>
        <p:txBody>
          <a:bodyPr/>
          <a:lstStyle>
            <a:lvl1pPr marL="0" indent="0">
              <a:buNone/>
              <a:defRPr baseline="0"/>
            </a:lvl1pPr>
          </a:lstStyle>
          <a:p>
            <a:pPr lvl="0"/>
            <a:r>
              <a:rPr lang="en-US" dirty="0" err="1"/>
              <a:t>Bild</a:t>
            </a:r>
            <a:endParaRPr lang="en-US" dirty="0"/>
          </a:p>
        </p:txBody>
      </p:sp>
      <p:sp>
        <p:nvSpPr>
          <p:cNvPr id="8" name="Slide Number Placeholder 2"/>
          <p:cNvSpPr txBox="1">
            <a:spLocks/>
          </p:cNvSpPr>
          <p:nvPr/>
        </p:nvSpPr>
        <p:spPr>
          <a:xfrm>
            <a:off x="7134428" y="6538913"/>
            <a:ext cx="1552371" cy="319088"/>
          </a:xfrm>
          <a:prstGeom prst="rect">
            <a:avLst/>
          </a:prstGeom>
        </p:spPr>
        <p:txBody>
          <a:bodyPr/>
          <a:lstStyle>
            <a:defPPr>
              <a:defRPr lang="en-US"/>
            </a:defPPr>
            <a:lvl1pPr marL="0" algn="r" defTabSz="457200" rtl="0" eaLnBrk="1" latinLnBrk="0" hangingPunct="1">
              <a:defRPr sz="1200" kern="1200">
                <a:solidFill>
                  <a:schemeClr val="tx1"/>
                </a:solidFill>
                <a:latin typeface="Tahoma"/>
                <a:ea typeface="+mn-ea"/>
                <a:cs typeface="Tahom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F7A396E-8C2F-A045-AC4B-CC254D3BA2D9}" type="slidenum">
              <a:rPr lang="en-US" smtClean="0">
                <a:solidFill>
                  <a:schemeClr val="bg1"/>
                </a:solidFill>
              </a:rPr>
              <a:pPr/>
              <a:t>‹Nr.›</a:t>
            </a:fld>
            <a:endParaRPr lang="en-US" dirty="0">
              <a:solidFill>
                <a:schemeClr val="bg1"/>
              </a:solidFill>
            </a:endParaRPr>
          </a:p>
        </p:txBody>
      </p:sp>
    </p:spTree>
    <p:extLst>
      <p:ext uri="{BB962C8B-B14F-4D97-AF65-F5344CB8AC3E}">
        <p14:creationId xmlns:p14="http://schemas.microsoft.com/office/powerpoint/2010/main" xmlns="" val="3028278309"/>
      </p:ext>
    </p:extLst>
  </p:cSld>
  <p:clrMapOvr>
    <a:masterClrMapping/>
  </p:clrMapOvr>
  <p:transition spd="slow">
    <p:pull di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Bilder">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4670880" y="441239"/>
            <a:ext cx="4015919" cy="5660740"/>
          </a:xfrm>
        </p:spPr>
        <p:txBody>
          <a:bodyPr/>
          <a:lstStyle>
            <a:lvl1pPr marL="0" indent="0">
              <a:buNone/>
              <a:defRPr/>
            </a:lvl1pPr>
          </a:lstStyle>
          <a:p>
            <a:pPr lvl="0"/>
            <a:r>
              <a:rPr lang="en-US" dirty="0" err="1"/>
              <a:t>Bild</a:t>
            </a:r>
            <a:endParaRPr lang="en-US" dirty="0"/>
          </a:p>
        </p:txBody>
      </p:sp>
      <p:sp>
        <p:nvSpPr>
          <p:cNvPr id="10" name="Content Placeholder 9"/>
          <p:cNvSpPr>
            <a:spLocks noGrp="1"/>
          </p:cNvSpPr>
          <p:nvPr>
            <p:ph sz="quarter" idx="12" hasCustomPrompt="1"/>
          </p:nvPr>
        </p:nvSpPr>
        <p:spPr>
          <a:xfrm>
            <a:off x="457200" y="441238"/>
            <a:ext cx="4019956" cy="5660741"/>
          </a:xfrm>
        </p:spPr>
        <p:txBody>
          <a:bodyPr/>
          <a:lstStyle>
            <a:lvl1pPr marL="0" indent="0">
              <a:buNone/>
              <a:defRPr baseline="0"/>
            </a:lvl1pPr>
          </a:lstStyle>
          <a:p>
            <a:pPr lvl="0"/>
            <a:r>
              <a:rPr lang="en-US" dirty="0" err="1"/>
              <a:t>Bild</a:t>
            </a:r>
            <a:endParaRPr lang="en-US" dirty="0"/>
          </a:p>
        </p:txBody>
      </p:sp>
      <p:sp>
        <p:nvSpPr>
          <p:cNvPr id="7" name="Slide Number Placeholder 2"/>
          <p:cNvSpPr txBox="1">
            <a:spLocks/>
          </p:cNvSpPr>
          <p:nvPr/>
        </p:nvSpPr>
        <p:spPr>
          <a:xfrm>
            <a:off x="7134428" y="6538913"/>
            <a:ext cx="1552371" cy="319088"/>
          </a:xfrm>
          <a:prstGeom prst="rect">
            <a:avLst/>
          </a:prstGeom>
        </p:spPr>
        <p:txBody>
          <a:bodyPr/>
          <a:lstStyle>
            <a:defPPr>
              <a:defRPr lang="en-US"/>
            </a:defPPr>
            <a:lvl1pPr marL="0" algn="r" defTabSz="457200" rtl="0" eaLnBrk="1" latinLnBrk="0" hangingPunct="1">
              <a:defRPr sz="1200" kern="1200">
                <a:solidFill>
                  <a:schemeClr val="tx1"/>
                </a:solidFill>
                <a:latin typeface="Tahoma"/>
                <a:ea typeface="+mn-ea"/>
                <a:cs typeface="Tahom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F7A396E-8C2F-A045-AC4B-CC254D3BA2D9}" type="slidenum">
              <a:rPr lang="en-US" smtClean="0">
                <a:solidFill>
                  <a:schemeClr val="bg1"/>
                </a:solidFill>
              </a:rPr>
              <a:pPr/>
              <a:t>‹Nr.›</a:t>
            </a:fld>
            <a:endParaRPr lang="en-US" dirty="0">
              <a:solidFill>
                <a:schemeClr val="bg1"/>
              </a:solidFill>
            </a:endParaRPr>
          </a:p>
        </p:txBody>
      </p:sp>
    </p:spTree>
    <p:extLst>
      <p:ext uri="{BB962C8B-B14F-4D97-AF65-F5344CB8AC3E}">
        <p14:creationId xmlns:p14="http://schemas.microsoft.com/office/powerpoint/2010/main" xmlns="" val="4290345969"/>
      </p:ext>
    </p:extLst>
  </p:cSld>
  <p:clrMapOvr>
    <a:masterClrMapping/>
  </p:clrMapOvr>
  <p:transition spd="slow">
    <p:pull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ext 3 Bilder un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1"/>
            <a:ext cx="8229600" cy="1143000"/>
          </a:xfrm>
        </p:spPr>
        <p:txBody>
          <a:bodyPr/>
          <a:lstStyle/>
          <a:p>
            <a:r>
              <a:rPr lang="de-AT" dirty="0"/>
              <a:t>Titel</a:t>
            </a:r>
            <a:endParaRPr lang="en-US" dirty="0"/>
          </a:p>
        </p:txBody>
      </p:sp>
      <p:sp>
        <p:nvSpPr>
          <p:cNvPr id="3" name="Content Placeholder 2"/>
          <p:cNvSpPr>
            <a:spLocks noGrp="1"/>
          </p:cNvSpPr>
          <p:nvPr>
            <p:ph idx="1" hasCustomPrompt="1"/>
          </p:nvPr>
        </p:nvSpPr>
        <p:spPr>
          <a:xfrm>
            <a:off x="457200" y="1600201"/>
            <a:ext cx="8229600" cy="2083990"/>
          </a:xfrm>
        </p:spPr>
        <p:txBody>
          <a:bodyPr>
            <a:normAutofit/>
          </a:bodyPr>
          <a:lstStyle>
            <a:lvl1pPr marL="0" indent="0">
              <a:buNone/>
              <a:defRPr sz="2400" baseline="0"/>
            </a:lvl1pPr>
          </a:lstStyle>
          <a:p>
            <a:pPr lvl="0"/>
            <a:r>
              <a:rPr lang="ro-RO" dirty="0"/>
              <a:t>Lorem ipsum dolor sit amet, consetetur sadipscing elitr, sed diam nonumy eirmod tempor invidunt ut labore et dolore magna aliquyam erat, sed diam voluptua. At vero eos et accusam et justo duo dolores et ea rebum. </a:t>
            </a:r>
            <a:endParaRPr lang="en-US" dirty="0"/>
          </a:p>
        </p:txBody>
      </p:sp>
      <p:sp>
        <p:nvSpPr>
          <p:cNvPr id="6"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
        <p:nvSpPr>
          <p:cNvPr id="7" name="Picture Placeholder 4"/>
          <p:cNvSpPr>
            <a:spLocks noGrp="1"/>
          </p:cNvSpPr>
          <p:nvPr>
            <p:ph type="pic" sz="quarter" idx="14" hasCustomPrompt="1"/>
          </p:nvPr>
        </p:nvSpPr>
        <p:spPr>
          <a:xfrm>
            <a:off x="3368420"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8" name="Picture Placeholder 4"/>
          <p:cNvSpPr>
            <a:spLocks noGrp="1"/>
          </p:cNvSpPr>
          <p:nvPr>
            <p:ph type="pic" sz="quarter" idx="15" hasCustomPrompt="1"/>
          </p:nvPr>
        </p:nvSpPr>
        <p:spPr>
          <a:xfrm>
            <a:off x="6237685"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9" name="Picture Placeholder 4"/>
          <p:cNvSpPr>
            <a:spLocks noGrp="1"/>
          </p:cNvSpPr>
          <p:nvPr>
            <p:ph type="pic" sz="quarter" idx="16" hasCustomPrompt="1"/>
          </p:nvPr>
        </p:nvSpPr>
        <p:spPr>
          <a:xfrm>
            <a:off x="457200" y="4051060"/>
            <a:ext cx="2449115" cy="2058469"/>
          </a:xfrm>
        </p:spPr>
        <p:txBody>
          <a:bodyPr/>
          <a:lstStyle>
            <a:lvl1pPr marL="0" indent="0">
              <a:buNone/>
              <a:defRPr/>
            </a:lvl1pPr>
          </a:lstStyle>
          <a:p>
            <a:r>
              <a:rPr lang="en-US" dirty="0" err="1"/>
              <a:t>Bild</a:t>
            </a:r>
            <a:r>
              <a:rPr lang="en-US" dirty="0"/>
              <a:t> </a:t>
            </a:r>
            <a:r>
              <a:rPr lang="en-US" dirty="0" err="1"/>
              <a:t>einfügen</a:t>
            </a:r>
            <a:endParaRPr lang="en-US" dirty="0"/>
          </a:p>
        </p:txBody>
      </p:sp>
    </p:spTree>
    <p:extLst>
      <p:ext uri="{BB962C8B-B14F-4D97-AF65-F5344CB8AC3E}">
        <p14:creationId xmlns:p14="http://schemas.microsoft.com/office/powerpoint/2010/main" xmlns="" val="2298112170"/>
      </p:ext>
    </p:extLst>
  </p:cSld>
  <p:clrMapOvr>
    <a:masterClrMapping/>
  </p:clrMapOvr>
  <p:transition spd="slow">
    <p:pull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Links - Bild Rech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1"/>
            <a:ext cx="4019956" cy="1143000"/>
          </a:xfrm>
        </p:spPr>
        <p:txBody>
          <a:bodyPr/>
          <a:lstStyle/>
          <a:p>
            <a:r>
              <a:rPr lang="de-AT" dirty="0"/>
              <a:t>Titel</a:t>
            </a:r>
            <a:endParaRPr lang="en-US" dirty="0"/>
          </a:p>
        </p:txBody>
      </p:sp>
      <p:sp>
        <p:nvSpPr>
          <p:cNvPr id="3" name="Content Placeholder 2"/>
          <p:cNvSpPr>
            <a:spLocks noGrp="1"/>
          </p:cNvSpPr>
          <p:nvPr>
            <p:ph idx="1" hasCustomPrompt="1"/>
          </p:nvPr>
        </p:nvSpPr>
        <p:spPr>
          <a:xfrm>
            <a:off x="457199" y="1600200"/>
            <a:ext cx="4019957" cy="4509329"/>
          </a:xfrm>
        </p:spPr>
        <p:txBody>
          <a:bodyPr>
            <a:normAutofit/>
          </a:bodyPr>
          <a:lstStyle>
            <a:lvl1pPr marL="0" indent="0">
              <a:buNone/>
              <a:defRPr sz="2400" baseline="0"/>
            </a:lvl1pPr>
          </a:lstStyle>
          <a:p>
            <a:pPr lvl="0"/>
            <a:r>
              <a:rPr lang="ro-RO" dirty="0"/>
              <a:t>Lorem ipsum dolor sit amet, consetetur sadipscing elitr, sed diam nonumy eirmod tempor invidunt ut labore et dolore magna aliquyam erat, sed diam voluptua. At vero eos et accusam et justo duo dolores et ea rebum. </a:t>
            </a:r>
            <a:endParaRPr lang="en-US" dirty="0"/>
          </a:p>
        </p:txBody>
      </p:sp>
      <p:sp>
        <p:nvSpPr>
          <p:cNvPr id="8" name="Picture Placeholder 4"/>
          <p:cNvSpPr>
            <a:spLocks noGrp="1"/>
          </p:cNvSpPr>
          <p:nvPr>
            <p:ph type="pic" sz="quarter" idx="15" hasCustomPrompt="1"/>
          </p:nvPr>
        </p:nvSpPr>
        <p:spPr>
          <a:xfrm>
            <a:off x="4670880" y="457202"/>
            <a:ext cx="4015921" cy="5652328"/>
          </a:xfrm>
        </p:spPr>
        <p:txBody>
          <a:bodyPr/>
          <a:lstStyle>
            <a:lvl1pPr marL="0" indent="0">
              <a:buNone/>
              <a:defRPr/>
            </a:lvl1pPr>
          </a:lstStyle>
          <a:p>
            <a:r>
              <a:rPr lang="en-US" dirty="0" err="1"/>
              <a:t>Bild</a:t>
            </a:r>
            <a:r>
              <a:rPr lang="en-US" dirty="0"/>
              <a:t> </a:t>
            </a:r>
            <a:r>
              <a:rPr lang="en-US" dirty="0" err="1"/>
              <a:t>einfügen</a:t>
            </a:r>
            <a:endParaRPr lang="en-US" dirty="0"/>
          </a:p>
        </p:txBody>
      </p:sp>
      <p:sp>
        <p:nvSpPr>
          <p:cNvPr id="7" name="Slide Number Placeholder 5"/>
          <p:cNvSpPr>
            <a:spLocks noGrp="1"/>
          </p:cNvSpPr>
          <p:nvPr>
            <p:ph type="sldNum" sz="quarter" idx="12"/>
          </p:nvPr>
        </p:nvSpPr>
        <p:spPr>
          <a:xfrm>
            <a:off x="7252811" y="6538913"/>
            <a:ext cx="1433989" cy="319088"/>
          </a:xfrm>
          <a:prstGeom prst="rect">
            <a:avLst/>
          </a:prstGeom>
        </p:spPr>
        <p:txBody>
          <a:bodyPr/>
          <a:lstStyle>
            <a:lvl1pPr algn="r">
              <a:defRPr sz="1200">
                <a:latin typeface="Tahoma"/>
                <a:cs typeface="Tahoma"/>
              </a:defRPr>
            </a:lvl1pPr>
          </a:lstStyle>
          <a:p>
            <a:fld id="{DD2611B0-6EF2-4356-BA17-FADEB37056A6}" type="slidenum">
              <a:rPr lang="de-DE" smtClean="0"/>
              <a:pPr/>
              <a:t>‹Nr.›</a:t>
            </a:fld>
            <a:endParaRPr lang="de-DE"/>
          </a:p>
        </p:txBody>
      </p:sp>
    </p:spTree>
    <p:extLst>
      <p:ext uri="{BB962C8B-B14F-4D97-AF65-F5344CB8AC3E}">
        <p14:creationId xmlns:p14="http://schemas.microsoft.com/office/powerpoint/2010/main" xmlns="" val="1960363620"/>
      </p:ext>
    </p:extLst>
  </p:cSld>
  <p:clrMapOvr>
    <a:masterClrMapping/>
  </p:clrMapOvr>
  <p:transition spd="slow">
    <p:pull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8" cstate="print"/>
          <a:stretch>
            <a:fillRect/>
          </a:stretch>
        </a:blip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012B7D04-F283-4AAB-94C7-87CCAA2CC188}"/>
              </a:ext>
            </a:extLst>
          </p:cNvPr>
          <p:cNvGraphicFramePr>
            <a:graphicFrameLocks noChangeAspect="1"/>
          </p:cNvGraphicFramePr>
          <p:nvPr userDrawn="1">
            <p:extLst>
              <p:ext uri="{D42A27DB-BD31-4B8C-83A1-F6EECF244321}">
                <p14:modId xmlns:p14="http://schemas.microsoft.com/office/powerpoint/2010/main" xmlns="" val="3912665637"/>
              </p:ext>
            </p:extLst>
          </p:nvPr>
        </p:nvGraphicFramePr>
        <p:xfrm>
          <a:off x="1588" y="1588"/>
          <a:ext cx="1588" cy="1588"/>
        </p:xfrm>
        <a:graphic>
          <a:graphicData uri="http://schemas.openxmlformats.org/presentationml/2006/ole">
            <p:oleObj spid="_x0000_s1033" name="think-cell Folie" r:id="rId19" imgW="360" imgH="360" progId="">
              <p:embed/>
            </p:oleObj>
          </a:graphicData>
        </a:graphic>
      </p:graphicFrame>
      <p:sp>
        <p:nvSpPr>
          <p:cNvPr id="4" name="Rechteck 3" hidden="1">
            <a:extLst>
              <a:ext uri="{FF2B5EF4-FFF2-40B4-BE49-F238E27FC236}">
                <a16:creationId xmlns:a16="http://schemas.microsoft.com/office/drawing/2014/main" xmlns="" id="{8AC273BE-211B-41C3-9F10-0E1F704854F0}"/>
              </a:ext>
            </a:extLst>
          </p:cNvPr>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de-AT" sz="4000" b="0" i="0" baseline="0" dirty="0">
              <a:latin typeface="Tahoma" panose="020B0604030504040204" pitchFamily="34" charset="0"/>
              <a:ea typeface="+mj-ea"/>
              <a:cs typeface="+mj-cs"/>
              <a:sym typeface="Tahoma" panose="020B0604030504040204" pitchFamily="34" charset="0"/>
            </a:endParaRPr>
          </a:p>
        </p:txBody>
      </p:sp>
      <p:sp>
        <p:nvSpPr>
          <p:cNvPr id="2" name="Title Placeholder 1"/>
          <p:cNvSpPr>
            <a:spLocks noGrp="1"/>
          </p:cNvSpPr>
          <p:nvPr>
            <p:ph type="title"/>
          </p:nvPr>
        </p:nvSpPr>
        <p:spPr>
          <a:xfrm>
            <a:off x="457200" y="457200"/>
            <a:ext cx="8229600" cy="1143000"/>
          </a:xfrm>
          <a:prstGeom prst="rect">
            <a:avLst/>
          </a:prstGeom>
        </p:spPr>
        <p:txBody>
          <a:bodyPr vert="horz" lIns="91440" tIns="45720" rIns="91440" bIns="45720" rtlCol="0" anchor="t" anchorCtr="0">
            <a:normAutofit/>
          </a:bodyPr>
          <a:lstStyle/>
          <a:p>
            <a:r>
              <a:rPr lang="de-AT" dirty="0"/>
              <a:t>Hier Titel einfügen</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AT" dirty="0"/>
              <a:t>Auflistung erste Ebene</a:t>
            </a:r>
          </a:p>
          <a:p>
            <a:pPr lvl="1"/>
            <a:r>
              <a:rPr lang="de-AT" dirty="0"/>
              <a:t>Zweite Ebene</a:t>
            </a:r>
          </a:p>
          <a:p>
            <a:pPr lvl="2"/>
            <a:r>
              <a:rPr lang="de-AT" dirty="0"/>
              <a:t>Dritte</a:t>
            </a:r>
          </a:p>
          <a:p>
            <a:pPr lvl="3"/>
            <a:r>
              <a:rPr lang="de-AT" dirty="0"/>
              <a:t>Vierte</a:t>
            </a:r>
          </a:p>
          <a:p>
            <a:pPr lvl="4"/>
            <a:r>
              <a:rPr lang="de-AT" dirty="0"/>
              <a:t>Fünfte</a:t>
            </a:r>
            <a:endParaRPr lang="en-US" dirty="0"/>
          </a:p>
        </p:txBody>
      </p:sp>
      <p:sp>
        <p:nvSpPr>
          <p:cNvPr id="12" name="Slide Number Placeholder 5"/>
          <p:cNvSpPr>
            <a:spLocks noGrp="1"/>
          </p:cNvSpPr>
          <p:nvPr>
            <p:ph type="sldNum" sz="quarter" idx="4"/>
          </p:nvPr>
        </p:nvSpPr>
        <p:spPr>
          <a:xfrm>
            <a:off x="7252811" y="6538913"/>
            <a:ext cx="1433989" cy="319088"/>
          </a:xfrm>
          <a:prstGeom prst="rect">
            <a:avLst/>
          </a:prstGeom>
        </p:spPr>
        <p:txBody>
          <a:bodyPr/>
          <a:lstStyle>
            <a:lvl1pPr algn="r">
              <a:defRPr sz="1200">
                <a:solidFill>
                  <a:schemeClr val="bg1"/>
                </a:solidFill>
                <a:latin typeface="Tahoma"/>
                <a:cs typeface="Tahoma"/>
              </a:defRPr>
            </a:lvl1pPr>
          </a:lstStyle>
          <a:p>
            <a:fld id="{DD2611B0-6EF2-4356-BA17-FADEB37056A6}" type="slidenum">
              <a:rPr lang="de-DE" smtClean="0"/>
              <a:pPr/>
              <a:t>‹Nr.›</a:t>
            </a:fld>
            <a:endParaRPr lang="de-DE"/>
          </a:p>
        </p:txBody>
      </p:sp>
    </p:spTree>
    <p:extLst>
      <p:ext uri="{BB962C8B-B14F-4D97-AF65-F5344CB8AC3E}">
        <p14:creationId xmlns:p14="http://schemas.microsoft.com/office/powerpoint/2010/main" xmlns="" val="27535407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Lst>
  <p:transition spd="slow">
    <p:pull dir="d"/>
  </p:transition>
  <p:txStyles>
    <p:titleStyle>
      <a:lvl1pPr algn="l" defTabSz="457200" rtl="0" eaLnBrk="1" latinLnBrk="0" hangingPunct="1">
        <a:spcBef>
          <a:spcPct val="0"/>
        </a:spcBef>
        <a:buNone/>
        <a:defRPr sz="4000" kern="1200">
          <a:solidFill>
            <a:schemeClr val="tx1"/>
          </a:solidFill>
          <a:latin typeface="Tahoma"/>
          <a:ea typeface="+mj-ea"/>
          <a:cs typeface="+mj-cs"/>
        </a:defRPr>
      </a:lvl1pPr>
    </p:titleStyle>
    <p:bodyStyle>
      <a:lvl1pPr marL="342900" indent="-342900" algn="l" defTabSz="457200" rtl="0" eaLnBrk="1" latinLnBrk="0" hangingPunct="1">
        <a:spcBef>
          <a:spcPct val="20000"/>
        </a:spcBef>
        <a:buFont typeface="Lucida Grande"/>
        <a:buChar char="»"/>
        <a:defRPr sz="2800" b="0" i="0" kern="120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slideLayout" Target="../slideLayouts/slideLayout2.xml"/><Relationship Id="rId7" Type="http://schemas.openxmlformats.org/officeDocument/2006/relationships/diagramQuickStyle" Target="../diagrams/quickStyle3.xml"/><Relationship Id="rId2" Type="http://schemas.openxmlformats.org/officeDocument/2006/relationships/tags" Target="../tags/tag9.xml"/><Relationship Id="rId1" Type="http://schemas.openxmlformats.org/officeDocument/2006/relationships/vmlDrawing" Target="../drawings/vmlDrawing11.v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oleObject" Target="../embeddings/oleObject11.bin"/><Relationship Id="rId9" Type="http://schemas.microsoft.com/office/2007/relationships/diagramDrawing" Target="../diagrams/drawing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6.vml"/><Relationship Id="rId5" Type="http://schemas.openxmlformats.org/officeDocument/2006/relationships/image" Target="../media/image30.png"/><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2.xml"/><Relationship Id="rId7" Type="http://schemas.openxmlformats.org/officeDocument/2006/relationships/diagramQuickStyle" Target="../diagrams/quickStyle4.xml"/><Relationship Id="rId2" Type="http://schemas.openxmlformats.org/officeDocument/2006/relationships/tags" Target="../tags/tag15.xml"/><Relationship Id="rId1" Type="http://schemas.openxmlformats.org/officeDocument/2006/relationships/vmlDrawing" Target="../drawings/vmlDrawing17.v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oleObject" Target="../embeddings/oleObject17.bin"/><Relationship Id="rId9" Type="http://schemas.microsoft.com/office/2007/relationships/diagramDrawing" Target="../diagrams/drawing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customXml" Target="../ink/ink25.xml"/><Relationship Id="rId18" Type="http://schemas.openxmlformats.org/officeDocument/2006/relationships/image" Target="../media/image36.png"/><Relationship Id="rId26" Type="http://schemas.openxmlformats.org/officeDocument/2006/relationships/image" Target="../media/image40.png"/><Relationship Id="rId39" Type="http://schemas.openxmlformats.org/officeDocument/2006/relationships/customXml" Target="../ink/ink38.xml"/><Relationship Id="rId3" Type="http://schemas.openxmlformats.org/officeDocument/2006/relationships/slideLayout" Target="../slideLayouts/slideLayout2.xml"/><Relationship Id="rId21" Type="http://schemas.openxmlformats.org/officeDocument/2006/relationships/customXml" Target="../ink/ink29.xml"/><Relationship Id="rId34" Type="http://schemas.openxmlformats.org/officeDocument/2006/relationships/image" Target="../media/image44.png"/><Relationship Id="rId42" Type="http://schemas.openxmlformats.org/officeDocument/2006/relationships/image" Target="../media/image48.png"/><Relationship Id="rId7" Type="http://schemas.openxmlformats.org/officeDocument/2006/relationships/customXml" Target="../ink/ink22.xml"/><Relationship Id="rId12" Type="http://schemas.openxmlformats.org/officeDocument/2006/relationships/image" Target="../media/image33.png"/><Relationship Id="rId17" Type="http://schemas.openxmlformats.org/officeDocument/2006/relationships/customXml" Target="../ink/ink27.xml"/><Relationship Id="rId25" Type="http://schemas.openxmlformats.org/officeDocument/2006/relationships/customXml" Target="../ink/ink31.xml"/><Relationship Id="rId33" Type="http://schemas.openxmlformats.org/officeDocument/2006/relationships/customXml" Target="../ink/ink35.xml"/><Relationship Id="rId38" Type="http://schemas.openxmlformats.org/officeDocument/2006/relationships/image" Target="../media/image46.png"/><Relationship Id="rId2" Type="http://schemas.openxmlformats.org/officeDocument/2006/relationships/tags" Target="../tags/tag17.xml"/><Relationship Id="rId16" Type="http://schemas.openxmlformats.org/officeDocument/2006/relationships/image" Target="../media/image35.png"/><Relationship Id="rId20" Type="http://schemas.openxmlformats.org/officeDocument/2006/relationships/image" Target="../media/image37.png"/><Relationship Id="rId29" Type="http://schemas.openxmlformats.org/officeDocument/2006/relationships/customXml" Target="../ink/ink33.xml"/><Relationship Id="rId41" Type="http://schemas.openxmlformats.org/officeDocument/2006/relationships/customXml" Target="../ink/ink39.xml"/><Relationship Id="rId1" Type="http://schemas.openxmlformats.org/officeDocument/2006/relationships/vmlDrawing" Target="../drawings/vmlDrawing19.vml"/><Relationship Id="rId11" Type="http://schemas.openxmlformats.org/officeDocument/2006/relationships/customXml" Target="../ink/ink24.xml"/><Relationship Id="rId24" Type="http://schemas.openxmlformats.org/officeDocument/2006/relationships/image" Target="../media/image39.png"/><Relationship Id="rId32" Type="http://schemas.openxmlformats.org/officeDocument/2006/relationships/image" Target="../media/image43.png"/><Relationship Id="rId37" Type="http://schemas.openxmlformats.org/officeDocument/2006/relationships/customXml" Target="../ink/ink37.xml"/><Relationship Id="rId40" Type="http://schemas.openxmlformats.org/officeDocument/2006/relationships/image" Target="../media/image47.png"/><Relationship Id="rId15" Type="http://schemas.openxmlformats.org/officeDocument/2006/relationships/customXml" Target="../ink/ink26.xml"/><Relationship Id="rId23" Type="http://schemas.openxmlformats.org/officeDocument/2006/relationships/customXml" Target="../ink/ink30.xml"/><Relationship Id="rId28" Type="http://schemas.openxmlformats.org/officeDocument/2006/relationships/image" Target="../media/image41.png"/><Relationship Id="rId36" Type="http://schemas.openxmlformats.org/officeDocument/2006/relationships/image" Target="../media/image45.png"/><Relationship Id="rId10" Type="http://schemas.openxmlformats.org/officeDocument/2006/relationships/image" Target="../media/image32.png"/><Relationship Id="rId19" Type="http://schemas.openxmlformats.org/officeDocument/2006/relationships/customXml" Target="../ink/ink28.xml"/><Relationship Id="rId31" Type="http://schemas.openxmlformats.org/officeDocument/2006/relationships/customXml" Target="../ink/ink34.xml"/><Relationship Id="rId4" Type="http://schemas.openxmlformats.org/officeDocument/2006/relationships/oleObject" Target="../embeddings/oleObject19.bin"/><Relationship Id="rId9" Type="http://schemas.openxmlformats.org/officeDocument/2006/relationships/customXml" Target="../ink/ink23.xml"/><Relationship Id="rId14" Type="http://schemas.openxmlformats.org/officeDocument/2006/relationships/image" Target="../media/image34.png"/><Relationship Id="rId22" Type="http://schemas.openxmlformats.org/officeDocument/2006/relationships/image" Target="../media/image38.png"/><Relationship Id="rId27" Type="http://schemas.openxmlformats.org/officeDocument/2006/relationships/customXml" Target="../ink/ink32.xml"/><Relationship Id="rId30" Type="http://schemas.openxmlformats.org/officeDocument/2006/relationships/image" Target="../media/image42.png"/><Relationship Id="rId35" Type="http://schemas.openxmlformats.org/officeDocument/2006/relationships/customXml" Target="../ink/ink3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customXml" Target="../ink/ink43.xml"/><Relationship Id="rId18" Type="http://schemas.openxmlformats.org/officeDocument/2006/relationships/image" Target="../media/image54.png"/><Relationship Id="rId26" Type="http://schemas.openxmlformats.org/officeDocument/2006/relationships/image" Target="../media/image58.png"/><Relationship Id="rId3" Type="http://schemas.openxmlformats.org/officeDocument/2006/relationships/slideLayout" Target="../slideLayouts/slideLayout2.xml"/><Relationship Id="rId21" Type="http://schemas.openxmlformats.org/officeDocument/2006/relationships/customXml" Target="../ink/ink47.xml"/><Relationship Id="rId7" Type="http://schemas.openxmlformats.org/officeDocument/2006/relationships/customXml" Target="../ink/ink40.xml"/><Relationship Id="rId12" Type="http://schemas.openxmlformats.org/officeDocument/2006/relationships/image" Target="../media/image51.png"/><Relationship Id="rId17" Type="http://schemas.openxmlformats.org/officeDocument/2006/relationships/customXml" Target="../ink/ink45.xml"/><Relationship Id="rId25" Type="http://schemas.openxmlformats.org/officeDocument/2006/relationships/customXml" Target="../ink/ink49.xml"/><Relationship Id="rId2" Type="http://schemas.openxmlformats.org/officeDocument/2006/relationships/tags" Target="../tags/tag19.xml"/><Relationship Id="rId16" Type="http://schemas.openxmlformats.org/officeDocument/2006/relationships/image" Target="../media/image53.png"/><Relationship Id="rId20" Type="http://schemas.openxmlformats.org/officeDocument/2006/relationships/image" Target="../media/image55.png"/><Relationship Id="rId29" Type="http://schemas.openxmlformats.org/officeDocument/2006/relationships/customXml" Target="../ink/ink51.xml"/><Relationship Id="rId1" Type="http://schemas.openxmlformats.org/officeDocument/2006/relationships/vmlDrawing" Target="../drawings/vmlDrawing21.vml"/><Relationship Id="rId11" Type="http://schemas.openxmlformats.org/officeDocument/2006/relationships/customXml" Target="../ink/ink42.xml"/><Relationship Id="rId24" Type="http://schemas.openxmlformats.org/officeDocument/2006/relationships/image" Target="../media/image57.png"/><Relationship Id="rId15" Type="http://schemas.openxmlformats.org/officeDocument/2006/relationships/customXml" Target="../ink/ink44.xml"/><Relationship Id="rId23" Type="http://schemas.openxmlformats.org/officeDocument/2006/relationships/customXml" Target="../ink/ink48.xml"/><Relationship Id="rId28" Type="http://schemas.openxmlformats.org/officeDocument/2006/relationships/image" Target="../media/image59.png"/><Relationship Id="rId10" Type="http://schemas.openxmlformats.org/officeDocument/2006/relationships/image" Target="../media/image50.png"/><Relationship Id="rId19" Type="http://schemas.openxmlformats.org/officeDocument/2006/relationships/customXml" Target="../ink/ink46.xml"/><Relationship Id="rId4" Type="http://schemas.openxmlformats.org/officeDocument/2006/relationships/oleObject" Target="../embeddings/oleObject21.bin"/><Relationship Id="rId9" Type="http://schemas.openxmlformats.org/officeDocument/2006/relationships/customXml" Target="../ink/ink41.xml"/><Relationship Id="rId14" Type="http://schemas.openxmlformats.org/officeDocument/2006/relationships/image" Target="../media/image52.png"/><Relationship Id="rId22" Type="http://schemas.openxmlformats.org/officeDocument/2006/relationships/image" Target="../media/image56.png"/><Relationship Id="rId27" Type="http://schemas.openxmlformats.org/officeDocument/2006/relationships/customXml" Target="../ink/ink50.xml"/><Relationship Id="rId30"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22.v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26" Type="http://schemas.openxmlformats.org/officeDocument/2006/relationships/image" Target="../media/image70.png"/><Relationship Id="rId117" Type="http://schemas.openxmlformats.org/officeDocument/2006/relationships/customXml" Target="../ink/ink105.xml"/><Relationship Id="rId21" Type="http://schemas.openxmlformats.org/officeDocument/2006/relationships/customXml" Target="../ink/ink59.xml"/><Relationship Id="rId42" Type="http://schemas.openxmlformats.org/officeDocument/2006/relationships/image" Target="../media/image78.png"/><Relationship Id="rId47" Type="http://schemas.openxmlformats.org/officeDocument/2006/relationships/image" Target="../media/image81.png"/><Relationship Id="rId63" Type="http://schemas.openxmlformats.org/officeDocument/2006/relationships/customXml" Target="../ink/ink78.xml"/><Relationship Id="rId68" Type="http://schemas.openxmlformats.org/officeDocument/2006/relationships/image" Target="../media/image91.png"/><Relationship Id="rId84" Type="http://schemas.openxmlformats.org/officeDocument/2006/relationships/image" Target="../media/image99.png"/><Relationship Id="rId89" Type="http://schemas.openxmlformats.org/officeDocument/2006/relationships/customXml" Target="../ink/ink91.xml"/><Relationship Id="rId112" Type="http://schemas.openxmlformats.org/officeDocument/2006/relationships/image" Target="../media/image113.png"/><Relationship Id="rId133" Type="http://schemas.openxmlformats.org/officeDocument/2006/relationships/customXml" Target="../ink/ink113.xml"/><Relationship Id="rId138" Type="http://schemas.openxmlformats.org/officeDocument/2006/relationships/image" Target="../media/image126.png"/><Relationship Id="rId154" Type="http://schemas.openxmlformats.org/officeDocument/2006/relationships/image" Target="../media/image134.png"/><Relationship Id="rId159" Type="http://schemas.openxmlformats.org/officeDocument/2006/relationships/customXml" Target="../ink/ink126.xml"/><Relationship Id="rId175" Type="http://schemas.openxmlformats.org/officeDocument/2006/relationships/customXml" Target="../ink/ink133.xml"/><Relationship Id="rId170" Type="http://schemas.openxmlformats.org/officeDocument/2006/relationships/image" Target="../media/image142.png"/><Relationship Id="rId191" Type="http://schemas.openxmlformats.org/officeDocument/2006/relationships/customXml" Target="../ink/ink141.xml"/><Relationship Id="rId16" Type="http://schemas.openxmlformats.org/officeDocument/2006/relationships/image" Target="../media/image65.png"/><Relationship Id="rId107" Type="http://schemas.openxmlformats.org/officeDocument/2006/relationships/customXml" Target="../ink/ink100.xml"/><Relationship Id="rId11" Type="http://schemas.openxmlformats.org/officeDocument/2006/relationships/customXml" Target="../ink/ink54.xml"/><Relationship Id="rId32" Type="http://schemas.openxmlformats.org/officeDocument/2006/relationships/image" Target="../media/image73.png"/><Relationship Id="rId37" Type="http://schemas.openxmlformats.org/officeDocument/2006/relationships/customXml" Target="../ink/ink67.xml"/><Relationship Id="rId53" Type="http://schemas.openxmlformats.org/officeDocument/2006/relationships/customXml" Target="../ink/ink73.xml"/><Relationship Id="rId58" Type="http://schemas.openxmlformats.org/officeDocument/2006/relationships/image" Target="../media/image86.png"/><Relationship Id="rId74" Type="http://schemas.openxmlformats.org/officeDocument/2006/relationships/image" Target="../media/image94.png"/><Relationship Id="rId79" Type="http://schemas.openxmlformats.org/officeDocument/2006/relationships/customXml" Target="../ink/ink86.xml"/><Relationship Id="rId102" Type="http://schemas.openxmlformats.org/officeDocument/2006/relationships/image" Target="../media/image108.png"/><Relationship Id="rId123" Type="http://schemas.openxmlformats.org/officeDocument/2006/relationships/customXml" Target="../ink/ink108.xml"/><Relationship Id="rId128" Type="http://schemas.openxmlformats.org/officeDocument/2006/relationships/image" Target="../media/image121.png"/><Relationship Id="rId144" Type="http://schemas.openxmlformats.org/officeDocument/2006/relationships/image" Target="../media/image129.png"/><Relationship Id="rId149" Type="http://schemas.openxmlformats.org/officeDocument/2006/relationships/customXml" Target="../ink/ink121.xml"/><Relationship Id="rId90" Type="http://schemas.openxmlformats.org/officeDocument/2006/relationships/image" Target="../media/image102.png"/><Relationship Id="rId95" Type="http://schemas.openxmlformats.org/officeDocument/2006/relationships/customXml" Target="../ink/ink94.xml"/><Relationship Id="rId160" Type="http://schemas.openxmlformats.org/officeDocument/2006/relationships/image" Target="../media/image137.png"/><Relationship Id="rId165" Type="http://schemas.openxmlformats.org/officeDocument/2006/relationships/image" Target="../media/image140.png"/><Relationship Id="rId181" Type="http://schemas.openxmlformats.org/officeDocument/2006/relationships/customXml" Target="../ink/ink136.xml"/><Relationship Id="rId186" Type="http://schemas.openxmlformats.org/officeDocument/2006/relationships/image" Target="../media/image150.png"/><Relationship Id="rId22" Type="http://schemas.openxmlformats.org/officeDocument/2006/relationships/image" Target="../media/image68.png"/><Relationship Id="rId27" Type="http://schemas.openxmlformats.org/officeDocument/2006/relationships/customXml" Target="../ink/ink62.xml"/><Relationship Id="rId43" Type="http://schemas.openxmlformats.org/officeDocument/2006/relationships/customXml" Target="../ink/ink70.xml"/><Relationship Id="rId48" Type="http://schemas.openxmlformats.org/officeDocument/2006/relationships/image" Target="../media/image82.png"/><Relationship Id="rId64" Type="http://schemas.openxmlformats.org/officeDocument/2006/relationships/image" Target="../media/image89.png"/><Relationship Id="rId69" Type="http://schemas.openxmlformats.org/officeDocument/2006/relationships/customXml" Target="../ink/ink81.xml"/><Relationship Id="rId113" Type="http://schemas.openxmlformats.org/officeDocument/2006/relationships/customXml" Target="../ink/ink103.xml"/><Relationship Id="rId118" Type="http://schemas.openxmlformats.org/officeDocument/2006/relationships/image" Target="../media/image116.png"/><Relationship Id="rId134" Type="http://schemas.openxmlformats.org/officeDocument/2006/relationships/image" Target="../media/image124.png"/><Relationship Id="rId139" Type="http://schemas.openxmlformats.org/officeDocument/2006/relationships/customXml" Target="../ink/ink116.xml"/><Relationship Id="rId80" Type="http://schemas.openxmlformats.org/officeDocument/2006/relationships/image" Target="../media/image97.png"/><Relationship Id="rId85" Type="http://schemas.openxmlformats.org/officeDocument/2006/relationships/customXml" Target="../ink/ink89.xml"/><Relationship Id="rId150" Type="http://schemas.openxmlformats.org/officeDocument/2006/relationships/image" Target="../media/image132.png"/><Relationship Id="rId155" Type="http://schemas.openxmlformats.org/officeDocument/2006/relationships/customXml" Target="../ink/ink124.xml"/><Relationship Id="rId171" Type="http://schemas.openxmlformats.org/officeDocument/2006/relationships/customXml" Target="../ink/ink131.xml"/><Relationship Id="rId176" Type="http://schemas.openxmlformats.org/officeDocument/2006/relationships/image" Target="../media/image145.png"/><Relationship Id="rId192" Type="http://schemas.openxmlformats.org/officeDocument/2006/relationships/image" Target="../media/image153.png"/><Relationship Id="rId12" Type="http://schemas.openxmlformats.org/officeDocument/2006/relationships/image" Target="../media/image63.png"/><Relationship Id="rId17" Type="http://schemas.openxmlformats.org/officeDocument/2006/relationships/customXml" Target="../ink/ink57.xml"/><Relationship Id="rId33" Type="http://schemas.openxmlformats.org/officeDocument/2006/relationships/customXml" Target="../ink/ink65.xml"/><Relationship Id="rId38" Type="http://schemas.openxmlformats.org/officeDocument/2006/relationships/image" Target="../media/image76.png"/><Relationship Id="rId59" Type="http://schemas.openxmlformats.org/officeDocument/2006/relationships/customXml" Target="../ink/ink76.xml"/><Relationship Id="rId103" Type="http://schemas.openxmlformats.org/officeDocument/2006/relationships/customXml" Target="../ink/ink98.xml"/><Relationship Id="rId108" Type="http://schemas.openxmlformats.org/officeDocument/2006/relationships/image" Target="../media/image111.png"/><Relationship Id="rId124" Type="http://schemas.openxmlformats.org/officeDocument/2006/relationships/image" Target="../media/image119.png"/><Relationship Id="rId129" Type="http://schemas.openxmlformats.org/officeDocument/2006/relationships/customXml" Target="../ink/ink111.xml"/><Relationship Id="rId54" Type="http://schemas.openxmlformats.org/officeDocument/2006/relationships/image" Target="../media/image84.png"/><Relationship Id="rId70" Type="http://schemas.openxmlformats.org/officeDocument/2006/relationships/image" Target="../media/image92.png"/><Relationship Id="rId75" Type="http://schemas.openxmlformats.org/officeDocument/2006/relationships/customXml" Target="../ink/ink84.xml"/><Relationship Id="rId91" Type="http://schemas.openxmlformats.org/officeDocument/2006/relationships/customXml" Target="../ink/ink92.xml"/><Relationship Id="rId96" Type="http://schemas.openxmlformats.org/officeDocument/2006/relationships/image" Target="../media/image105.png"/><Relationship Id="rId140" Type="http://schemas.openxmlformats.org/officeDocument/2006/relationships/image" Target="../media/image127.png"/><Relationship Id="rId145" Type="http://schemas.openxmlformats.org/officeDocument/2006/relationships/customXml" Target="../ink/ink119.xml"/><Relationship Id="rId161" Type="http://schemas.openxmlformats.org/officeDocument/2006/relationships/customXml" Target="../ink/ink127.xml"/><Relationship Id="rId166" Type="http://schemas.openxmlformats.org/officeDocument/2006/relationships/customXml" Target="../ink/ink129.xml"/><Relationship Id="rId182" Type="http://schemas.openxmlformats.org/officeDocument/2006/relationships/image" Target="../media/image148.png"/><Relationship Id="rId187" Type="http://schemas.openxmlformats.org/officeDocument/2006/relationships/customXml" Target="../ink/ink139.xml"/><Relationship Id="rId1" Type="http://schemas.openxmlformats.org/officeDocument/2006/relationships/vmlDrawing" Target="../drawings/vmlDrawing24.vml"/><Relationship Id="rId23" Type="http://schemas.openxmlformats.org/officeDocument/2006/relationships/customXml" Target="../ink/ink60.xml"/><Relationship Id="rId28" Type="http://schemas.openxmlformats.org/officeDocument/2006/relationships/image" Target="../media/image71.png"/><Relationship Id="rId49" Type="http://schemas.openxmlformats.org/officeDocument/2006/relationships/customXml" Target="../ink/ink72.xml"/><Relationship Id="rId114" Type="http://schemas.openxmlformats.org/officeDocument/2006/relationships/image" Target="../media/image114.png"/><Relationship Id="rId119" Type="http://schemas.openxmlformats.org/officeDocument/2006/relationships/customXml" Target="../ink/ink106.xml"/><Relationship Id="rId44" Type="http://schemas.openxmlformats.org/officeDocument/2006/relationships/image" Target="../media/image79.png"/><Relationship Id="rId60" Type="http://schemas.openxmlformats.org/officeDocument/2006/relationships/image" Target="../media/image87.png"/><Relationship Id="rId65" Type="http://schemas.openxmlformats.org/officeDocument/2006/relationships/customXml" Target="../ink/ink79.xml"/><Relationship Id="rId81" Type="http://schemas.openxmlformats.org/officeDocument/2006/relationships/customXml" Target="../ink/ink87.xml"/><Relationship Id="rId86" Type="http://schemas.openxmlformats.org/officeDocument/2006/relationships/image" Target="../media/image100.png"/><Relationship Id="rId130" Type="http://schemas.openxmlformats.org/officeDocument/2006/relationships/image" Target="../media/image122.png"/><Relationship Id="rId135" Type="http://schemas.openxmlformats.org/officeDocument/2006/relationships/customXml" Target="../ink/ink114.xml"/><Relationship Id="rId151" Type="http://schemas.openxmlformats.org/officeDocument/2006/relationships/customXml" Target="../ink/ink122.xml"/><Relationship Id="rId156" Type="http://schemas.openxmlformats.org/officeDocument/2006/relationships/image" Target="../media/image135.png"/><Relationship Id="rId177" Type="http://schemas.openxmlformats.org/officeDocument/2006/relationships/customXml" Target="../ink/ink134.xml"/><Relationship Id="rId172" Type="http://schemas.openxmlformats.org/officeDocument/2006/relationships/image" Target="../media/image143.png"/><Relationship Id="rId193" Type="http://schemas.openxmlformats.org/officeDocument/2006/relationships/customXml" Target="../ink/ink142.xml"/><Relationship Id="rId13" Type="http://schemas.openxmlformats.org/officeDocument/2006/relationships/customXml" Target="../ink/ink55.xml"/><Relationship Id="rId18" Type="http://schemas.openxmlformats.org/officeDocument/2006/relationships/image" Target="../media/image66.png"/><Relationship Id="rId39" Type="http://schemas.openxmlformats.org/officeDocument/2006/relationships/customXml" Target="../ink/ink68.xml"/><Relationship Id="rId109" Type="http://schemas.openxmlformats.org/officeDocument/2006/relationships/customXml" Target="../ink/ink101.xml"/><Relationship Id="rId34" Type="http://schemas.openxmlformats.org/officeDocument/2006/relationships/image" Target="../media/image74.png"/><Relationship Id="rId50" Type="http://schemas.openxmlformats.org/officeDocument/2006/relationships/image" Target="../media/image83.png"/><Relationship Id="rId55" Type="http://schemas.openxmlformats.org/officeDocument/2006/relationships/customXml" Target="../ink/ink74.xml"/><Relationship Id="rId76" Type="http://schemas.openxmlformats.org/officeDocument/2006/relationships/image" Target="../media/image95.png"/><Relationship Id="rId97" Type="http://schemas.openxmlformats.org/officeDocument/2006/relationships/customXml" Target="../ink/ink95.xml"/><Relationship Id="rId104" Type="http://schemas.openxmlformats.org/officeDocument/2006/relationships/image" Target="../media/image109.png"/><Relationship Id="rId120" Type="http://schemas.openxmlformats.org/officeDocument/2006/relationships/image" Target="../media/image117.png"/><Relationship Id="rId125" Type="http://schemas.openxmlformats.org/officeDocument/2006/relationships/customXml" Target="../ink/ink109.xml"/><Relationship Id="rId141" Type="http://schemas.openxmlformats.org/officeDocument/2006/relationships/customXml" Target="../ink/ink117.xml"/><Relationship Id="rId146" Type="http://schemas.openxmlformats.org/officeDocument/2006/relationships/image" Target="../media/image130.png"/><Relationship Id="rId167" Type="http://schemas.openxmlformats.org/officeDocument/2006/relationships/image" Target="../media/image141.png"/><Relationship Id="rId188" Type="http://schemas.openxmlformats.org/officeDocument/2006/relationships/image" Target="../media/image151.png"/><Relationship Id="rId7" Type="http://schemas.openxmlformats.org/officeDocument/2006/relationships/customXml" Target="../ink/ink52.xml"/><Relationship Id="rId71" Type="http://schemas.openxmlformats.org/officeDocument/2006/relationships/customXml" Target="../ink/ink82.xml"/><Relationship Id="rId92" Type="http://schemas.openxmlformats.org/officeDocument/2006/relationships/image" Target="../media/image103.png"/><Relationship Id="rId162" Type="http://schemas.openxmlformats.org/officeDocument/2006/relationships/image" Target="../media/image138.png"/><Relationship Id="rId183" Type="http://schemas.openxmlformats.org/officeDocument/2006/relationships/customXml" Target="../ink/ink137.xml"/><Relationship Id="rId2" Type="http://schemas.openxmlformats.org/officeDocument/2006/relationships/tags" Target="../tags/tag21.xml"/><Relationship Id="rId29" Type="http://schemas.openxmlformats.org/officeDocument/2006/relationships/customXml" Target="../ink/ink63.xml"/><Relationship Id="rId24" Type="http://schemas.openxmlformats.org/officeDocument/2006/relationships/image" Target="../media/image69.png"/><Relationship Id="rId40" Type="http://schemas.openxmlformats.org/officeDocument/2006/relationships/image" Target="../media/image77.png"/><Relationship Id="rId45" Type="http://schemas.openxmlformats.org/officeDocument/2006/relationships/customXml" Target="../ink/ink71.xml"/><Relationship Id="rId66" Type="http://schemas.openxmlformats.org/officeDocument/2006/relationships/image" Target="../media/image90.png"/><Relationship Id="rId87" Type="http://schemas.openxmlformats.org/officeDocument/2006/relationships/customXml" Target="../ink/ink90.xml"/><Relationship Id="rId110" Type="http://schemas.openxmlformats.org/officeDocument/2006/relationships/image" Target="../media/image112.png"/><Relationship Id="rId115" Type="http://schemas.openxmlformats.org/officeDocument/2006/relationships/customXml" Target="../ink/ink104.xml"/><Relationship Id="rId131" Type="http://schemas.openxmlformats.org/officeDocument/2006/relationships/customXml" Target="../ink/ink112.xml"/><Relationship Id="rId136" Type="http://schemas.openxmlformats.org/officeDocument/2006/relationships/image" Target="../media/image125.png"/><Relationship Id="rId157" Type="http://schemas.openxmlformats.org/officeDocument/2006/relationships/customXml" Target="../ink/ink125.xml"/><Relationship Id="rId178" Type="http://schemas.openxmlformats.org/officeDocument/2006/relationships/image" Target="../media/image146.png"/><Relationship Id="rId61" Type="http://schemas.openxmlformats.org/officeDocument/2006/relationships/customXml" Target="../ink/ink77.xml"/><Relationship Id="rId82" Type="http://schemas.openxmlformats.org/officeDocument/2006/relationships/image" Target="../media/image98.png"/><Relationship Id="rId152" Type="http://schemas.openxmlformats.org/officeDocument/2006/relationships/image" Target="../media/image133.png"/><Relationship Id="rId173" Type="http://schemas.openxmlformats.org/officeDocument/2006/relationships/customXml" Target="../ink/ink132.xml"/><Relationship Id="rId194" Type="http://schemas.openxmlformats.org/officeDocument/2006/relationships/image" Target="../media/image154.png"/><Relationship Id="rId19" Type="http://schemas.openxmlformats.org/officeDocument/2006/relationships/customXml" Target="../ink/ink58.xml"/><Relationship Id="rId14" Type="http://schemas.openxmlformats.org/officeDocument/2006/relationships/image" Target="../media/image64.png"/><Relationship Id="rId30" Type="http://schemas.openxmlformats.org/officeDocument/2006/relationships/image" Target="../media/image72.png"/><Relationship Id="rId35" Type="http://schemas.openxmlformats.org/officeDocument/2006/relationships/customXml" Target="../ink/ink66.xml"/><Relationship Id="rId56" Type="http://schemas.openxmlformats.org/officeDocument/2006/relationships/image" Target="../media/image85.png"/><Relationship Id="rId77" Type="http://schemas.openxmlformats.org/officeDocument/2006/relationships/customXml" Target="../ink/ink85.xml"/><Relationship Id="rId100" Type="http://schemas.openxmlformats.org/officeDocument/2006/relationships/image" Target="../media/image107.png"/><Relationship Id="rId105" Type="http://schemas.openxmlformats.org/officeDocument/2006/relationships/customXml" Target="../ink/ink99.xml"/><Relationship Id="rId126" Type="http://schemas.openxmlformats.org/officeDocument/2006/relationships/image" Target="../media/image120.png"/><Relationship Id="rId147" Type="http://schemas.openxmlformats.org/officeDocument/2006/relationships/customXml" Target="../ink/ink120.xml"/><Relationship Id="rId8" Type="http://schemas.openxmlformats.org/officeDocument/2006/relationships/image" Target="../media/image61.png"/><Relationship Id="rId72" Type="http://schemas.openxmlformats.org/officeDocument/2006/relationships/image" Target="../media/image93.png"/><Relationship Id="rId93" Type="http://schemas.openxmlformats.org/officeDocument/2006/relationships/customXml" Target="../ink/ink93.xml"/><Relationship Id="rId98" Type="http://schemas.openxmlformats.org/officeDocument/2006/relationships/image" Target="../media/image106.png"/><Relationship Id="rId121" Type="http://schemas.openxmlformats.org/officeDocument/2006/relationships/customXml" Target="../ink/ink107.xml"/><Relationship Id="rId142" Type="http://schemas.openxmlformats.org/officeDocument/2006/relationships/image" Target="../media/image128.png"/><Relationship Id="rId163" Type="http://schemas.openxmlformats.org/officeDocument/2006/relationships/customXml" Target="../ink/ink128.xml"/><Relationship Id="rId184" Type="http://schemas.openxmlformats.org/officeDocument/2006/relationships/image" Target="../media/image149.png"/><Relationship Id="rId189" Type="http://schemas.openxmlformats.org/officeDocument/2006/relationships/customXml" Target="../ink/ink140.xml"/><Relationship Id="rId3" Type="http://schemas.openxmlformats.org/officeDocument/2006/relationships/slideLayout" Target="../slideLayouts/slideLayout2.xml"/><Relationship Id="rId25" Type="http://schemas.openxmlformats.org/officeDocument/2006/relationships/customXml" Target="../ink/ink61.xml"/><Relationship Id="rId46" Type="http://schemas.openxmlformats.org/officeDocument/2006/relationships/image" Target="../media/image80.png"/><Relationship Id="rId67" Type="http://schemas.openxmlformats.org/officeDocument/2006/relationships/customXml" Target="../ink/ink80.xml"/><Relationship Id="rId116" Type="http://schemas.openxmlformats.org/officeDocument/2006/relationships/image" Target="../media/image115.png"/><Relationship Id="rId137" Type="http://schemas.openxmlformats.org/officeDocument/2006/relationships/customXml" Target="../ink/ink115.xml"/><Relationship Id="rId158" Type="http://schemas.openxmlformats.org/officeDocument/2006/relationships/image" Target="../media/image136.png"/><Relationship Id="rId20" Type="http://schemas.openxmlformats.org/officeDocument/2006/relationships/image" Target="../media/image67.png"/><Relationship Id="rId41" Type="http://schemas.openxmlformats.org/officeDocument/2006/relationships/customXml" Target="../ink/ink69.xml"/><Relationship Id="rId62" Type="http://schemas.openxmlformats.org/officeDocument/2006/relationships/image" Target="../media/image88.png"/><Relationship Id="rId83" Type="http://schemas.openxmlformats.org/officeDocument/2006/relationships/customXml" Target="../ink/ink88.xml"/><Relationship Id="rId88" Type="http://schemas.openxmlformats.org/officeDocument/2006/relationships/image" Target="../media/image101.png"/><Relationship Id="rId111" Type="http://schemas.openxmlformats.org/officeDocument/2006/relationships/customXml" Target="../ink/ink102.xml"/><Relationship Id="rId132" Type="http://schemas.openxmlformats.org/officeDocument/2006/relationships/image" Target="../media/image123.png"/><Relationship Id="rId153" Type="http://schemas.openxmlformats.org/officeDocument/2006/relationships/customXml" Target="../ink/ink123.xml"/><Relationship Id="rId174" Type="http://schemas.openxmlformats.org/officeDocument/2006/relationships/image" Target="../media/image144.png"/><Relationship Id="rId179" Type="http://schemas.openxmlformats.org/officeDocument/2006/relationships/customXml" Target="../ink/ink135.xml"/><Relationship Id="rId190" Type="http://schemas.openxmlformats.org/officeDocument/2006/relationships/image" Target="../media/image152.png"/><Relationship Id="rId15" Type="http://schemas.openxmlformats.org/officeDocument/2006/relationships/customXml" Target="../ink/ink56.xml"/><Relationship Id="rId36" Type="http://schemas.openxmlformats.org/officeDocument/2006/relationships/image" Target="../media/image75.png"/><Relationship Id="rId57" Type="http://schemas.openxmlformats.org/officeDocument/2006/relationships/customXml" Target="../ink/ink75.xml"/><Relationship Id="rId106" Type="http://schemas.openxmlformats.org/officeDocument/2006/relationships/image" Target="../media/image110.png"/><Relationship Id="rId127" Type="http://schemas.openxmlformats.org/officeDocument/2006/relationships/customXml" Target="../ink/ink110.xml"/><Relationship Id="rId10" Type="http://schemas.openxmlformats.org/officeDocument/2006/relationships/image" Target="../media/image62.png"/><Relationship Id="rId31" Type="http://schemas.openxmlformats.org/officeDocument/2006/relationships/customXml" Target="../ink/ink64.xml"/><Relationship Id="rId73" Type="http://schemas.openxmlformats.org/officeDocument/2006/relationships/customXml" Target="../ink/ink83.xml"/><Relationship Id="rId78" Type="http://schemas.openxmlformats.org/officeDocument/2006/relationships/image" Target="../media/image96.png"/><Relationship Id="rId94" Type="http://schemas.openxmlformats.org/officeDocument/2006/relationships/image" Target="../media/image104.png"/><Relationship Id="rId99" Type="http://schemas.openxmlformats.org/officeDocument/2006/relationships/customXml" Target="../ink/ink96.xml"/><Relationship Id="rId101" Type="http://schemas.openxmlformats.org/officeDocument/2006/relationships/customXml" Target="../ink/ink97.xml"/><Relationship Id="rId122" Type="http://schemas.openxmlformats.org/officeDocument/2006/relationships/image" Target="../media/image118.png"/><Relationship Id="rId143" Type="http://schemas.openxmlformats.org/officeDocument/2006/relationships/customXml" Target="../ink/ink118.xml"/><Relationship Id="rId148" Type="http://schemas.openxmlformats.org/officeDocument/2006/relationships/image" Target="../media/image131.png"/><Relationship Id="rId164" Type="http://schemas.openxmlformats.org/officeDocument/2006/relationships/image" Target="../media/image139.png"/><Relationship Id="rId169" Type="http://schemas.openxmlformats.org/officeDocument/2006/relationships/customXml" Target="../ink/ink130.xml"/><Relationship Id="rId185" Type="http://schemas.openxmlformats.org/officeDocument/2006/relationships/customXml" Target="../ink/ink138.xml"/><Relationship Id="rId4" Type="http://schemas.openxmlformats.org/officeDocument/2006/relationships/oleObject" Target="../embeddings/oleObject24.bin"/><Relationship Id="rId9" Type="http://schemas.openxmlformats.org/officeDocument/2006/relationships/customXml" Target="../ink/ink53.xml"/><Relationship Id="rId180" Type="http://schemas.openxmlformats.org/officeDocument/2006/relationships/image" Target="../media/image147.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slideLayout" Target="../slideLayouts/slideLayout2.xml"/><Relationship Id="rId7" Type="http://schemas.openxmlformats.org/officeDocument/2006/relationships/diagramQuickStyle" Target="../diagrams/quickStyle5.xml"/><Relationship Id="rId2" Type="http://schemas.openxmlformats.org/officeDocument/2006/relationships/tags" Target="../tags/tag23.xml"/><Relationship Id="rId1" Type="http://schemas.openxmlformats.org/officeDocument/2006/relationships/vmlDrawing" Target="../drawings/vmlDrawing26.v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oleObject" Target="../embeddings/oleObject26.bin"/><Relationship Id="rId9" Type="http://schemas.microsoft.com/office/2007/relationships/diagramDrawing" Target="../diagrams/drawing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vmlDrawing" Target="../drawings/vmlDrawing30.vml"/></Relationships>
</file>

<file path=ppt/slides/_rels/slide3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slideLayout" Target="../slideLayouts/slideLayout2.xml"/><Relationship Id="rId7" Type="http://schemas.openxmlformats.org/officeDocument/2006/relationships/diagramQuickStyle" Target="../diagrams/quickStyle6.xml"/><Relationship Id="rId2" Type="http://schemas.openxmlformats.org/officeDocument/2006/relationships/tags" Target="../tags/tag27.xml"/><Relationship Id="rId1" Type="http://schemas.openxmlformats.org/officeDocument/2006/relationships/vmlDrawing" Target="../drawings/vmlDrawing31.v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oleObject" Target="../embeddings/oleObject31.bin"/><Relationship Id="rId9" Type="http://schemas.microsoft.com/office/2007/relationships/diagramDrawing" Target="../diagrams/drawing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slideLayout" Target="../slideLayouts/slideLayout2.xml"/><Relationship Id="rId7" Type="http://schemas.openxmlformats.org/officeDocument/2006/relationships/diagramQuickStyle" Target="../diagrams/quickStyle7.xml"/><Relationship Id="rId2" Type="http://schemas.openxmlformats.org/officeDocument/2006/relationships/tags" Target="../tags/tag30.xml"/><Relationship Id="rId1" Type="http://schemas.openxmlformats.org/officeDocument/2006/relationships/vmlDrawing" Target="../drawings/vmlDrawing34.v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oleObject" Target="../embeddings/oleObject34.bin"/><Relationship Id="rId9" Type="http://schemas.microsoft.com/office/2007/relationships/diagramDrawing" Target="../diagrams/drawing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vmlDrawing" Target="../drawings/vmlDrawing36.v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mailto:maria.bogensperger@komunariko.at" TargetMode="External"/><Relationship Id="rId2" Type="http://schemas.openxmlformats.org/officeDocument/2006/relationships/hyperlink" Target="mailto:marliesboeck@gmx.at" TargetMode="Externa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2.xml"/><Relationship Id="rId7" Type="http://schemas.openxmlformats.org/officeDocument/2006/relationships/diagramQuickStyle" Target="../diagrams/quickStyle1.xml"/><Relationship Id="rId2" Type="http://schemas.openxmlformats.org/officeDocument/2006/relationships/tags" Target="../tags/tag4.xml"/><Relationship Id="rId1" Type="http://schemas.openxmlformats.org/officeDocument/2006/relationships/vmlDrawing" Target="../drawings/vmlDrawing5.v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oleObject" Target="../embeddings/oleObject5.bin"/><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customXml" Target="../ink/ink4.xml"/><Relationship Id="rId18" Type="http://schemas.openxmlformats.org/officeDocument/2006/relationships/image" Target="../media/image14.png"/><Relationship Id="rId26" Type="http://schemas.openxmlformats.org/officeDocument/2006/relationships/image" Target="../media/image18.png"/><Relationship Id="rId39" Type="http://schemas.openxmlformats.org/officeDocument/2006/relationships/customXml" Target="../ink/ink17.xml"/><Relationship Id="rId3" Type="http://schemas.openxmlformats.org/officeDocument/2006/relationships/slideLayout" Target="../slideLayouts/slideLayout2.xml"/><Relationship Id="rId21" Type="http://schemas.openxmlformats.org/officeDocument/2006/relationships/customXml" Target="../ink/ink8.xml"/><Relationship Id="rId34" Type="http://schemas.openxmlformats.org/officeDocument/2006/relationships/image" Target="../media/image22.png"/><Relationship Id="rId42" Type="http://schemas.openxmlformats.org/officeDocument/2006/relationships/image" Target="../media/image26.png"/><Relationship Id="rId47" Type="http://schemas.openxmlformats.org/officeDocument/2006/relationships/customXml" Target="../ink/ink21.xml"/><Relationship Id="rId7" Type="http://schemas.openxmlformats.org/officeDocument/2006/relationships/customXml" Target="../ink/ink1.xml"/><Relationship Id="rId12" Type="http://schemas.openxmlformats.org/officeDocument/2006/relationships/image" Target="../media/image11.png"/><Relationship Id="rId17" Type="http://schemas.openxmlformats.org/officeDocument/2006/relationships/customXml" Target="../ink/ink6.xml"/><Relationship Id="rId25" Type="http://schemas.openxmlformats.org/officeDocument/2006/relationships/customXml" Target="../ink/ink10.xml"/><Relationship Id="rId33" Type="http://schemas.openxmlformats.org/officeDocument/2006/relationships/customXml" Target="../ink/ink14.xml"/><Relationship Id="rId38" Type="http://schemas.openxmlformats.org/officeDocument/2006/relationships/image" Target="../media/image24.png"/><Relationship Id="rId46" Type="http://schemas.openxmlformats.org/officeDocument/2006/relationships/image" Target="../media/image28.png"/><Relationship Id="rId2" Type="http://schemas.openxmlformats.org/officeDocument/2006/relationships/tags" Target="../tags/tag5.xml"/><Relationship Id="rId16" Type="http://schemas.openxmlformats.org/officeDocument/2006/relationships/image" Target="../media/image13.png"/><Relationship Id="rId20" Type="http://schemas.openxmlformats.org/officeDocument/2006/relationships/image" Target="../media/image15.png"/><Relationship Id="rId29" Type="http://schemas.openxmlformats.org/officeDocument/2006/relationships/customXml" Target="../ink/ink12.xml"/><Relationship Id="rId41" Type="http://schemas.openxmlformats.org/officeDocument/2006/relationships/customXml" Target="../ink/ink18.xml"/><Relationship Id="rId1" Type="http://schemas.openxmlformats.org/officeDocument/2006/relationships/vmlDrawing" Target="../drawings/vmlDrawing6.vml"/><Relationship Id="rId11" Type="http://schemas.openxmlformats.org/officeDocument/2006/relationships/customXml" Target="../ink/ink3.xml"/><Relationship Id="rId24" Type="http://schemas.openxmlformats.org/officeDocument/2006/relationships/image" Target="../media/image17.png"/><Relationship Id="rId32" Type="http://schemas.openxmlformats.org/officeDocument/2006/relationships/image" Target="../media/image21.png"/><Relationship Id="rId37" Type="http://schemas.openxmlformats.org/officeDocument/2006/relationships/customXml" Target="../ink/ink16.xml"/><Relationship Id="rId40" Type="http://schemas.openxmlformats.org/officeDocument/2006/relationships/image" Target="../media/image25.png"/><Relationship Id="rId45" Type="http://schemas.openxmlformats.org/officeDocument/2006/relationships/customXml" Target="../ink/ink20.xml"/><Relationship Id="rId15" Type="http://schemas.openxmlformats.org/officeDocument/2006/relationships/customXml" Target="../ink/ink5.xml"/><Relationship Id="rId23" Type="http://schemas.openxmlformats.org/officeDocument/2006/relationships/customXml" Target="../ink/ink9.xml"/><Relationship Id="rId28" Type="http://schemas.openxmlformats.org/officeDocument/2006/relationships/image" Target="../media/image19.png"/><Relationship Id="rId36"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customXml" Target="../ink/ink7.xml"/><Relationship Id="rId31" Type="http://schemas.openxmlformats.org/officeDocument/2006/relationships/customXml" Target="../ink/ink13.xml"/><Relationship Id="rId44" Type="http://schemas.openxmlformats.org/officeDocument/2006/relationships/image" Target="../media/image27.png"/><Relationship Id="rId4" Type="http://schemas.openxmlformats.org/officeDocument/2006/relationships/oleObject" Target="../embeddings/oleObject6.bin"/><Relationship Id="rId9" Type="http://schemas.openxmlformats.org/officeDocument/2006/relationships/customXml" Target="../ink/ink2.xml"/><Relationship Id="rId14" Type="http://schemas.openxmlformats.org/officeDocument/2006/relationships/image" Target="../media/image12.png"/><Relationship Id="rId22" Type="http://schemas.openxmlformats.org/officeDocument/2006/relationships/image" Target="../media/image16.png"/><Relationship Id="rId27" Type="http://schemas.openxmlformats.org/officeDocument/2006/relationships/customXml" Target="../ink/ink11.xml"/><Relationship Id="rId30" Type="http://schemas.openxmlformats.org/officeDocument/2006/relationships/image" Target="../media/image20.png"/><Relationship Id="rId35" Type="http://schemas.openxmlformats.org/officeDocument/2006/relationships/customXml" Target="../ink/ink15.xml"/><Relationship Id="rId43" Type="http://schemas.openxmlformats.org/officeDocument/2006/relationships/customXml" Target="../ink/ink19.xml"/><Relationship Id="rId48"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2.xml"/><Relationship Id="rId7" Type="http://schemas.openxmlformats.org/officeDocument/2006/relationships/diagramQuickStyle" Target="../diagrams/quickStyle2.xml"/><Relationship Id="rId2" Type="http://schemas.openxmlformats.org/officeDocument/2006/relationships/tags" Target="../tags/tag6.xml"/><Relationship Id="rId1" Type="http://schemas.openxmlformats.org/officeDocument/2006/relationships/vmlDrawing" Target="../drawings/vmlDrawing7.v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oleObject" Target="../embeddings/oleObject7.bin"/><Relationship Id="rId9" Type="http://schemas.microsoft.com/office/2007/relationships/diagramDrawing" Target="../diagrams/drawing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0.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noAutofit/>
          </a:bodyPr>
          <a:lstStyle/>
          <a:p>
            <a:r>
              <a:rPr lang="en-GB" dirty="0" err="1">
                <a:solidFill>
                  <a:schemeClr val="accent1"/>
                </a:solidFill>
              </a:rPr>
              <a:t>Gesunder</a:t>
            </a:r>
            <a:r>
              <a:rPr lang="en-GB" dirty="0">
                <a:solidFill>
                  <a:schemeClr val="accent1"/>
                </a:solidFill>
              </a:rPr>
              <a:t> </a:t>
            </a:r>
            <a:r>
              <a:rPr lang="en-GB" dirty="0" err="1">
                <a:solidFill>
                  <a:schemeClr val="accent1"/>
                </a:solidFill>
              </a:rPr>
              <a:t>Umgang</a:t>
            </a:r>
            <a:r>
              <a:rPr lang="en-GB" dirty="0">
                <a:solidFill>
                  <a:schemeClr val="accent1"/>
                </a:solidFill>
              </a:rPr>
              <a:t> </a:t>
            </a:r>
            <a:r>
              <a:rPr lang="en-GB" dirty="0" err="1">
                <a:solidFill>
                  <a:schemeClr val="accent1"/>
                </a:solidFill>
              </a:rPr>
              <a:t>mit</a:t>
            </a:r>
            <a:r>
              <a:rPr lang="en-GB" dirty="0">
                <a:solidFill>
                  <a:schemeClr val="accent1"/>
                </a:solidFill>
              </a:rPr>
              <a:t> </a:t>
            </a:r>
            <a:r>
              <a:rPr lang="en-GB" dirty="0" err="1">
                <a:solidFill>
                  <a:schemeClr val="accent1"/>
                </a:solidFill>
              </a:rPr>
              <a:t>digitalem</a:t>
            </a:r>
            <a:r>
              <a:rPr lang="en-GB" dirty="0">
                <a:solidFill>
                  <a:schemeClr val="accent1"/>
                </a:solidFill>
              </a:rPr>
              <a:t> </a:t>
            </a:r>
            <a:r>
              <a:rPr lang="en-GB" dirty="0" err="1">
                <a:solidFill>
                  <a:schemeClr val="accent1"/>
                </a:solidFill>
              </a:rPr>
              <a:t>Alltagsstress</a:t>
            </a:r>
            <a:r>
              <a:rPr lang="en-GB" dirty="0">
                <a:solidFill>
                  <a:schemeClr val="accent1"/>
                </a:solidFill>
              </a:rPr>
              <a:t> </a:t>
            </a:r>
            <a:r>
              <a:rPr lang="en-GB" dirty="0" err="1">
                <a:solidFill>
                  <a:schemeClr val="accent1"/>
                </a:solidFill>
              </a:rPr>
              <a:t>durch</a:t>
            </a:r>
            <a:r>
              <a:rPr lang="en-GB" dirty="0">
                <a:solidFill>
                  <a:schemeClr val="accent1"/>
                </a:solidFill>
              </a:rPr>
              <a:t> </a:t>
            </a:r>
            <a:r>
              <a:rPr lang="en-GB" dirty="0" err="1">
                <a:solidFill>
                  <a:schemeClr val="accent1"/>
                </a:solidFill>
              </a:rPr>
              <a:t>gelebte</a:t>
            </a:r>
            <a:r>
              <a:rPr lang="en-GB" dirty="0">
                <a:solidFill>
                  <a:schemeClr val="accent1"/>
                </a:solidFill>
              </a:rPr>
              <a:t> </a:t>
            </a:r>
            <a:r>
              <a:rPr lang="en-GB" dirty="0" err="1">
                <a:solidFill>
                  <a:schemeClr val="accent1"/>
                </a:solidFill>
              </a:rPr>
              <a:t>Resilienz</a:t>
            </a:r>
            <a:r>
              <a:rPr lang="en-GB" dirty="0">
                <a:solidFill>
                  <a:schemeClr val="accent1"/>
                </a:solidFill>
              </a:rPr>
              <a:t>.</a:t>
            </a:r>
          </a:p>
        </p:txBody>
      </p:sp>
      <p:sp>
        <p:nvSpPr>
          <p:cNvPr id="3" name="Titel 2"/>
          <p:cNvSpPr>
            <a:spLocks noGrp="1"/>
          </p:cNvSpPr>
          <p:nvPr>
            <p:ph type="title"/>
          </p:nvPr>
        </p:nvSpPr>
        <p:spPr/>
        <p:txBody>
          <a:bodyPr/>
          <a:lstStyle/>
          <a:p>
            <a:r>
              <a:rPr lang="en-GB" sz="3600" dirty="0">
                <a:solidFill>
                  <a:schemeClr val="accent1"/>
                </a:solidFill>
              </a:rPr>
              <a:t/>
            </a:r>
            <a:br>
              <a:rPr lang="en-GB" sz="3600" dirty="0">
                <a:solidFill>
                  <a:schemeClr val="accent1"/>
                </a:solidFill>
              </a:rPr>
            </a:br>
            <a:r>
              <a:rPr lang="en-GB" sz="3600" dirty="0" err="1">
                <a:solidFill>
                  <a:schemeClr val="accent1"/>
                </a:solidFill>
              </a:rPr>
              <a:t>Arbeit</a:t>
            </a:r>
            <a:r>
              <a:rPr lang="en-GB" sz="3600" dirty="0">
                <a:solidFill>
                  <a:schemeClr val="accent1"/>
                </a:solidFill>
              </a:rPr>
              <a:t> 4.0: </a:t>
            </a:r>
            <a:br>
              <a:rPr lang="en-GB" sz="3600" dirty="0">
                <a:solidFill>
                  <a:schemeClr val="accent1"/>
                </a:solidFill>
              </a:rPr>
            </a:br>
            <a:r>
              <a:rPr lang="en-GB" sz="3600" dirty="0" err="1">
                <a:solidFill>
                  <a:schemeClr val="accent1"/>
                </a:solidFill>
              </a:rPr>
              <a:t>Unter</a:t>
            </a:r>
            <a:r>
              <a:rPr lang="en-GB" sz="3600" dirty="0">
                <a:solidFill>
                  <a:schemeClr val="accent1"/>
                </a:solidFill>
              </a:rPr>
              <a:t> Strom und </a:t>
            </a:r>
            <a:r>
              <a:rPr lang="en-GB" sz="3600" dirty="0" err="1">
                <a:solidFill>
                  <a:schemeClr val="accent1"/>
                </a:solidFill>
              </a:rPr>
              <a:t>ständig</a:t>
            </a:r>
            <a:r>
              <a:rPr lang="en-GB" sz="3600" dirty="0">
                <a:solidFill>
                  <a:schemeClr val="accent1"/>
                </a:solidFill>
              </a:rPr>
              <a:t> online.</a:t>
            </a:r>
          </a:p>
        </p:txBody>
      </p:sp>
      <p:sp>
        <p:nvSpPr>
          <p:cNvPr id="4" name="Textplatzhalter 3"/>
          <p:cNvSpPr>
            <a:spLocks noGrp="1"/>
          </p:cNvSpPr>
          <p:nvPr>
            <p:ph type="body" sz="quarter" idx="11"/>
          </p:nvPr>
        </p:nvSpPr>
        <p:spPr/>
        <p:txBody>
          <a:bodyPr/>
          <a:lstStyle/>
          <a:p>
            <a:endParaRPr lang="en-GB" dirty="0"/>
          </a:p>
        </p:txBody>
      </p:sp>
      <p:sp>
        <p:nvSpPr>
          <p:cNvPr id="5" name="Textplatzhalter 4"/>
          <p:cNvSpPr>
            <a:spLocks noGrp="1"/>
          </p:cNvSpPr>
          <p:nvPr>
            <p:ph type="body" sz="quarter" idx="12"/>
          </p:nvPr>
        </p:nvSpPr>
        <p:spPr/>
        <p:txBody>
          <a:bodyPr>
            <a:noAutofit/>
          </a:bodyPr>
          <a:lstStyle/>
          <a:p>
            <a:r>
              <a:rPr lang="en-GB" sz="2400" dirty="0">
                <a:solidFill>
                  <a:schemeClr val="tx2"/>
                </a:solidFill>
              </a:rPr>
              <a:t>Mag. </a:t>
            </a:r>
            <a:r>
              <a:rPr lang="en-GB" sz="2400" dirty="0" err="1">
                <a:solidFill>
                  <a:schemeClr val="tx2"/>
                </a:solidFill>
              </a:rPr>
              <a:t>Marlies</a:t>
            </a:r>
            <a:r>
              <a:rPr lang="en-GB" sz="2400" dirty="0">
                <a:solidFill>
                  <a:schemeClr val="tx2"/>
                </a:solidFill>
              </a:rPr>
              <a:t> </a:t>
            </a:r>
            <a:r>
              <a:rPr lang="en-GB" sz="2400" dirty="0" err="1">
                <a:solidFill>
                  <a:schemeClr val="tx2"/>
                </a:solidFill>
              </a:rPr>
              <a:t>Böck</a:t>
            </a:r>
            <a:r>
              <a:rPr lang="en-GB" sz="2400" dirty="0">
                <a:solidFill>
                  <a:schemeClr val="tx2"/>
                </a:solidFill>
              </a:rPr>
              <a:t>, MA</a:t>
            </a:r>
          </a:p>
        </p:txBody>
      </p:sp>
    </p:spTree>
    <p:extLst>
      <p:ext uri="{BB962C8B-B14F-4D97-AF65-F5344CB8AC3E}">
        <p14:creationId xmlns:p14="http://schemas.microsoft.com/office/powerpoint/2010/main" xmlns="" val="1066413135"/>
      </p:ext>
    </p:extLst>
  </p:cSld>
  <p:clrMapOvr>
    <a:masterClrMapping/>
  </p:clrMapOvr>
  <p:transition spd="slow">
    <p:pull dir="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22482137-2539-4183-8AF8-C0440686F3F6}"/>
              </a:ext>
            </a:extLst>
          </p:cNvPr>
          <p:cNvGraphicFramePr>
            <a:graphicFrameLocks noChangeAspect="1"/>
          </p:cNvGraphicFramePr>
          <p:nvPr>
            <p:extLst>
              <p:ext uri="{D42A27DB-BD31-4B8C-83A1-F6EECF244321}">
                <p14:modId xmlns:p14="http://schemas.microsoft.com/office/powerpoint/2010/main" xmlns="" val="2046562467"/>
              </p:ext>
            </p:extLst>
          </p:nvPr>
        </p:nvGraphicFramePr>
        <p:xfrm>
          <a:off x="1588" y="1588"/>
          <a:ext cx="1588" cy="1588"/>
        </p:xfrm>
        <a:graphic>
          <a:graphicData uri="http://schemas.openxmlformats.org/presentationml/2006/ole">
            <p:oleObj spid="_x0000_s11273" name="think-cell Folie" r:id="rId4" imgW="360" imgH="360" progId="">
              <p:embed/>
            </p:oleObj>
          </a:graphicData>
        </a:graphic>
      </p:graphicFrame>
      <p:sp>
        <p:nvSpPr>
          <p:cNvPr id="3" name="Rechteck 2" hidden="1">
            <a:extLst>
              <a:ext uri="{FF2B5EF4-FFF2-40B4-BE49-F238E27FC236}">
                <a16:creationId xmlns:a16="http://schemas.microsoft.com/office/drawing/2014/main" xmlns="" id="{4E658613-9837-427C-8067-1D46D3A8A5D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dirty="0"/>
              <a:t> Babyboomer, X, Y, Z</a:t>
            </a:r>
          </a:p>
        </p:txBody>
      </p:sp>
      <p:graphicFrame>
        <p:nvGraphicFramePr>
          <p:cNvPr id="4" name="Content Placeholder 3">
            <a:extLst>
              <a:ext uri="{FF2B5EF4-FFF2-40B4-BE49-F238E27FC236}">
                <a16:creationId xmlns:a16="http://schemas.microsoft.com/office/drawing/2014/main" xmlns="" id="{6FBC02D8-6968-4228-94A1-732863695AEA}"/>
              </a:ext>
            </a:extLst>
          </p:cNvPr>
          <p:cNvGraphicFramePr>
            <a:graphicFrameLocks noGrp="1" noChangeAspect="1"/>
          </p:cNvGraphicFramePr>
          <p:nvPr>
            <p:ph idx="1"/>
            <p:extLst>
              <p:ext uri="{D42A27DB-BD31-4B8C-83A1-F6EECF244321}">
                <p14:modId xmlns:p14="http://schemas.microsoft.com/office/powerpoint/2010/main" xmlns="" val="3628602886"/>
              </p:ext>
            </p:extLst>
          </p:nvPr>
        </p:nvGraphicFramePr>
        <p:xfrm>
          <a:off x="323528" y="1412777"/>
          <a:ext cx="8451311" cy="483531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1544300767"/>
      </p:ext>
    </p:extLst>
  </p:cSld>
  <p:clrMapOvr>
    <a:masterClrMapping/>
  </p:clrMapOvr>
  <p:transition spd="slow">
    <p:pull di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2A32DEAB-F39A-48F7-9F5D-1657566038FB}"/>
              </a:ext>
            </a:extLst>
          </p:cNvPr>
          <p:cNvGraphicFramePr>
            <a:graphicFrameLocks noChangeAspect="1"/>
          </p:cNvGraphicFramePr>
          <p:nvPr>
            <p:extLst>
              <p:ext uri="{D42A27DB-BD31-4B8C-83A1-F6EECF244321}">
                <p14:modId xmlns:p14="http://schemas.microsoft.com/office/powerpoint/2010/main" xmlns="" val="1677096811"/>
              </p:ext>
            </p:extLst>
          </p:nvPr>
        </p:nvGraphicFramePr>
        <p:xfrm>
          <a:off x="1588" y="1588"/>
          <a:ext cx="1588" cy="1588"/>
        </p:xfrm>
        <a:graphic>
          <a:graphicData uri="http://schemas.openxmlformats.org/presentationml/2006/ole">
            <p:oleObj spid="_x0000_s12297" name="think-cell Folie" r:id="rId4" imgW="360" imgH="360" progId="">
              <p:embed/>
            </p:oleObj>
          </a:graphicData>
        </a:graphic>
      </p:graphicFrame>
      <p:sp>
        <p:nvSpPr>
          <p:cNvPr id="4" name="Rechteck 3" hidden="1">
            <a:extLst>
              <a:ext uri="{FF2B5EF4-FFF2-40B4-BE49-F238E27FC236}">
                <a16:creationId xmlns:a16="http://schemas.microsoft.com/office/drawing/2014/main" xmlns="" id="{35E2C3DE-495D-4ED6-A687-D670ED75D582}"/>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4000" i="1" dirty="0">
                <a:solidFill>
                  <a:schemeClr val="accent6"/>
                </a:solidFill>
              </a:rPr>
              <a:t>Babyboomer</a:t>
            </a:r>
            <a:r>
              <a:rPr lang="de-AT" sz="4000" dirty="0"/>
              <a:t> im Berufsleben</a:t>
            </a:r>
            <a:r>
              <a:rPr lang="de-AT" dirty="0"/>
              <a:t/>
            </a:r>
            <a:br>
              <a:rPr lang="de-AT" dirty="0"/>
            </a:br>
            <a:endParaRPr lang="de-AT" dirty="0"/>
          </a:p>
        </p:txBody>
      </p:sp>
      <p:sp>
        <p:nvSpPr>
          <p:cNvPr id="3" name="Inhaltsplatzhalter 2"/>
          <p:cNvSpPr>
            <a:spLocks noGrp="1"/>
          </p:cNvSpPr>
          <p:nvPr>
            <p:ph idx="1"/>
          </p:nvPr>
        </p:nvSpPr>
        <p:spPr/>
        <p:txBody>
          <a:bodyPr>
            <a:normAutofit/>
          </a:bodyPr>
          <a:lstStyle/>
          <a:p>
            <a:r>
              <a:rPr lang="de-AT" sz="2400" dirty="0"/>
              <a:t>Nachkriegsjahrgänge 1950 bis 1965</a:t>
            </a:r>
          </a:p>
          <a:p>
            <a:r>
              <a:rPr lang="de-AT" sz="2400" dirty="0"/>
              <a:t>Heute: 69 bis 54 Jahre alt</a:t>
            </a:r>
          </a:p>
          <a:p>
            <a:r>
              <a:rPr lang="de-AT" sz="2400" dirty="0"/>
              <a:t>Urerfahrung der Masse</a:t>
            </a:r>
          </a:p>
          <a:p>
            <a:r>
              <a:rPr lang="de-AT" sz="2400" dirty="0"/>
              <a:t>Relativierung der Individualität – Der einzelne Mensch ist ersetzbar.</a:t>
            </a:r>
          </a:p>
          <a:p>
            <a:r>
              <a:rPr lang="de-AT" sz="2400" dirty="0"/>
              <a:t>Konkurrenzverhalten und Selbstmarketing</a:t>
            </a:r>
          </a:p>
          <a:p>
            <a:r>
              <a:rPr lang="de-AT" sz="2400" dirty="0"/>
              <a:t>Workaholics, Arbeit als wichtigstes Gut</a:t>
            </a:r>
          </a:p>
          <a:p>
            <a:r>
              <a:rPr lang="de-AT" sz="2400" dirty="0"/>
              <a:t>karriereorientiert, </a:t>
            </a:r>
            <a:r>
              <a:rPr lang="de-AT" sz="2400" dirty="0" smtClean="0"/>
              <a:t>strukturiert, Pflege </a:t>
            </a:r>
            <a:r>
              <a:rPr lang="de-AT" sz="2400" dirty="0" smtClean="0"/>
              <a:t>von </a:t>
            </a:r>
            <a:r>
              <a:rPr lang="de-AT" sz="2400" dirty="0" smtClean="0"/>
              <a:t>Beziehungen</a:t>
            </a:r>
            <a:endParaRPr lang="de-AT" sz="2400" dirty="0"/>
          </a:p>
          <a:p>
            <a:r>
              <a:rPr lang="de-AT" sz="2400" dirty="0"/>
              <a:t>Ab 2015/2010 bzw. 2030/2025 in Pension.</a:t>
            </a:r>
          </a:p>
        </p:txBody>
      </p:sp>
    </p:spTree>
  </p:cSld>
  <p:clrMapOvr>
    <a:masterClrMapping/>
  </p:clrMapOvr>
  <p:transition spd="slow">
    <p:pull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3B539090-614F-4213-BF35-4BDC6937A5D5}"/>
              </a:ext>
            </a:extLst>
          </p:cNvPr>
          <p:cNvGraphicFramePr>
            <a:graphicFrameLocks noChangeAspect="1"/>
          </p:cNvGraphicFramePr>
          <p:nvPr>
            <p:extLst>
              <p:ext uri="{D42A27DB-BD31-4B8C-83A1-F6EECF244321}">
                <p14:modId xmlns:p14="http://schemas.microsoft.com/office/powerpoint/2010/main" xmlns="" val="1078868398"/>
              </p:ext>
            </p:extLst>
          </p:nvPr>
        </p:nvGraphicFramePr>
        <p:xfrm>
          <a:off x="1588" y="1588"/>
          <a:ext cx="1588" cy="1588"/>
        </p:xfrm>
        <a:graphic>
          <a:graphicData uri="http://schemas.openxmlformats.org/presentationml/2006/ole">
            <p:oleObj spid="_x0000_s13321" name="think-cell Folie" r:id="rId4" imgW="360" imgH="360" progId="">
              <p:embed/>
            </p:oleObj>
          </a:graphicData>
        </a:graphic>
      </p:graphicFrame>
      <p:sp>
        <p:nvSpPr>
          <p:cNvPr id="4" name="Rechteck 3" hidden="1">
            <a:extLst>
              <a:ext uri="{FF2B5EF4-FFF2-40B4-BE49-F238E27FC236}">
                <a16:creationId xmlns:a16="http://schemas.microsoft.com/office/drawing/2014/main" xmlns="" id="{13E3157B-93F9-44A8-9E97-2A56BBB7E35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4000" i="1" dirty="0">
                <a:solidFill>
                  <a:schemeClr val="accent6"/>
                </a:solidFill>
              </a:rPr>
              <a:t>Generation X </a:t>
            </a:r>
            <a:r>
              <a:rPr lang="de-AT" sz="4000" dirty="0"/>
              <a:t>im Berufsleben</a:t>
            </a:r>
            <a:r>
              <a:rPr lang="de-AT" sz="3600" dirty="0"/>
              <a:t/>
            </a:r>
            <a:br>
              <a:rPr lang="de-AT" sz="3600" dirty="0"/>
            </a:br>
            <a:r>
              <a:rPr lang="de-AT" dirty="0"/>
              <a:t/>
            </a:r>
            <a:br>
              <a:rPr lang="de-AT" dirty="0"/>
            </a:br>
            <a:endParaRPr lang="de-AT" dirty="0"/>
          </a:p>
        </p:txBody>
      </p:sp>
      <p:sp>
        <p:nvSpPr>
          <p:cNvPr id="3" name="Inhaltsplatzhalter 2"/>
          <p:cNvSpPr>
            <a:spLocks noGrp="1"/>
          </p:cNvSpPr>
          <p:nvPr>
            <p:ph idx="1"/>
          </p:nvPr>
        </p:nvSpPr>
        <p:spPr/>
        <p:txBody>
          <a:bodyPr>
            <a:normAutofit/>
          </a:bodyPr>
          <a:lstStyle/>
          <a:p>
            <a:r>
              <a:rPr lang="de-AT" sz="2400" dirty="0"/>
              <a:t>1965-1980</a:t>
            </a:r>
          </a:p>
          <a:p>
            <a:r>
              <a:rPr lang="de-AT" sz="2400" dirty="0"/>
              <a:t>Heute: 54 bis 39 Jahre alt</a:t>
            </a:r>
          </a:p>
          <a:p>
            <a:r>
              <a:rPr lang="de-AT" sz="2400" dirty="0"/>
              <a:t>hohes Bildungsniveau</a:t>
            </a:r>
          </a:p>
          <a:p>
            <a:r>
              <a:rPr lang="de-AT" sz="2400" dirty="0"/>
              <a:t>ambitioniert, ehrgeizig, technisch versiert</a:t>
            </a:r>
          </a:p>
          <a:p>
            <a:r>
              <a:rPr lang="de-AT" sz="2400" dirty="0"/>
              <a:t>berufliches Vorankommen als Ziel</a:t>
            </a:r>
          </a:p>
          <a:p>
            <a:r>
              <a:rPr lang="de-AT" sz="2400" dirty="0"/>
              <a:t>Arbeit als Mittel zum Zweck, pragmatisch</a:t>
            </a:r>
          </a:p>
          <a:p>
            <a:r>
              <a:rPr lang="de-AT" sz="2400" dirty="0"/>
              <a:t>Work-Life-Balance</a:t>
            </a:r>
          </a:p>
          <a:p>
            <a:r>
              <a:rPr lang="de-AT" sz="2400" dirty="0"/>
              <a:t>gewisser Egoismus</a:t>
            </a:r>
          </a:p>
          <a:p>
            <a:r>
              <a:rPr lang="de-AT" sz="2400" dirty="0"/>
              <a:t>ausgeprägtes </a:t>
            </a:r>
            <a:r>
              <a:rPr lang="de-AT" sz="2400" dirty="0" err="1"/>
              <a:t>Komsumverhalten</a:t>
            </a:r>
            <a:endParaRPr lang="de-AT" sz="2400" dirty="0"/>
          </a:p>
          <a:p>
            <a:pPr>
              <a:buNone/>
            </a:pPr>
            <a:endParaRPr lang="de-AT" dirty="0"/>
          </a:p>
        </p:txBody>
      </p:sp>
    </p:spTree>
  </p:cSld>
  <p:clrMapOvr>
    <a:masterClrMapping/>
  </p:clrMapOvr>
  <p:transition spd="slow">
    <p:pull dir="d"/>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C668EBE2-61A4-4D92-8A80-BDE4F7DC8024}"/>
              </a:ext>
            </a:extLst>
          </p:cNvPr>
          <p:cNvGraphicFramePr>
            <a:graphicFrameLocks noChangeAspect="1"/>
          </p:cNvGraphicFramePr>
          <p:nvPr>
            <p:extLst>
              <p:ext uri="{D42A27DB-BD31-4B8C-83A1-F6EECF244321}">
                <p14:modId xmlns:p14="http://schemas.microsoft.com/office/powerpoint/2010/main" xmlns="" val="3717168411"/>
              </p:ext>
            </p:extLst>
          </p:nvPr>
        </p:nvGraphicFramePr>
        <p:xfrm>
          <a:off x="1588" y="1588"/>
          <a:ext cx="1588" cy="1588"/>
        </p:xfrm>
        <a:graphic>
          <a:graphicData uri="http://schemas.openxmlformats.org/presentationml/2006/ole">
            <p:oleObj spid="_x0000_s14345" name="think-cell Folie" r:id="rId4" imgW="360" imgH="360" progId="">
              <p:embed/>
            </p:oleObj>
          </a:graphicData>
        </a:graphic>
      </p:graphicFrame>
      <p:sp>
        <p:nvSpPr>
          <p:cNvPr id="4" name="Rechteck 3" hidden="1">
            <a:extLst>
              <a:ext uri="{FF2B5EF4-FFF2-40B4-BE49-F238E27FC236}">
                <a16:creationId xmlns:a16="http://schemas.microsoft.com/office/drawing/2014/main" xmlns="" id="{54835216-61C8-49C6-84DE-765CC6F91694}"/>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4000" i="1" dirty="0">
                <a:solidFill>
                  <a:schemeClr val="accent6"/>
                </a:solidFill>
              </a:rPr>
              <a:t>Generation Y (</a:t>
            </a:r>
            <a:r>
              <a:rPr lang="de-AT" sz="4000" i="1" dirty="0" err="1">
                <a:solidFill>
                  <a:schemeClr val="accent6"/>
                </a:solidFill>
              </a:rPr>
              <a:t>Millennials</a:t>
            </a:r>
            <a:r>
              <a:rPr lang="de-AT" sz="4000" i="1" dirty="0">
                <a:solidFill>
                  <a:schemeClr val="accent6"/>
                </a:solidFill>
              </a:rPr>
              <a:t>) </a:t>
            </a:r>
            <a:r>
              <a:rPr lang="de-AT" sz="4000" dirty="0"/>
              <a:t>im Berufsleben</a:t>
            </a:r>
            <a:r>
              <a:rPr lang="de-AT" sz="3600" dirty="0"/>
              <a:t/>
            </a:r>
            <a:br>
              <a:rPr lang="de-AT" sz="3600" dirty="0"/>
            </a:br>
            <a:r>
              <a:rPr lang="de-AT" dirty="0"/>
              <a:t/>
            </a:r>
            <a:br>
              <a:rPr lang="de-AT" dirty="0"/>
            </a:br>
            <a:endParaRPr lang="de-AT" dirty="0"/>
          </a:p>
        </p:txBody>
      </p:sp>
      <p:sp>
        <p:nvSpPr>
          <p:cNvPr id="3" name="Inhaltsplatzhalter 2"/>
          <p:cNvSpPr>
            <a:spLocks noGrp="1"/>
          </p:cNvSpPr>
          <p:nvPr>
            <p:ph idx="1"/>
          </p:nvPr>
        </p:nvSpPr>
        <p:spPr/>
        <p:txBody>
          <a:bodyPr>
            <a:normAutofit/>
          </a:bodyPr>
          <a:lstStyle/>
          <a:p>
            <a:endParaRPr lang="de-AT" sz="2400" dirty="0"/>
          </a:p>
          <a:p>
            <a:pPr marL="347663" indent="-347663"/>
            <a:r>
              <a:rPr lang="de-AT" sz="2400" dirty="0"/>
              <a:t>1980 bis 1995</a:t>
            </a:r>
          </a:p>
          <a:p>
            <a:r>
              <a:rPr lang="de-AT" sz="2400" dirty="0"/>
              <a:t>Heute: 39 bis 24 Jahre alt</a:t>
            </a:r>
          </a:p>
          <a:p>
            <a:r>
              <a:rPr lang="de-AT" sz="2400" dirty="0"/>
              <a:t>technikaffiner Lebensstil, Digital Natives</a:t>
            </a:r>
          </a:p>
          <a:p>
            <a:r>
              <a:rPr lang="de-AT" sz="2400" dirty="0"/>
              <a:t>gut ausgebildet</a:t>
            </a:r>
          </a:p>
          <a:p>
            <a:r>
              <a:rPr lang="de-AT" sz="2400" dirty="0"/>
              <a:t>Teamarbeit, Projektarbeit</a:t>
            </a:r>
          </a:p>
          <a:p>
            <a:r>
              <a:rPr lang="de-AT" sz="2400" dirty="0"/>
              <a:t>Freude an Arbeit und Abwechslung</a:t>
            </a:r>
          </a:p>
          <a:p>
            <a:r>
              <a:rPr lang="de-AT" sz="2400" dirty="0"/>
              <a:t>Freizeit und Familie/Freunde sind wichtig</a:t>
            </a:r>
          </a:p>
          <a:p>
            <a:r>
              <a:rPr lang="de-AT" sz="2400" dirty="0"/>
              <a:t>24 Stunden online, </a:t>
            </a:r>
            <a:r>
              <a:rPr lang="de-AT" sz="2400" dirty="0" err="1"/>
              <a:t>MeisterInnen</a:t>
            </a:r>
            <a:r>
              <a:rPr lang="de-AT" sz="2400" dirty="0"/>
              <a:t> im Multi-</a:t>
            </a:r>
            <a:r>
              <a:rPr lang="de-AT" sz="2400" dirty="0" err="1"/>
              <a:t>Tasking</a:t>
            </a:r>
            <a:endParaRPr lang="de-AT" sz="2400" dirty="0"/>
          </a:p>
          <a:p>
            <a:r>
              <a:rPr lang="de-AT" sz="2400" dirty="0"/>
              <a:t>abnehmende Arbeitgeberloyalität</a:t>
            </a:r>
          </a:p>
          <a:p>
            <a:endParaRPr lang="de-AT" dirty="0"/>
          </a:p>
          <a:p>
            <a:endParaRPr lang="de-AT" dirty="0"/>
          </a:p>
        </p:txBody>
      </p:sp>
    </p:spTree>
  </p:cSld>
  <p:clrMapOvr>
    <a:masterClrMapping/>
  </p:clrMapOvr>
  <p:transition spd="slow">
    <p:pull di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7F82D67C-4591-40BC-A03A-DD900E6881B2}"/>
              </a:ext>
            </a:extLst>
          </p:cNvPr>
          <p:cNvGraphicFramePr>
            <a:graphicFrameLocks noChangeAspect="1"/>
          </p:cNvGraphicFramePr>
          <p:nvPr>
            <p:extLst>
              <p:ext uri="{D42A27DB-BD31-4B8C-83A1-F6EECF244321}">
                <p14:modId xmlns:p14="http://schemas.microsoft.com/office/powerpoint/2010/main" xmlns="" val="806405024"/>
              </p:ext>
            </p:extLst>
          </p:nvPr>
        </p:nvGraphicFramePr>
        <p:xfrm>
          <a:off x="1588" y="1588"/>
          <a:ext cx="1588" cy="1588"/>
        </p:xfrm>
        <a:graphic>
          <a:graphicData uri="http://schemas.openxmlformats.org/presentationml/2006/ole">
            <p:oleObj spid="_x0000_s15369" name="think-cell Folie" r:id="rId4" imgW="360" imgH="360" progId="">
              <p:embed/>
            </p:oleObj>
          </a:graphicData>
        </a:graphic>
      </p:graphicFrame>
      <p:sp>
        <p:nvSpPr>
          <p:cNvPr id="4" name="Rechteck 3" hidden="1">
            <a:extLst>
              <a:ext uri="{FF2B5EF4-FFF2-40B4-BE49-F238E27FC236}">
                <a16:creationId xmlns:a16="http://schemas.microsoft.com/office/drawing/2014/main" xmlns="" id="{98D8CCF6-7AFE-4293-A0F7-2683C5F54A15}"/>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4000" i="1" dirty="0">
                <a:solidFill>
                  <a:schemeClr val="accent6"/>
                </a:solidFill>
              </a:rPr>
              <a:t>Generation Z </a:t>
            </a:r>
            <a:r>
              <a:rPr lang="de-AT" sz="4000" dirty="0"/>
              <a:t>im Berufsleben</a:t>
            </a:r>
            <a:r>
              <a:rPr lang="de-AT" sz="3600" dirty="0"/>
              <a:t/>
            </a:r>
            <a:br>
              <a:rPr lang="de-AT" sz="3600" dirty="0"/>
            </a:br>
            <a:r>
              <a:rPr lang="de-AT" dirty="0"/>
              <a:t/>
            </a:r>
            <a:br>
              <a:rPr lang="de-AT" dirty="0"/>
            </a:br>
            <a:endParaRPr lang="de-AT" dirty="0"/>
          </a:p>
        </p:txBody>
      </p:sp>
      <p:sp>
        <p:nvSpPr>
          <p:cNvPr id="3" name="Inhaltsplatzhalter 2"/>
          <p:cNvSpPr>
            <a:spLocks noGrp="1"/>
          </p:cNvSpPr>
          <p:nvPr>
            <p:ph idx="1"/>
          </p:nvPr>
        </p:nvSpPr>
        <p:spPr/>
        <p:txBody>
          <a:bodyPr>
            <a:normAutofit fontScale="85000" lnSpcReduction="10000"/>
          </a:bodyPr>
          <a:lstStyle/>
          <a:p>
            <a:r>
              <a:rPr lang="de-AT" dirty="0"/>
              <a:t>1995</a:t>
            </a:r>
          </a:p>
          <a:p>
            <a:r>
              <a:rPr lang="de-AT" dirty="0"/>
              <a:t>Heute: Jugendliche und Erwachsene (24 Jahre alt)</a:t>
            </a:r>
          </a:p>
          <a:p>
            <a:r>
              <a:rPr lang="de-AT" dirty="0"/>
              <a:t>Internet &amp; Smartphone</a:t>
            </a:r>
          </a:p>
          <a:p>
            <a:r>
              <a:rPr lang="de-AT" dirty="0"/>
              <a:t>hohe Anforderungen an das Arbeitsklima</a:t>
            </a:r>
          </a:p>
          <a:p>
            <a:r>
              <a:rPr lang="de-AT" dirty="0"/>
              <a:t>klar geregelte Arbeitszeiten, keine 24/7-Verfügbarkeit</a:t>
            </a:r>
          </a:p>
          <a:p>
            <a:r>
              <a:rPr lang="de-AT" dirty="0"/>
              <a:t>Anerkennung und Selbstverwirklichung</a:t>
            </a:r>
          </a:p>
          <a:p>
            <a:r>
              <a:rPr lang="de-AT" dirty="0"/>
              <a:t>Wunsch nach freier Entfaltung</a:t>
            </a:r>
          </a:p>
          <a:p>
            <a:r>
              <a:rPr lang="de-AT" dirty="0"/>
              <a:t>Abneigung gegenüber autoritärer Führung</a:t>
            </a:r>
          </a:p>
          <a:p>
            <a:r>
              <a:rPr lang="de-AT" dirty="0"/>
              <a:t>Wohlstand der Elterngeneration nicht mehr erreichbar</a:t>
            </a:r>
          </a:p>
          <a:p>
            <a:r>
              <a:rPr lang="de-AT" dirty="0"/>
              <a:t>abnehmende Arbeitgeberloyalität ODER: hohes Bindungsbedürfnis?</a:t>
            </a:r>
          </a:p>
          <a:p>
            <a:endParaRPr lang="de-AT" dirty="0"/>
          </a:p>
        </p:txBody>
      </p:sp>
    </p:spTree>
  </p:cSld>
  <p:clrMapOvr>
    <a:masterClrMapping/>
  </p:clrMapOvr>
  <p:transition spd="slow">
    <p:pull di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BB61901F-FDE4-4F04-B069-57C0125B1998}"/>
              </a:ext>
            </a:extLst>
          </p:cNvPr>
          <p:cNvGraphicFramePr>
            <a:graphicFrameLocks noChangeAspect="1"/>
          </p:cNvGraphicFramePr>
          <p:nvPr>
            <p:extLst>
              <p:ext uri="{D42A27DB-BD31-4B8C-83A1-F6EECF244321}">
                <p14:modId xmlns:p14="http://schemas.microsoft.com/office/powerpoint/2010/main" xmlns="" val="1680518836"/>
              </p:ext>
            </p:extLst>
          </p:nvPr>
        </p:nvGraphicFramePr>
        <p:xfrm>
          <a:off x="1588" y="1588"/>
          <a:ext cx="1588" cy="1588"/>
        </p:xfrm>
        <a:graphic>
          <a:graphicData uri="http://schemas.openxmlformats.org/presentationml/2006/ole">
            <p:oleObj spid="_x0000_s16393" name="think-cell Folie" r:id="rId4" imgW="360" imgH="360" progId="">
              <p:embed/>
            </p:oleObj>
          </a:graphicData>
        </a:graphic>
      </p:graphicFrame>
      <p:sp>
        <p:nvSpPr>
          <p:cNvPr id="5" name="Rechteck 4" hidden="1">
            <a:extLst>
              <a:ext uri="{FF2B5EF4-FFF2-40B4-BE49-F238E27FC236}">
                <a16:creationId xmlns:a16="http://schemas.microsoft.com/office/drawing/2014/main" xmlns="" id="{9B1B386F-343B-4E6D-9430-EC3D62FBFC9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sz="3600" dirty="0"/>
              <a:t>Verstehen der Generationen –</a:t>
            </a:r>
            <a:br>
              <a:rPr lang="de-AT" sz="3600" dirty="0"/>
            </a:br>
            <a:r>
              <a:rPr lang="de-AT" sz="3600" dirty="0"/>
              <a:t>MA-Bindung</a:t>
            </a:r>
          </a:p>
        </p:txBody>
      </p:sp>
      <p:sp>
        <p:nvSpPr>
          <p:cNvPr id="3" name="Inhaltsplatzhalter 2"/>
          <p:cNvSpPr>
            <a:spLocks noGrp="1"/>
          </p:cNvSpPr>
          <p:nvPr>
            <p:ph idx="1"/>
          </p:nvPr>
        </p:nvSpPr>
        <p:spPr>
          <a:xfrm>
            <a:off x="457200" y="1600200"/>
            <a:ext cx="4402832" cy="4525963"/>
          </a:xfrm>
        </p:spPr>
        <p:txBody>
          <a:bodyPr>
            <a:normAutofit/>
          </a:bodyPr>
          <a:lstStyle/>
          <a:p>
            <a:endParaRPr lang="de-AT" sz="2400" dirty="0"/>
          </a:p>
          <a:p>
            <a:pPr>
              <a:buNone/>
            </a:pPr>
            <a:r>
              <a:rPr lang="de-AT" sz="2400" dirty="0"/>
              <a:t>	„Man muss verstehen, nicht nur ob, sondern vor allem </a:t>
            </a:r>
            <a:r>
              <a:rPr lang="de-AT" sz="2400" b="1" dirty="0"/>
              <a:t>wovon</a:t>
            </a:r>
            <a:r>
              <a:rPr lang="de-AT" sz="2400" dirty="0"/>
              <a:t> jemand motiviert ist. … Wobei Geld als Motivationsfaktor nicht mehr so relevant ist. … Heute liegen die Prioritäten häufig woanders.“ </a:t>
            </a:r>
            <a:r>
              <a:rPr lang="de-AT" sz="1400" dirty="0"/>
              <a:t>(Runge, 2014)</a:t>
            </a:r>
          </a:p>
        </p:txBody>
      </p:sp>
      <p:pic>
        <p:nvPicPr>
          <p:cNvPr id="8" name="Freihand 7">
            <a:extLst>
              <a:ext uri="{FF2B5EF4-FFF2-40B4-BE49-F238E27FC236}">
                <a16:creationId xmlns:a16="http://schemas.microsoft.com/office/drawing/2014/main" xmlns="" id="{1CE350B8-0CA0-4C7C-8BFB-564853272179}"/>
              </a:ext>
            </a:extLst>
          </p:cNvPr>
          <p:cNvPicPr/>
          <p:nvPr/>
        </p:nvPicPr>
        <p:blipFill>
          <a:blip r:embed="rId5" cstate="print"/>
          <a:stretch>
            <a:fillRect/>
          </a:stretch>
        </p:blipFill>
        <p:spPr>
          <a:xfrm>
            <a:off x="4788024" y="2204864"/>
            <a:ext cx="4903200" cy="2746496"/>
          </a:xfrm>
          <a:prstGeom prst="rect">
            <a:avLst/>
          </a:prstGeom>
        </p:spPr>
      </p:pic>
    </p:spTree>
  </p:cSld>
  <p:clrMapOvr>
    <a:masterClrMapping/>
  </p:clrMapOvr>
  <p:transition spd="slow">
    <p:pull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572CB02F-F277-446C-B2F4-F3EB6963BEEF}"/>
              </a:ext>
            </a:extLst>
          </p:cNvPr>
          <p:cNvGraphicFramePr>
            <a:graphicFrameLocks noChangeAspect="1"/>
          </p:cNvGraphicFramePr>
          <p:nvPr>
            <p:extLst>
              <p:ext uri="{D42A27DB-BD31-4B8C-83A1-F6EECF244321}">
                <p14:modId xmlns:p14="http://schemas.microsoft.com/office/powerpoint/2010/main" xmlns="" val="2404065799"/>
              </p:ext>
            </p:extLst>
          </p:nvPr>
        </p:nvGraphicFramePr>
        <p:xfrm>
          <a:off x="1588" y="1588"/>
          <a:ext cx="1588" cy="1588"/>
        </p:xfrm>
        <a:graphic>
          <a:graphicData uri="http://schemas.openxmlformats.org/presentationml/2006/ole">
            <p:oleObj spid="_x0000_s18441" name="think-cell Folie" r:id="rId4" imgW="360" imgH="360" progId="">
              <p:embed/>
            </p:oleObj>
          </a:graphicData>
        </a:graphic>
      </p:graphicFrame>
      <p:sp>
        <p:nvSpPr>
          <p:cNvPr id="4" name="Rechteck 3" hidden="1">
            <a:extLst>
              <a:ext uri="{FF2B5EF4-FFF2-40B4-BE49-F238E27FC236}">
                <a16:creationId xmlns:a16="http://schemas.microsoft.com/office/drawing/2014/main" xmlns="" id="{9A02087F-3218-4C83-83B4-9A40051254D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b="1" dirty="0">
                <a:solidFill>
                  <a:schemeClr val="accent1"/>
                </a:solidFill>
              </a:rPr>
              <a:t>Gesundheit 4.0</a:t>
            </a:r>
          </a:p>
        </p:txBody>
      </p:sp>
      <p:sp>
        <p:nvSpPr>
          <p:cNvPr id="3" name="Inhaltsplatzhalter 2"/>
          <p:cNvSpPr>
            <a:spLocks noGrp="1"/>
          </p:cNvSpPr>
          <p:nvPr>
            <p:ph idx="1"/>
          </p:nvPr>
        </p:nvSpPr>
        <p:spPr/>
        <p:txBody>
          <a:bodyPr>
            <a:normAutofit/>
          </a:bodyPr>
          <a:lstStyle/>
          <a:p>
            <a:pPr>
              <a:buNone/>
            </a:pPr>
            <a:r>
              <a:rPr lang="de-AT" dirty="0"/>
              <a:t>	</a:t>
            </a:r>
          </a:p>
        </p:txBody>
      </p:sp>
      <p:graphicFrame>
        <p:nvGraphicFramePr>
          <p:cNvPr id="6" name="Diagramm 5"/>
          <p:cNvGraphicFramePr/>
          <p:nvPr>
            <p:extLst>
              <p:ext uri="{D42A27DB-BD31-4B8C-83A1-F6EECF244321}">
                <p14:modId xmlns:p14="http://schemas.microsoft.com/office/powerpoint/2010/main" xmlns="" val="571712161"/>
              </p:ext>
            </p:extLst>
          </p:nvPr>
        </p:nvGraphicFramePr>
        <p:xfrm>
          <a:off x="1187624" y="1844824"/>
          <a:ext cx="7056784" cy="388843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Sld>
  <p:clrMapOvr>
    <a:masterClrMapping/>
  </p:clrMapOvr>
  <p:transition spd="slow">
    <p:pull di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F2E62F80-1441-4912-9239-C2AC13C229A0}"/>
              </a:ext>
            </a:extLst>
          </p:cNvPr>
          <p:cNvGraphicFramePr>
            <a:graphicFrameLocks noChangeAspect="1"/>
          </p:cNvGraphicFramePr>
          <p:nvPr>
            <p:extLst>
              <p:ext uri="{D42A27DB-BD31-4B8C-83A1-F6EECF244321}">
                <p14:modId xmlns:p14="http://schemas.microsoft.com/office/powerpoint/2010/main" xmlns="" val="2084088230"/>
              </p:ext>
            </p:extLst>
          </p:nvPr>
        </p:nvGraphicFramePr>
        <p:xfrm>
          <a:off x="1588" y="1588"/>
          <a:ext cx="1588" cy="1588"/>
        </p:xfrm>
        <a:graphic>
          <a:graphicData uri="http://schemas.openxmlformats.org/presentationml/2006/ole">
            <p:oleObj spid="_x0000_s74760" name="think-cell Folie" r:id="rId4" imgW="360" imgH="360" progId="">
              <p:embed/>
            </p:oleObj>
          </a:graphicData>
        </a:graphic>
      </p:graphicFrame>
      <p:sp>
        <p:nvSpPr>
          <p:cNvPr id="5" name="Rechteck 4" hidden="1">
            <a:extLst>
              <a:ext uri="{FF2B5EF4-FFF2-40B4-BE49-F238E27FC236}">
                <a16:creationId xmlns:a16="http://schemas.microsoft.com/office/drawing/2014/main" xmlns="" id="{0E475618-DF1F-4712-A7C9-AF478791B05E}"/>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dirty="0"/>
              <a:t>Gesundheit 4.0</a:t>
            </a:r>
          </a:p>
        </p:txBody>
      </p:sp>
      <p:sp>
        <p:nvSpPr>
          <p:cNvPr id="3" name="Inhaltsplatzhalter 2"/>
          <p:cNvSpPr>
            <a:spLocks noGrp="1"/>
          </p:cNvSpPr>
          <p:nvPr>
            <p:ph idx="1"/>
          </p:nvPr>
        </p:nvSpPr>
        <p:spPr/>
        <p:txBody>
          <a:bodyPr>
            <a:normAutofit fontScale="85000" lnSpcReduction="20000"/>
          </a:bodyPr>
          <a:lstStyle/>
          <a:p>
            <a:pPr marL="347663" indent="-347663"/>
            <a:r>
              <a:rPr lang="de-AT" dirty="0"/>
              <a:t> Ausfalltage als erheblicher Faktor der Wirtschaftlichkeit 	eines Unternehmens.</a:t>
            </a:r>
          </a:p>
          <a:p>
            <a:pPr marL="347663" indent="-347663">
              <a:buNone/>
            </a:pPr>
            <a:endParaRPr lang="de-AT" sz="1600" dirty="0"/>
          </a:p>
          <a:p>
            <a:pPr marL="347663" indent="-347663" algn="ctr">
              <a:buNone/>
            </a:pPr>
            <a:r>
              <a:rPr lang="de-AT" sz="1600" dirty="0"/>
              <a:t>Quelle: fit2work, 2018</a:t>
            </a:r>
          </a:p>
          <a:p>
            <a:pPr marL="347663" indent="-347663" algn="ctr">
              <a:buNone/>
            </a:pPr>
            <a:r>
              <a:rPr lang="de-AT" sz="1600" dirty="0"/>
              <a:t>N=1.000, österreichweit, online-Befragung, branchenübergreifend, 15-64 Jahre, 48% w. + 52% </a:t>
            </a:r>
            <a:r>
              <a:rPr lang="de-AT" sz="1600" dirty="0" smtClean="0"/>
              <a:t>m., </a:t>
            </a:r>
            <a:r>
              <a:rPr lang="de-AT" sz="1600" dirty="0"/>
              <a:t>64% mit </a:t>
            </a:r>
            <a:r>
              <a:rPr lang="de-AT" sz="1600" dirty="0" err="1"/>
              <a:t>Matura</a:t>
            </a:r>
            <a:r>
              <a:rPr lang="de-AT" sz="1600" dirty="0"/>
              <a:t> + 36% ohne </a:t>
            </a:r>
            <a:r>
              <a:rPr lang="de-AT" sz="1600" dirty="0" err="1"/>
              <a:t>Matura</a:t>
            </a:r>
            <a:endParaRPr lang="de-AT" sz="1600" dirty="0"/>
          </a:p>
          <a:p>
            <a:pPr marL="347663" indent="-347663">
              <a:buNone/>
            </a:pPr>
            <a:endParaRPr lang="de-AT" sz="2600" dirty="0"/>
          </a:p>
          <a:p>
            <a:pPr marL="347663" indent="-347663"/>
            <a:r>
              <a:rPr lang="de-AT" sz="2600" b="1" i="1" dirty="0"/>
              <a:t> Top 5 der gesundheitlichen Beeinträchtigungen </a:t>
            </a:r>
            <a:r>
              <a:rPr lang="de-AT" sz="2600" dirty="0"/>
              <a:t>am 	Arbeitsplatz: </a:t>
            </a:r>
          </a:p>
          <a:p>
            <a:pPr marL="347663" indent="-347663"/>
            <a:r>
              <a:rPr lang="de-AT" sz="2600" dirty="0">
                <a:solidFill>
                  <a:schemeClr val="accent1"/>
                </a:solidFill>
              </a:rPr>
              <a:t> Erschöpfung: 18%</a:t>
            </a:r>
          </a:p>
          <a:p>
            <a:pPr marL="347663" indent="-347663"/>
            <a:r>
              <a:rPr lang="de-AT" sz="2600" dirty="0">
                <a:solidFill>
                  <a:schemeClr val="accent1"/>
                </a:solidFill>
              </a:rPr>
              <a:t> Rückenschmerzen: 17%</a:t>
            </a:r>
          </a:p>
          <a:p>
            <a:pPr marL="347663" indent="-347663"/>
            <a:r>
              <a:rPr lang="de-AT" sz="2600" dirty="0">
                <a:solidFill>
                  <a:schemeClr val="accent1"/>
                </a:solidFill>
              </a:rPr>
              <a:t> Nacken- Schulterschmerzen: 17%</a:t>
            </a:r>
          </a:p>
          <a:p>
            <a:pPr marL="347663" indent="-347663"/>
            <a:r>
              <a:rPr lang="de-AT" sz="2600" dirty="0">
                <a:solidFill>
                  <a:schemeClr val="accent1"/>
                </a:solidFill>
              </a:rPr>
              <a:t> Augenprobleme: 11%</a:t>
            </a:r>
          </a:p>
          <a:p>
            <a:pPr marL="347663" indent="-347663"/>
            <a:r>
              <a:rPr lang="de-AT" sz="2600" dirty="0">
                <a:solidFill>
                  <a:schemeClr val="accent1"/>
                </a:solidFill>
              </a:rPr>
              <a:t> Kopfschmerzen: 9%</a:t>
            </a:r>
          </a:p>
          <a:p>
            <a:pPr marL="0" indent="0">
              <a:buNone/>
            </a:pPr>
            <a:endParaRPr lang="de-AT" sz="1500" dirty="0"/>
          </a:p>
          <a:p>
            <a:pPr marL="0" indent="0">
              <a:buNone/>
            </a:pPr>
            <a:r>
              <a:rPr lang="de-AT" sz="1600" dirty="0"/>
              <a:t>	</a:t>
            </a:r>
          </a:p>
          <a:p>
            <a:pPr>
              <a:buNone/>
            </a:pPr>
            <a:endParaRPr lang="de-AT" dirty="0"/>
          </a:p>
        </p:txBody>
      </p:sp>
    </p:spTree>
  </p:cSld>
  <p:clrMapOvr>
    <a:masterClrMapping/>
  </p:clrMapOvr>
  <p:transition spd="slow">
    <p:pull dir="d"/>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AT" sz="3600" dirty="0"/>
              <a:t>Gesundheit 4.0</a:t>
            </a:r>
          </a:p>
        </p:txBody>
      </p:sp>
      <p:sp>
        <p:nvSpPr>
          <p:cNvPr id="3" name="Inhaltsplatzhalter 2"/>
          <p:cNvSpPr>
            <a:spLocks noGrp="1"/>
          </p:cNvSpPr>
          <p:nvPr>
            <p:ph idx="1"/>
          </p:nvPr>
        </p:nvSpPr>
        <p:spPr/>
        <p:txBody>
          <a:bodyPr>
            <a:normAutofit fontScale="85000" lnSpcReduction="10000"/>
          </a:bodyPr>
          <a:lstStyle/>
          <a:p>
            <a:pPr marL="347663" indent="-347663"/>
            <a:r>
              <a:rPr lang="de-AT" b="1" i="1" dirty="0"/>
              <a:t> Gesundheitliche Beeinträchtigung </a:t>
            </a:r>
            <a:r>
              <a:rPr lang="de-AT" dirty="0"/>
              <a:t>am Arbeitsplatz:</a:t>
            </a:r>
          </a:p>
          <a:p>
            <a:pPr marL="347663" indent="-347663"/>
            <a:r>
              <a:rPr lang="de-AT" dirty="0">
                <a:solidFill>
                  <a:schemeClr val="accent1"/>
                </a:solidFill>
              </a:rPr>
              <a:t> eher beeinträchtigt: 34%</a:t>
            </a:r>
          </a:p>
          <a:p>
            <a:pPr marL="347663" indent="-347663"/>
            <a:r>
              <a:rPr lang="de-AT" dirty="0">
                <a:solidFill>
                  <a:schemeClr val="accent1"/>
                </a:solidFill>
              </a:rPr>
              <a:t> ausgebrannt: 48%</a:t>
            </a:r>
          </a:p>
          <a:p>
            <a:pPr marL="0" indent="0">
              <a:buNone/>
            </a:pPr>
            <a:endParaRPr lang="de-AT" dirty="0">
              <a:solidFill>
                <a:schemeClr val="accent1"/>
              </a:solidFill>
            </a:endParaRPr>
          </a:p>
          <a:p>
            <a:pPr marL="0" indent="0">
              <a:buNone/>
            </a:pPr>
            <a:r>
              <a:rPr lang="de-AT" sz="2600" dirty="0"/>
              <a:t>„Es kommt häufig vor, dass ich mich nach der Arbeit leer und ausgebrannt fühle.“: </a:t>
            </a:r>
          </a:p>
          <a:p>
            <a:pPr marL="0" indent="0">
              <a:buNone/>
            </a:pPr>
            <a:r>
              <a:rPr lang="de-AT" sz="2600" dirty="0">
                <a:solidFill>
                  <a:schemeClr val="accent1"/>
                </a:solidFill>
              </a:rPr>
              <a:t>16% trifft voll zu, 14% trifft häufig zu, 18% trifft manchmal zu </a:t>
            </a:r>
            <a:r>
              <a:rPr lang="de-AT" sz="2600" dirty="0">
                <a:solidFill>
                  <a:schemeClr val="accent1"/>
                </a:solidFill>
                <a:sym typeface="Wingdings" pitchFamily="2" charset="2"/>
              </a:rPr>
              <a:t> 48%</a:t>
            </a:r>
            <a:endParaRPr lang="de-AT" sz="2600" dirty="0">
              <a:solidFill>
                <a:schemeClr val="accent1"/>
              </a:solidFill>
            </a:endParaRPr>
          </a:p>
          <a:p>
            <a:pPr marL="0" indent="0">
              <a:buNone/>
            </a:pPr>
            <a:r>
              <a:rPr lang="de-AT" sz="2600" dirty="0"/>
              <a:t>„Obwohl ich meine Arbeit gerne mache, belastet mich die gesundheitliche Beeinträchtigung an meinem Arbeitsplatz sehr.“: </a:t>
            </a:r>
          </a:p>
          <a:p>
            <a:pPr marL="0" indent="0">
              <a:buNone/>
            </a:pPr>
            <a:r>
              <a:rPr lang="de-AT" sz="2600" dirty="0">
                <a:solidFill>
                  <a:schemeClr val="accent1"/>
                </a:solidFill>
              </a:rPr>
              <a:t>11% trifft voll zu, 11% trifft häufig zu, 14% trifft manchmal zu </a:t>
            </a:r>
            <a:r>
              <a:rPr lang="de-AT" sz="2600" dirty="0">
                <a:solidFill>
                  <a:schemeClr val="accent1"/>
                </a:solidFill>
                <a:sym typeface="Wingdings" pitchFamily="2" charset="2"/>
              </a:rPr>
              <a:t> 36%</a:t>
            </a:r>
            <a:endParaRPr lang="de-AT" sz="2600" dirty="0">
              <a:solidFill>
                <a:schemeClr val="accent1"/>
              </a:solidFill>
            </a:endParaRPr>
          </a:p>
          <a:p>
            <a:endParaRPr lang="de-AT" dirty="0"/>
          </a:p>
        </p:txBody>
      </p:sp>
    </p:spTree>
  </p:cSld>
  <p:clrMapOvr>
    <a:masterClrMapping/>
  </p:clrMapOvr>
  <p:transition spd="slow">
    <p:pull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AT" sz="3600" dirty="0"/>
              <a:t>Gesundheit 4.0</a:t>
            </a:r>
          </a:p>
        </p:txBody>
      </p:sp>
      <p:sp>
        <p:nvSpPr>
          <p:cNvPr id="3" name="Inhaltsplatzhalter 2"/>
          <p:cNvSpPr>
            <a:spLocks noGrp="1"/>
          </p:cNvSpPr>
          <p:nvPr>
            <p:ph idx="1"/>
          </p:nvPr>
        </p:nvSpPr>
        <p:spPr/>
        <p:txBody>
          <a:bodyPr>
            <a:normAutofit/>
          </a:bodyPr>
          <a:lstStyle/>
          <a:p>
            <a:pPr marL="347663" indent="-347663"/>
            <a:r>
              <a:rPr lang="de-AT" sz="2400" b="1" i="1" dirty="0"/>
              <a:t> Über 50% der </a:t>
            </a:r>
            <a:r>
              <a:rPr lang="de-AT" sz="2400" b="1" i="1" dirty="0" err="1"/>
              <a:t>ArbeitnehmerInnen</a:t>
            </a:r>
            <a:r>
              <a:rPr lang="de-AT" sz="2400" b="1" i="1" dirty="0"/>
              <a:t> sehen 	Handlungsbedarf  </a:t>
            </a:r>
            <a:r>
              <a:rPr lang="de-AT" sz="2400" dirty="0"/>
              <a:t>in ihren Unternehmen, was 	Gesundheit am Arbeitsplatz betrifft: </a:t>
            </a:r>
          </a:p>
          <a:p>
            <a:pPr marL="0" indent="0">
              <a:buNone/>
            </a:pPr>
            <a:r>
              <a:rPr lang="de-AT" sz="2200" dirty="0">
                <a:solidFill>
                  <a:schemeClr val="accent1"/>
                </a:solidFill>
              </a:rPr>
              <a:t>„Ganz insgesamt betrachtet: Würden Sie sagen, Ihr Unternehmen..</a:t>
            </a:r>
          </a:p>
          <a:p>
            <a:pPr marL="347663" indent="-347663"/>
            <a:r>
              <a:rPr lang="de-AT" sz="2200" dirty="0"/>
              <a:t> … ist ein Vorreiter, wenn es um Gesundheit am Arbeitsplatz geht.“: </a:t>
            </a:r>
            <a:r>
              <a:rPr lang="de-AT" sz="2200" dirty="0">
                <a:solidFill>
                  <a:schemeClr val="accent1"/>
                </a:solidFill>
              </a:rPr>
              <a:t>12%</a:t>
            </a:r>
          </a:p>
          <a:p>
            <a:pPr marL="347663" indent="-347663"/>
            <a:r>
              <a:rPr lang="de-AT" sz="2200" dirty="0"/>
              <a:t> … kümmert sich schon um Gesundheit am Arbeitsplatz, andere 	Dinge haben aber meist Vorrang.“: </a:t>
            </a:r>
            <a:r>
              <a:rPr lang="de-AT" sz="2200" dirty="0">
                <a:solidFill>
                  <a:schemeClr val="accent1"/>
                </a:solidFill>
              </a:rPr>
              <a:t>38%</a:t>
            </a:r>
          </a:p>
          <a:p>
            <a:pPr marL="347663" indent="-347663"/>
            <a:r>
              <a:rPr lang="de-AT" sz="2200" dirty="0"/>
              <a:t> … sollte hier vielmehr tun – das liegt dem Unternehmen nicht wirklich am Herzen.“: </a:t>
            </a:r>
            <a:r>
              <a:rPr lang="de-AT" sz="2200" dirty="0">
                <a:solidFill>
                  <a:schemeClr val="accent1"/>
                </a:solidFill>
              </a:rPr>
              <a:t>18%</a:t>
            </a:r>
          </a:p>
          <a:p>
            <a:endParaRPr lang="de-AT" dirty="0"/>
          </a:p>
        </p:txBody>
      </p:sp>
    </p:spTree>
  </p:cSld>
  <p:clrMapOvr>
    <a:masterClrMapping/>
  </p:clrMapOvr>
  <p:transition spd="slow">
    <p:pull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F6AB9F07-6ECF-4236-A673-F1581AB7E8CF}"/>
              </a:ext>
            </a:extLst>
          </p:cNvPr>
          <p:cNvGraphicFramePr>
            <a:graphicFrameLocks noChangeAspect="1"/>
          </p:cNvGraphicFramePr>
          <p:nvPr>
            <p:extLst>
              <p:ext uri="{D42A27DB-BD31-4B8C-83A1-F6EECF244321}">
                <p14:modId xmlns:p14="http://schemas.microsoft.com/office/powerpoint/2010/main" xmlns="" val="675082173"/>
              </p:ext>
            </p:extLst>
          </p:nvPr>
        </p:nvGraphicFramePr>
        <p:xfrm>
          <a:off x="1588" y="1588"/>
          <a:ext cx="1588" cy="1588"/>
        </p:xfrm>
        <a:graphic>
          <a:graphicData uri="http://schemas.openxmlformats.org/presentationml/2006/ole">
            <p:oleObj spid="_x0000_s3081" name="think-cell Folie" r:id="rId3" imgW="360" imgH="360" progId="">
              <p:embed/>
            </p:oleObj>
          </a:graphicData>
        </a:graphic>
      </p:graphicFrame>
      <p:sp>
        <p:nvSpPr>
          <p:cNvPr id="2" name="Titel 1"/>
          <p:cNvSpPr>
            <a:spLocks noGrp="1"/>
          </p:cNvSpPr>
          <p:nvPr>
            <p:ph type="title"/>
          </p:nvPr>
        </p:nvSpPr>
        <p:spPr/>
        <p:txBody>
          <a:bodyPr>
            <a:normAutofit/>
          </a:bodyPr>
          <a:lstStyle/>
          <a:p>
            <a:r>
              <a:rPr lang="de-AT" sz="3600" dirty="0"/>
              <a:t>Struktur</a:t>
            </a:r>
          </a:p>
        </p:txBody>
      </p:sp>
      <p:sp>
        <p:nvSpPr>
          <p:cNvPr id="3" name="Inhaltsplatzhalter 2"/>
          <p:cNvSpPr>
            <a:spLocks noGrp="1"/>
          </p:cNvSpPr>
          <p:nvPr>
            <p:ph idx="1"/>
          </p:nvPr>
        </p:nvSpPr>
        <p:spPr/>
        <p:txBody>
          <a:bodyPr>
            <a:noAutofit/>
          </a:bodyPr>
          <a:lstStyle/>
          <a:p>
            <a:r>
              <a:rPr lang="de-AT" sz="2400" dirty="0">
                <a:solidFill>
                  <a:schemeClr val="accent1"/>
                </a:solidFill>
              </a:rPr>
              <a:t>Arbeit 4.0: </a:t>
            </a:r>
            <a:r>
              <a:rPr lang="de-AT" sz="2400" dirty="0"/>
              <a:t>Was bedeutet das?</a:t>
            </a:r>
          </a:p>
          <a:p>
            <a:r>
              <a:rPr lang="de-AT" sz="2400" dirty="0"/>
              <a:t>Veränderungen? Kompetenzen? Anforderungen für Führungskräfte? </a:t>
            </a:r>
          </a:p>
          <a:p>
            <a:r>
              <a:rPr lang="de-AT" sz="2400" dirty="0"/>
              <a:t>Welche Vor- und Nachteile bringt Digitalisierung?</a:t>
            </a:r>
          </a:p>
          <a:p>
            <a:r>
              <a:rPr lang="de-AT" sz="2400" dirty="0"/>
              <a:t>Wie agieren </a:t>
            </a:r>
            <a:r>
              <a:rPr lang="de-AT" sz="2400" dirty="0">
                <a:solidFill>
                  <a:schemeClr val="accent1"/>
                </a:solidFill>
              </a:rPr>
              <a:t>unterschiedliche Generationen</a:t>
            </a:r>
            <a:r>
              <a:rPr lang="de-AT" sz="2400" dirty="0">
                <a:solidFill>
                  <a:srgbClr val="FF0000"/>
                </a:solidFill>
              </a:rPr>
              <a:t> </a:t>
            </a:r>
            <a:r>
              <a:rPr lang="de-AT" sz="2400" dirty="0"/>
              <a:t>im Berufsleben?</a:t>
            </a:r>
          </a:p>
          <a:p>
            <a:r>
              <a:rPr lang="de-AT" sz="2400" dirty="0"/>
              <a:t>Wie kann der gesunde Umgang mit digitalem Alltagsstress gelingen? Was bedeutet </a:t>
            </a:r>
            <a:r>
              <a:rPr lang="de-AT" sz="2400" dirty="0" err="1">
                <a:solidFill>
                  <a:schemeClr val="accent1"/>
                </a:solidFill>
              </a:rPr>
              <a:t>Resilienz</a:t>
            </a:r>
            <a:r>
              <a:rPr lang="de-AT" sz="2400" dirty="0"/>
              <a:t>?</a:t>
            </a:r>
          </a:p>
          <a:p>
            <a:r>
              <a:rPr lang="de-AT" sz="2400" dirty="0"/>
              <a:t>Was bedeutet gelebte </a:t>
            </a:r>
            <a:r>
              <a:rPr lang="de-AT" sz="2400" dirty="0">
                <a:solidFill>
                  <a:schemeClr val="accent1"/>
                </a:solidFill>
              </a:rPr>
              <a:t>organisationale Resilienz</a:t>
            </a:r>
            <a:r>
              <a:rPr lang="de-AT" sz="2400" dirty="0"/>
              <a:t>?</a:t>
            </a:r>
          </a:p>
          <a:p>
            <a:pPr marL="0" indent="0">
              <a:buNone/>
            </a:pPr>
            <a:endParaRPr lang="de-AT" sz="2000" dirty="0"/>
          </a:p>
        </p:txBody>
      </p:sp>
    </p:spTree>
  </p:cSld>
  <p:clrMapOvr>
    <a:masterClrMapping/>
  </p:clrMapOvr>
  <p:transition spd="slow">
    <p:pull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12979538-2986-4679-B2F6-14A82411C812}"/>
              </a:ext>
            </a:extLst>
          </p:cNvPr>
          <p:cNvGraphicFramePr>
            <a:graphicFrameLocks noChangeAspect="1"/>
          </p:cNvGraphicFramePr>
          <p:nvPr>
            <p:extLst>
              <p:ext uri="{D42A27DB-BD31-4B8C-83A1-F6EECF244321}">
                <p14:modId xmlns:p14="http://schemas.microsoft.com/office/powerpoint/2010/main" xmlns="" val="353670490"/>
              </p:ext>
            </p:extLst>
          </p:nvPr>
        </p:nvGraphicFramePr>
        <p:xfrm>
          <a:off x="1588" y="1588"/>
          <a:ext cx="1588" cy="1588"/>
        </p:xfrm>
        <a:graphic>
          <a:graphicData uri="http://schemas.openxmlformats.org/presentationml/2006/ole">
            <p:oleObj spid="_x0000_s20489" name="think-cell Folie" r:id="rId4" imgW="360" imgH="360" progId="">
              <p:embed/>
            </p:oleObj>
          </a:graphicData>
        </a:graphic>
      </p:graphicFrame>
      <p:sp>
        <p:nvSpPr>
          <p:cNvPr id="4" name="Rechteck 3" hidden="1">
            <a:extLst>
              <a:ext uri="{FF2B5EF4-FFF2-40B4-BE49-F238E27FC236}">
                <a16:creationId xmlns:a16="http://schemas.microsoft.com/office/drawing/2014/main" xmlns="" id="{62C31E33-0868-4F7D-B7C3-2A1384CAC15D}"/>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600" dirty="0"/>
              <a:t>Gesundheit 4.0</a:t>
            </a:r>
            <a:br>
              <a:rPr lang="de-AT" sz="3600" dirty="0"/>
            </a:br>
            <a:r>
              <a:rPr lang="de-AT" sz="3600" dirty="0"/>
              <a:t>Bedeutung der guten Führungskraf</a:t>
            </a:r>
            <a:r>
              <a:rPr lang="de-AT" sz="3200" dirty="0"/>
              <a:t>t</a:t>
            </a:r>
          </a:p>
        </p:txBody>
      </p:sp>
      <p:sp>
        <p:nvSpPr>
          <p:cNvPr id="3" name="Inhaltsplatzhalter 2"/>
          <p:cNvSpPr>
            <a:spLocks noGrp="1"/>
          </p:cNvSpPr>
          <p:nvPr>
            <p:ph idx="1"/>
          </p:nvPr>
        </p:nvSpPr>
        <p:spPr>
          <a:xfrm>
            <a:off x="460813" y="2030018"/>
            <a:ext cx="3682752" cy="3345235"/>
          </a:xfrm>
        </p:spPr>
        <p:txBody>
          <a:bodyPr>
            <a:normAutofit/>
          </a:bodyPr>
          <a:lstStyle/>
          <a:p>
            <a:pPr marL="0" indent="0" algn="ctr">
              <a:buNone/>
            </a:pPr>
            <a:endParaRPr lang="de-AT" dirty="0"/>
          </a:p>
          <a:p>
            <a:pPr algn="ctr">
              <a:buNone/>
            </a:pPr>
            <a:r>
              <a:rPr lang="de-AT" dirty="0"/>
              <a:t>„Die gefährlichste Quelle für Burnout </a:t>
            </a:r>
          </a:p>
          <a:p>
            <a:pPr algn="ctr">
              <a:buNone/>
            </a:pPr>
            <a:r>
              <a:rPr lang="de-AT" dirty="0"/>
              <a:t>ist schlechte Führung.“ </a:t>
            </a:r>
          </a:p>
          <a:p>
            <a:pPr algn="ctr">
              <a:buNone/>
            </a:pPr>
            <a:r>
              <a:rPr lang="de-AT" sz="1400" dirty="0"/>
              <a:t>(Ruckriegel, 2015)</a:t>
            </a:r>
          </a:p>
          <a:p>
            <a:pPr algn="ctr">
              <a:buNone/>
            </a:pPr>
            <a:endParaRPr lang="de-AT" dirty="0"/>
          </a:p>
        </p:txBody>
      </p:sp>
      <p:grpSp>
        <p:nvGrpSpPr>
          <p:cNvPr id="1033" name="Gruppieren 1032">
            <a:extLst>
              <a:ext uri="{FF2B5EF4-FFF2-40B4-BE49-F238E27FC236}">
                <a16:creationId xmlns:a16="http://schemas.microsoft.com/office/drawing/2014/main" xmlns="" id="{EA43FAE4-DB33-44AE-A3FC-1D3A0B6CCF70}"/>
              </a:ext>
            </a:extLst>
          </p:cNvPr>
          <p:cNvGrpSpPr/>
          <p:nvPr/>
        </p:nvGrpSpPr>
        <p:grpSpPr>
          <a:xfrm>
            <a:off x="4716016" y="2132856"/>
            <a:ext cx="3500640" cy="3097440"/>
            <a:chOff x="4600885" y="2778937"/>
            <a:chExt cx="3500640" cy="3097440"/>
          </a:xfrm>
        </p:grpSpPr>
        <mc:AlternateContent xmlns:mc="http://schemas.openxmlformats.org/markup-compatibility/2006">
          <mc:Choice xmlns:p14="http://schemas.microsoft.com/office/powerpoint/2010/main" xmlns="" Requires="p14">
            <p:contentPart p14:bwMode="auto" r:id="rId7">
              <p14:nvContentPartPr>
                <p14:cNvPr id="7" name="Freihand 6">
                  <a:extLst>
                    <a:ext uri="{FF2B5EF4-FFF2-40B4-BE49-F238E27FC236}">
                      <a16:creationId xmlns:a16="http://schemas.microsoft.com/office/drawing/2014/main" id="{3E82A1BD-9415-4497-8929-D284D63BEB0C}"/>
                    </a:ext>
                  </a:extLst>
                </p14:cNvPr>
                <p14:cNvContentPartPr/>
                <p14:nvPr/>
              </p14:nvContentPartPr>
              <p14:xfrm>
                <a:off x="5242765" y="2893777"/>
                <a:ext cx="29520" cy="579240"/>
              </p14:xfrm>
            </p:contentPart>
          </mc:Choice>
          <mc:Fallback>
            <p:pic>
              <p:nvPicPr>
                <p:cNvPr id="7" name="Freihand 6">
                  <a:extLst>
                    <a:ext uri="{FF2B5EF4-FFF2-40B4-BE49-F238E27FC236}">
                      <a16:creationId xmlns:a16="http://schemas.microsoft.com/office/drawing/2014/main" xmlns="" xmlns:p14="http://schemas.microsoft.com/office/powerpoint/2010/main" id="{3E82A1BD-9415-4497-8929-D284D63BEB0C}"/>
                    </a:ext>
                  </a:extLst>
                </p:cNvPr>
                <p:cNvPicPr/>
                <p:nvPr/>
              </p:nvPicPr>
              <p:blipFill>
                <a:blip r:embed="rId8" cstate="print"/>
                <a:stretch>
                  <a:fillRect/>
                </a:stretch>
              </p:blipFill>
              <p:spPr>
                <a:xfrm>
                  <a:off x="5234125" y="2885137"/>
                  <a:ext cx="47160" cy="5968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
              <p14:nvContentPartPr>
                <p14:cNvPr id="11" name="Freihand 10">
                  <a:extLst>
                    <a:ext uri="{FF2B5EF4-FFF2-40B4-BE49-F238E27FC236}">
                      <a16:creationId xmlns:a16="http://schemas.microsoft.com/office/drawing/2014/main" id="{7040E825-AEFE-46C9-863B-929512C29B82}"/>
                    </a:ext>
                  </a:extLst>
                </p14:cNvPr>
                <p14:cNvContentPartPr/>
                <p14:nvPr/>
              </p14:nvContentPartPr>
              <p14:xfrm>
                <a:off x="5279845" y="2802337"/>
                <a:ext cx="2158200" cy="652320"/>
              </p14:xfrm>
            </p:contentPart>
          </mc:Choice>
          <mc:Fallback>
            <p:pic>
              <p:nvPicPr>
                <p:cNvPr id="11" name="Freihand 10">
                  <a:extLst>
                    <a:ext uri="{FF2B5EF4-FFF2-40B4-BE49-F238E27FC236}">
                      <a16:creationId xmlns:a16="http://schemas.microsoft.com/office/drawing/2014/main" xmlns="" xmlns:p14="http://schemas.microsoft.com/office/powerpoint/2010/main" id="{7040E825-AEFE-46C9-863B-929512C29B82}"/>
                    </a:ext>
                  </a:extLst>
                </p:cNvPr>
                <p:cNvPicPr/>
                <p:nvPr/>
              </p:nvPicPr>
              <p:blipFill>
                <a:blip r:embed="rId10" cstate="print"/>
                <a:stretch>
                  <a:fillRect/>
                </a:stretch>
              </p:blipFill>
              <p:spPr>
                <a:xfrm>
                  <a:off x="5270847" y="2793697"/>
                  <a:ext cx="2175837" cy="6699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
              <p14:nvContentPartPr>
                <p14:cNvPr id="20" name="Freihand 19">
                  <a:extLst>
                    <a:ext uri="{FF2B5EF4-FFF2-40B4-BE49-F238E27FC236}">
                      <a16:creationId xmlns:a16="http://schemas.microsoft.com/office/drawing/2014/main" id="{600DB5A7-2006-4999-A43A-107A53E42AD7}"/>
                    </a:ext>
                  </a:extLst>
                </p14:cNvPr>
                <p14:cNvContentPartPr/>
                <p14:nvPr/>
              </p14:nvContentPartPr>
              <p14:xfrm>
                <a:off x="5272645" y="2778937"/>
                <a:ext cx="1935360" cy="3008520"/>
              </p14:xfrm>
            </p:contentPart>
          </mc:Choice>
          <mc:Fallback>
            <p:pic>
              <p:nvPicPr>
                <p:cNvPr id="20" name="Freihand 19">
                  <a:extLst>
                    <a:ext uri="{FF2B5EF4-FFF2-40B4-BE49-F238E27FC236}">
                      <a16:creationId xmlns:a16="http://schemas.microsoft.com/office/drawing/2014/main" xmlns="" xmlns:p14="http://schemas.microsoft.com/office/powerpoint/2010/main" id="{600DB5A7-2006-4999-A43A-107A53E42AD7}"/>
                    </a:ext>
                  </a:extLst>
                </p:cNvPr>
                <p:cNvPicPr/>
                <p:nvPr/>
              </p:nvPicPr>
              <p:blipFill>
                <a:blip r:embed="rId12" cstate="print"/>
                <a:stretch>
                  <a:fillRect/>
                </a:stretch>
              </p:blipFill>
              <p:spPr>
                <a:xfrm>
                  <a:off x="5264005" y="2770297"/>
                  <a:ext cx="1953000" cy="30261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
              <p14:nvContentPartPr>
                <p14:cNvPr id="25" name="Freihand 24">
                  <a:extLst>
                    <a:ext uri="{FF2B5EF4-FFF2-40B4-BE49-F238E27FC236}">
                      <a16:creationId xmlns:a16="http://schemas.microsoft.com/office/drawing/2014/main" id="{F71C741A-B8C2-483D-B020-9BAEA77BAF7D}"/>
                    </a:ext>
                  </a:extLst>
                </p14:cNvPr>
                <p14:cNvContentPartPr/>
                <p14:nvPr/>
              </p14:nvContentPartPr>
              <p14:xfrm>
                <a:off x="5522485" y="3040657"/>
                <a:ext cx="1577520" cy="230400"/>
              </p14:xfrm>
            </p:contentPart>
          </mc:Choice>
          <mc:Fallback>
            <p:pic>
              <p:nvPicPr>
                <p:cNvPr id="25" name="Freihand 24">
                  <a:extLst>
                    <a:ext uri="{FF2B5EF4-FFF2-40B4-BE49-F238E27FC236}">
                      <a16:creationId xmlns:a16="http://schemas.microsoft.com/office/drawing/2014/main" xmlns="" xmlns:p14="http://schemas.microsoft.com/office/powerpoint/2010/main" id="{F71C741A-B8C2-483D-B020-9BAEA77BAF7D}"/>
                    </a:ext>
                  </a:extLst>
                </p:cNvPr>
                <p:cNvPicPr/>
                <p:nvPr/>
              </p:nvPicPr>
              <p:blipFill>
                <a:blip r:embed="rId14" cstate="print"/>
                <a:stretch>
                  <a:fillRect/>
                </a:stretch>
              </p:blipFill>
              <p:spPr>
                <a:xfrm>
                  <a:off x="5513845" y="3031671"/>
                  <a:ext cx="1595160" cy="248012"/>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
              <p14:nvContentPartPr>
                <p14:cNvPr id="26" name="Freihand 25">
                  <a:extLst>
                    <a:ext uri="{FF2B5EF4-FFF2-40B4-BE49-F238E27FC236}">
                      <a16:creationId xmlns:a16="http://schemas.microsoft.com/office/drawing/2014/main" id="{14AEA613-DCAA-4699-8F5A-E478631F9A8D}"/>
                    </a:ext>
                  </a:extLst>
                </p14:cNvPr>
                <p14:cNvContentPartPr/>
                <p14:nvPr/>
              </p14:nvContentPartPr>
              <p14:xfrm>
                <a:off x="7632445" y="4220737"/>
                <a:ext cx="469080" cy="392040"/>
              </p14:xfrm>
            </p:contentPart>
          </mc:Choice>
          <mc:Fallback>
            <p:pic>
              <p:nvPicPr>
                <p:cNvPr id="26" name="Freihand 25">
                  <a:extLst>
                    <a:ext uri="{FF2B5EF4-FFF2-40B4-BE49-F238E27FC236}">
                      <a16:creationId xmlns:a16="http://schemas.microsoft.com/office/drawing/2014/main" xmlns="" xmlns:p14="http://schemas.microsoft.com/office/powerpoint/2010/main" id="{14AEA613-DCAA-4699-8F5A-E478631F9A8D}"/>
                    </a:ext>
                  </a:extLst>
                </p:cNvPr>
                <p:cNvPicPr/>
                <p:nvPr/>
              </p:nvPicPr>
              <p:blipFill>
                <a:blip r:embed="rId16" cstate="print"/>
                <a:stretch>
                  <a:fillRect/>
                </a:stretch>
              </p:blipFill>
              <p:spPr>
                <a:xfrm>
                  <a:off x="7623445" y="4212097"/>
                  <a:ext cx="486720" cy="409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
              <p14:nvContentPartPr>
                <p14:cNvPr id="27" name="Freihand 26">
                  <a:extLst>
                    <a:ext uri="{FF2B5EF4-FFF2-40B4-BE49-F238E27FC236}">
                      <a16:creationId xmlns:a16="http://schemas.microsoft.com/office/drawing/2014/main" id="{E0D318B1-2753-439D-8DA8-45D3CA62A2E8}"/>
                    </a:ext>
                  </a:extLst>
                </p14:cNvPr>
                <p14:cNvContentPartPr/>
                <p14:nvPr/>
              </p14:nvContentPartPr>
              <p14:xfrm>
                <a:off x="7066885" y="4739497"/>
                <a:ext cx="756720" cy="1001880"/>
              </p14:xfrm>
            </p:contentPart>
          </mc:Choice>
          <mc:Fallback>
            <p:pic>
              <p:nvPicPr>
                <p:cNvPr id="27" name="Freihand 26">
                  <a:extLst>
                    <a:ext uri="{FF2B5EF4-FFF2-40B4-BE49-F238E27FC236}">
                      <a16:creationId xmlns:a16="http://schemas.microsoft.com/office/drawing/2014/main" xmlns="" xmlns:p14="http://schemas.microsoft.com/office/powerpoint/2010/main" id="{E0D318B1-2753-439D-8DA8-45D3CA62A2E8}"/>
                    </a:ext>
                  </a:extLst>
                </p:cNvPr>
                <p:cNvPicPr/>
                <p:nvPr/>
              </p:nvPicPr>
              <p:blipFill>
                <a:blip r:embed="rId18" cstate="print"/>
                <a:stretch>
                  <a:fillRect/>
                </a:stretch>
              </p:blipFill>
              <p:spPr>
                <a:xfrm>
                  <a:off x="7057885" y="4730857"/>
                  <a:ext cx="774360" cy="10195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9">
              <p14:nvContentPartPr>
                <p14:cNvPr id="28" name="Freihand 27">
                  <a:extLst>
                    <a:ext uri="{FF2B5EF4-FFF2-40B4-BE49-F238E27FC236}">
                      <a16:creationId xmlns:a16="http://schemas.microsoft.com/office/drawing/2014/main" id="{4E3597D3-2445-485B-B484-CCE602F1F9DE}"/>
                    </a:ext>
                  </a:extLst>
                </p14:cNvPr>
                <p14:cNvContentPartPr/>
                <p14:nvPr/>
              </p14:nvContentPartPr>
              <p14:xfrm>
                <a:off x="4600885" y="4060897"/>
                <a:ext cx="542520" cy="575640"/>
              </p14:xfrm>
            </p:contentPart>
          </mc:Choice>
          <mc:Fallback>
            <p:pic>
              <p:nvPicPr>
                <p:cNvPr id="28" name="Freihand 27">
                  <a:extLst>
                    <a:ext uri="{FF2B5EF4-FFF2-40B4-BE49-F238E27FC236}">
                      <a16:creationId xmlns:a16="http://schemas.microsoft.com/office/drawing/2014/main" xmlns="" xmlns:p14="http://schemas.microsoft.com/office/powerpoint/2010/main" id="{4E3597D3-2445-485B-B484-CCE602F1F9DE}"/>
                    </a:ext>
                  </a:extLst>
                </p:cNvPr>
                <p:cNvPicPr/>
                <p:nvPr/>
              </p:nvPicPr>
              <p:blipFill>
                <a:blip r:embed="rId20" cstate="print"/>
                <a:stretch>
                  <a:fillRect/>
                </a:stretch>
              </p:blipFill>
              <p:spPr>
                <a:xfrm>
                  <a:off x="4591885" y="4051897"/>
                  <a:ext cx="560160" cy="5932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1">
              <p14:nvContentPartPr>
                <p14:cNvPr id="29" name="Freihand 28">
                  <a:extLst>
                    <a:ext uri="{FF2B5EF4-FFF2-40B4-BE49-F238E27FC236}">
                      <a16:creationId xmlns:a16="http://schemas.microsoft.com/office/drawing/2014/main" id="{9D28B887-C68D-4CAE-BE50-F3FE000292C9}"/>
                    </a:ext>
                  </a:extLst>
                </p14:cNvPr>
                <p14:cNvContentPartPr/>
                <p14:nvPr/>
              </p14:nvContentPartPr>
              <p14:xfrm>
                <a:off x="4719685" y="4773337"/>
                <a:ext cx="653040" cy="1103040"/>
              </p14:xfrm>
            </p:contentPart>
          </mc:Choice>
          <mc:Fallback>
            <p:pic>
              <p:nvPicPr>
                <p:cNvPr id="29" name="Freihand 28">
                  <a:extLst>
                    <a:ext uri="{FF2B5EF4-FFF2-40B4-BE49-F238E27FC236}">
                      <a16:creationId xmlns:a16="http://schemas.microsoft.com/office/drawing/2014/main" xmlns="" xmlns:p14="http://schemas.microsoft.com/office/powerpoint/2010/main" id="{9D28B887-C68D-4CAE-BE50-F3FE000292C9}"/>
                    </a:ext>
                  </a:extLst>
                </p:cNvPr>
                <p:cNvPicPr/>
                <p:nvPr/>
              </p:nvPicPr>
              <p:blipFill>
                <a:blip r:embed="rId22" cstate="print"/>
                <a:stretch>
                  <a:fillRect/>
                </a:stretch>
              </p:blipFill>
              <p:spPr>
                <a:xfrm>
                  <a:off x="4711045" y="4764337"/>
                  <a:ext cx="670680" cy="1120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3">
              <p14:nvContentPartPr>
                <p14:cNvPr id="30" name="Freihand 29">
                  <a:extLst>
                    <a:ext uri="{FF2B5EF4-FFF2-40B4-BE49-F238E27FC236}">
                      <a16:creationId xmlns:a16="http://schemas.microsoft.com/office/drawing/2014/main" id="{154D3073-2754-438B-8F15-08DD05377164}"/>
                    </a:ext>
                  </a:extLst>
                </p14:cNvPr>
                <p14:cNvContentPartPr/>
                <p14:nvPr/>
              </p14:nvContentPartPr>
              <p14:xfrm>
                <a:off x="7175245" y="3189337"/>
                <a:ext cx="217080" cy="300600"/>
              </p14:xfrm>
            </p:contentPart>
          </mc:Choice>
          <mc:Fallback>
            <p:pic>
              <p:nvPicPr>
                <p:cNvPr id="30" name="Freihand 29">
                  <a:extLst>
                    <a:ext uri="{FF2B5EF4-FFF2-40B4-BE49-F238E27FC236}">
                      <a16:creationId xmlns:a16="http://schemas.microsoft.com/office/drawing/2014/main" xmlns="" xmlns:p14="http://schemas.microsoft.com/office/powerpoint/2010/main" id="{154D3073-2754-438B-8F15-08DD05377164}"/>
                    </a:ext>
                  </a:extLst>
                </p:cNvPr>
                <p:cNvPicPr/>
                <p:nvPr/>
              </p:nvPicPr>
              <p:blipFill>
                <a:blip r:embed="rId24" cstate="print"/>
                <a:stretch>
                  <a:fillRect/>
                </a:stretch>
              </p:blipFill>
              <p:spPr>
                <a:xfrm>
                  <a:off x="7139605" y="3117337"/>
                  <a:ext cx="288720" cy="444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5">
              <p14:nvContentPartPr>
                <p14:cNvPr id="31" name="Freihand 30">
                  <a:extLst>
                    <a:ext uri="{FF2B5EF4-FFF2-40B4-BE49-F238E27FC236}">
                      <a16:creationId xmlns:a16="http://schemas.microsoft.com/office/drawing/2014/main" id="{9BB66578-1E7C-4F42-8A10-388E814FAD61}"/>
                    </a:ext>
                  </a:extLst>
                </p14:cNvPr>
                <p14:cNvContentPartPr/>
                <p14:nvPr/>
              </p14:nvContentPartPr>
              <p14:xfrm>
                <a:off x="5522485" y="3489217"/>
                <a:ext cx="1607760" cy="74160"/>
              </p14:xfrm>
            </p:contentPart>
          </mc:Choice>
          <mc:Fallback>
            <p:pic>
              <p:nvPicPr>
                <p:cNvPr id="31" name="Freihand 30">
                  <a:extLst>
                    <a:ext uri="{FF2B5EF4-FFF2-40B4-BE49-F238E27FC236}">
                      <a16:creationId xmlns:a16="http://schemas.microsoft.com/office/drawing/2014/main" xmlns="" xmlns:p14="http://schemas.microsoft.com/office/powerpoint/2010/main" id="{9BB66578-1E7C-4F42-8A10-388E814FAD61}"/>
                    </a:ext>
                  </a:extLst>
                </p:cNvPr>
                <p:cNvPicPr/>
                <p:nvPr/>
              </p:nvPicPr>
              <p:blipFill>
                <a:blip r:embed="rId26" cstate="print"/>
                <a:stretch>
                  <a:fillRect/>
                </a:stretch>
              </p:blipFill>
              <p:spPr>
                <a:xfrm>
                  <a:off x="5486845" y="3417577"/>
                  <a:ext cx="1679400" cy="2178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7">
              <p14:nvContentPartPr>
                <p14:cNvPr id="1024" name="Freihand 1023">
                  <a:extLst>
                    <a:ext uri="{FF2B5EF4-FFF2-40B4-BE49-F238E27FC236}">
                      <a16:creationId xmlns:a16="http://schemas.microsoft.com/office/drawing/2014/main" id="{95B57DD3-2279-4D8F-980C-369BA9C88D1E}"/>
                    </a:ext>
                  </a:extLst>
                </p14:cNvPr>
                <p14:cNvContentPartPr/>
                <p14:nvPr/>
              </p14:nvContentPartPr>
              <p14:xfrm>
                <a:off x="7796245" y="4277617"/>
                <a:ext cx="219600" cy="275040"/>
              </p14:xfrm>
            </p:contentPart>
          </mc:Choice>
          <mc:Fallback>
            <p:pic>
              <p:nvPicPr>
                <p:cNvPr id="1024" name="Freihand 1023">
                  <a:extLst>
                    <a:ext uri="{FF2B5EF4-FFF2-40B4-BE49-F238E27FC236}">
                      <a16:creationId xmlns:a16="http://schemas.microsoft.com/office/drawing/2014/main" xmlns="" xmlns:p14="http://schemas.microsoft.com/office/powerpoint/2010/main" id="{95B57DD3-2279-4D8F-980C-369BA9C88D1E}"/>
                    </a:ext>
                  </a:extLst>
                </p:cNvPr>
                <p:cNvPicPr/>
                <p:nvPr/>
              </p:nvPicPr>
              <p:blipFill>
                <a:blip r:embed="rId28" cstate="print"/>
                <a:stretch>
                  <a:fillRect/>
                </a:stretch>
              </p:blipFill>
              <p:spPr>
                <a:xfrm>
                  <a:off x="7760605" y="4205977"/>
                  <a:ext cx="291240" cy="418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9">
              <p14:nvContentPartPr>
                <p14:cNvPr id="1025" name="Freihand 1024">
                  <a:extLst>
                    <a:ext uri="{FF2B5EF4-FFF2-40B4-BE49-F238E27FC236}">
                      <a16:creationId xmlns:a16="http://schemas.microsoft.com/office/drawing/2014/main" id="{98D82BAD-2B5F-4CE2-8204-00CD749ECAD6}"/>
                    </a:ext>
                  </a:extLst>
                </p14:cNvPr>
                <p14:cNvContentPartPr/>
                <p14:nvPr/>
              </p14:nvContentPartPr>
              <p14:xfrm>
                <a:off x="7444885" y="4803577"/>
                <a:ext cx="280440" cy="869760"/>
              </p14:xfrm>
            </p:contentPart>
          </mc:Choice>
          <mc:Fallback>
            <p:pic>
              <p:nvPicPr>
                <p:cNvPr id="1025" name="Freihand 1024">
                  <a:extLst>
                    <a:ext uri="{FF2B5EF4-FFF2-40B4-BE49-F238E27FC236}">
                      <a16:creationId xmlns:a16="http://schemas.microsoft.com/office/drawing/2014/main" xmlns="" xmlns:p14="http://schemas.microsoft.com/office/powerpoint/2010/main" id="{98D82BAD-2B5F-4CE2-8204-00CD749ECAD6}"/>
                    </a:ext>
                  </a:extLst>
                </p:cNvPr>
                <p:cNvPicPr/>
                <p:nvPr/>
              </p:nvPicPr>
              <p:blipFill>
                <a:blip r:embed="rId30" cstate="print"/>
                <a:stretch>
                  <a:fillRect/>
                </a:stretch>
              </p:blipFill>
              <p:spPr>
                <a:xfrm>
                  <a:off x="7408885" y="4731937"/>
                  <a:ext cx="352080" cy="1013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1">
              <p14:nvContentPartPr>
                <p14:cNvPr id="1027" name="Freihand 1026">
                  <a:extLst>
                    <a:ext uri="{FF2B5EF4-FFF2-40B4-BE49-F238E27FC236}">
                      <a16:creationId xmlns:a16="http://schemas.microsoft.com/office/drawing/2014/main" id="{7193ECF4-7DE8-416F-8002-30E58D992B55}"/>
                    </a:ext>
                  </a:extLst>
                </p14:cNvPr>
                <p14:cNvContentPartPr/>
                <p14:nvPr/>
              </p14:nvContentPartPr>
              <p14:xfrm>
                <a:off x="5141245" y="4889977"/>
                <a:ext cx="159840" cy="931680"/>
              </p14:xfrm>
            </p:contentPart>
          </mc:Choice>
          <mc:Fallback>
            <p:pic>
              <p:nvPicPr>
                <p:cNvPr id="1027" name="Freihand 1026">
                  <a:extLst>
                    <a:ext uri="{FF2B5EF4-FFF2-40B4-BE49-F238E27FC236}">
                      <a16:creationId xmlns:a16="http://schemas.microsoft.com/office/drawing/2014/main" xmlns="" xmlns:p14="http://schemas.microsoft.com/office/powerpoint/2010/main" id="{7193ECF4-7DE8-416F-8002-30E58D992B55}"/>
                    </a:ext>
                  </a:extLst>
                </p:cNvPr>
                <p:cNvPicPr/>
                <p:nvPr/>
              </p:nvPicPr>
              <p:blipFill>
                <a:blip r:embed="rId32" cstate="print"/>
                <a:stretch>
                  <a:fillRect/>
                </a:stretch>
              </p:blipFill>
              <p:spPr>
                <a:xfrm>
                  <a:off x="5105245" y="4817977"/>
                  <a:ext cx="231480" cy="10753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3">
              <p14:nvContentPartPr>
                <p14:cNvPr id="1028" name="Freihand 1027">
                  <a:extLst>
                    <a:ext uri="{FF2B5EF4-FFF2-40B4-BE49-F238E27FC236}">
                      <a16:creationId xmlns:a16="http://schemas.microsoft.com/office/drawing/2014/main" id="{FE853A01-3816-4DE8-8C3B-F147BEBCF06F}"/>
                    </a:ext>
                  </a:extLst>
                </p14:cNvPr>
                <p14:cNvContentPartPr/>
                <p14:nvPr/>
              </p14:nvContentPartPr>
              <p14:xfrm>
                <a:off x="4789525" y="4132177"/>
                <a:ext cx="243360" cy="402480"/>
              </p14:xfrm>
            </p:contentPart>
          </mc:Choice>
          <mc:Fallback>
            <p:pic>
              <p:nvPicPr>
                <p:cNvPr id="1028" name="Freihand 1027">
                  <a:extLst>
                    <a:ext uri="{FF2B5EF4-FFF2-40B4-BE49-F238E27FC236}">
                      <a16:creationId xmlns:a16="http://schemas.microsoft.com/office/drawing/2014/main" xmlns="" xmlns:p14="http://schemas.microsoft.com/office/powerpoint/2010/main" id="{FE853A01-3816-4DE8-8C3B-F147BEBCF06F}"/>
                    </a:ext>
                  </a:extLst>
                </p:cNvPr>
                <p:cNvPicPr/>
                <p:nvPr/>
              </p:nvPicPr>
              <p:blipFill>
                <a:blip r:embed="rId34" cstate="print"/>
                <a:stretch>
                  <a:fillRect/>
                </a:stretch>
              </p:blipFill>
              <p:spPr>
                <a:xfrm>
                  <a:off x="4753885" y="4060537"/>
                  <a:ext cx="315000" cy="546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5">
              <p14:nvContentPartPr>
                <p14:cNvPr id="1029" name="Freihand 1028">
                  <a:extLst>
                    <a:ext uri="{FF2B5EF4-FFF2-40B4-BE49-F238E27FC236}">
                      <a16:creationId xmlns:a16="http://schemas.microsoft.com/office/drawing/2014/main" id="{0B9C4127-315A-48AA-902B-8B67F40E7754}"/>
                    </a:ext>
                  </a:extLst>
                </p14:cNvPr>
                <p14:cNvContentPartPr/>
                <p14:nvPr/>
              </p14:nvContentPartPr>
              <p14:xfrm>
                <a:off x="7280725" y="2920417"/>
                <a:ext cx="153000" cy="180360"/>
              </p14:xfrm>
            </p:contentPart>
          </mc:Choice>
          <mc:Fallback>
            <p:pic>
              <p:nvPicPr>
                <p:cNvPr id="1029" name="Freihand 1028">
                  <a:extLst>
                    <a:ext uri="{FF2B5EF4-FFF2-40B4-BE49-F238E27FC236}">
                      <a16:creationId xmlns:a16="http://schemas.microsoft.com/office/drawing/2014/main" xmlns="" xmlns:p14="http://schemas.microsoft.com/office/powerpoint/2010/main" id="{0B9C4127-315A-48AA-902B-8B67F40E7754}"/>
                    </a:ext>
                  </a:extLst>
                </p:cNvPr>
                <p:cNvPicPr/>
                <p:nvPr/>
              </p:nvPicPr>
              <p:blipFill>
                <a:blip r:embed="rId36" cstate="print"/>
                <a:stretch>
                  <a:fillRect/>
                </a:stretch>
              </p:blipFill>
              <p:spPr>
                <a:xfrm>
                  <a:off x="7245085" y="2848777"/>
                  <a:ext cx="224640" cy="324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7">
              <p14:nvContentPartPr>
                <p14:cNvPr id="1030" name="Freihand 1029">
                  <a:extLst>
                    <a:ext uri="{FF2B5EF4-FFF2-40B4-BE49-F238E27FC236}">
                      <a16:creationId xmlns:a16="http://schemas.microsoft.com/office/drawing/2014/main" id="{BD1B02A4-4FF1-4D41-919E-C52C12803EBA}"/>
                    </a:ext>
                  </a:extLst>
                </p14:cNvPr>
                <p14:cNvContentPartPr/>
                <p14:nvPr/>
              </p14:nvContentPartPr>
              <p14:xfrm>
                <a:off x="7363165" y="3074497"/>
                <a:ext cx="113040" cy="205920"/>
              </p14:xfrm>
            </p:contentPart>
          </mc:Choice>
          <mc:Fallback>
            <p:pic>
              <p:nvPicPr>
                <p:cNvPr id="1030" name="Freihand 1029">
                  <a:extLst>
                    <a:ext uri="{FF2B5EF4-FFF2-40B4-BE49-F238E27FC236}">
                      <a16:creationId xmlns:a16="http://schemas.microsoft.com/office/drawing/2014/main" xmlns="" xmlns:p14="http://schemas.microsoft.com/office/powerpoint/2010/main" id="{BD1B02A4-4FF1-4D41-919E-C52C12803EBA}"/>
                    </a:ext>
                  </a:extLst>
                </p:cNvPr>
                <p:cNvPicPr/>
                <p:nvPr/>
              </p:nvPicPr>
              <p:blipFill>
                <a:blip r:embed="rId38" cstate="print"/>
                <a:stretch>
                  <a:fillRect/>
                </a:stretch>
              </p:blipFill>
              <p:spPr>
                <a:xfrm>
                  <a:off x="7327165" y="3002857"/>
                  <a:ext cx="184680" cy="3495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9">
              <p14:nvContentPartPr>
                <p14:cNvPr id="1031" name="Freihand 1030">
                  <a:extLst>
                    <a:ext uri="{FF2B5EF4-FFF2-40B4-BE49-F238E27FC236}">
                      <a16:creationId xmlns:a16="http://schemas.microsoft.com/office/drawing/2014/main" id="{25CAA328-6C7E-4A65-A779-37F805C530A6}"/>
                    </a:ext>
                  </a:extLst>
                </p14:cNvPr>
                <p14:cNvContentPartPr/>
                <p14:nvPr/>
              </p14:nvContentPartPr>
              <p14:xfrm>
                <a:off x="6353005" y="3930577"/>
                <a:ext cx="43560" cy="1754280"/>
              </p14:xfrm>
            </p:contentPart>
          </mc:Choice>
          <mc:Fallback>
            <p:pic>
              <p:nvPicPr>
                <p:cNvPr id="1031" name="Freihand 1030">
                  <a:extLst>
                    <a:ext uri="{FF2B5EF4-FFF2-40B4-BE49-F238E27FC236}">
                      <a16:creationId xmlns:a16="http://schemas.microsoft.com/office/drawing/2014/main" xmlns="" xmlns:p14="http://schemas.microsoft.com/office/powerpoint/2010/main" id="{25CAA328-6C7E-4A65-A779-37F805C530A6}"/>
                    </a:ext>
                  </a:extLst>
                </p:cNvPr>
                <p:cNvPicPr/>
                <p:nvPr/>
              </p:nvPicPr>
              <p:blipFill>
                <a:blip r:embed="rId40" cstate="print"/>
                <a:stretch>
                  <a:fillRect/>
                </a:stretch>
              </p:blipFill>
              <p:spPr>
                <a:xfrm>
                  <a:off x="6317365" y="3858577"/>
                  <a:ext cx="115200" cy="1897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1">
              <p14:nvContentPartPr>
                <p14:cNvPr id="1032" name="Freihand 1031">
                  <a:extLst>
                    <a:ext uri="{FF2B5EF4-FFF2-40B4-BE49-F238E27FC236}">
                      <a16:creationId xmlns:a16="http://schemas.microsoft.com/office/drawing/2014/main" id="{A0E9055D-4D35-486B-A676-7DC0771213FA}"/>
                    </a:ext>
                  </a:extLst>
                </p14:cNvPr>
                <p14:cNvContentPartPr/>
                <p14:nvPr/>
              </p14:nvContentPartPr>
              <p14:xfrm>
                <a:off x="6273445" y="5359057"/>
                <a:ext cx="16200" cy="345600"/>
              </p14:xfrm>
            </p:contentPart>
          </mc:Choice>
          <mc:Fallback>
            <p:pic>
              <p:nvPicPr>
                <p:cNvPr id="1032" name="Freihand 1031">
                  <a:extLst>
                    <a:ext uri="{FF2B5EF4-FFF2-40B4-BE49-F238E27FC236}">
                      <a16:creationId xmlns:a16="http://schemas.microsoft.com/office/drawing/2014/main" xmlns="" xmlns:p14="http://schemas.microsoft.com/office/powerpoint/2010/main" id="{A0E9055D-4D35-486B-A676-7DC0771213FA}"/>
                    </a:ext>
                  </a:extLst>
                </p:cNvPr>
                <p:cNvPicPr/>
                <p:nvPr/>
              </p:nvPicPr>
              <p:blipFill>
                <a:blip r:embed="rId42" cstate="print"/>
                <a:stretch>
                  <a:fillRect/>
                </a:stretch>
              </p:blipFill>
              <p:spPr>
                <a:xfrm>
                  <a:off x="6237805" y="5287417"/>
                  <a:ext cx="87840" cy="489240"/>
                </a:xfrm>
                <a:prstGeom prst="rect">
                  <a:avLst/>
                </a:prstGeom>
              </p:spPr>
            </p:pic>
          </mc:Fallback>
        </mc:AlternateContent>
      </p:grpSp>
    </p:spTree>
  </p:cSld>
  <p:clrMapOvr>
    <a:masterClrMapping/>
  </p:clrMapOvr>
  <p:transition spd="slow">
    <p:pull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694A2EBF-AA27-4666-BB9D-ADEAAB2944A3}"/>
              </a:ext>
            </a:extLst>
          </p:cNvPr>
          <p:cNvGraphicFramePr>
            <a:graphicFrameLocks noChangeAspect="1"/>
          </p:cNvGraphicFramePr>
          <p:nvPr>
            <p:extLst>
              <p:ext uri="{D42A27DB-BD31-4B8C-83A1-F6EECF244321}">
                <p14:modId xmlns:p14="http://schemas.microsoft.com/office/powerpoint/2010/main" xmlns="" val="3817237022"/>
              </p:ext>
            </p:extLst>
          </p:nvPr>
        </p:nvGraphicFramePr>
        <p:xfrm>
          <a:off x="1588" y="1588"/>
          <a:ext cx="1588" cy="1588"/>
        </p:xfrm>
        <a:graphic>
          <a:graphicData uri="http://schemas.openxmlformats.org/presentationml/2006/ole">
            <p:oleObj spid="_x0000_s21513" name="think-cell Folie" r:id="rId4" imgW="360" imgH="360" progId="">
              <p:embed/>
            </p:oleObj>
          </a:graphicData>
        </a:graphic>
      </p:graphicFrame>
      <p:sp>
        <p:nvSpPr>
          <p:cNvPr id="4" name="Rechteck 3" hidden="1">
            <a:extLst>
              <a:ext uri="{FF2B5EF4-FFF2-40B4-BE49-F238E27FC236}">
                <a16:creationId xmlns:a16="http://schemas.microsoft.com/office/drawing/2014/main" xmlns="" id="{F45EDBA2-2D2A-4415-A0D5-14B772804402}"/>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dirty="0"/>
              <a:t>Gesundheit 4.0</a:t>
            </a:r>
            <a:br>
              <a:rPr lang="de-AT" dirty="0"/>
            </a:br>
            <a:r>
              <a:rPr lang="de-AT" dirty="0"/>
              <a:t>Bedeutung der guten Führungskraft</a:t>
            </a:r>
          </a:p>
        </p:txBody>
      </p:sp>
      <p:sp>
        <p:nvSpPr>
          <p:cNvPr id="3" name="Inhaltsplatzhalter 2"/>
          <p:cNvSpPr>
            <a:spLocks noGrp="1"/>
          </p:cNvSpPr>
          <p:nvPr>
            <p:ph idx="1"/>
          </p:nvPr>
        </p:nvSpPr>
        <p:spPr/>
        <p:txBody>
          <a:bodyPr>
            <a:normAutofit/>
          </a:bodyPr>
          <a:lstStyle/>
          <a:p>
            <a:endParaRPr lang="de-AT" sz="2400" dirty="0"/>
          </a:p>
          <a:p>
            <a:r>
              <a:rPr lang="de-AT" sz="2400" dirty="0"/>
              <a:t>als Führungskraft präsent sein</a:t>
            </a:r>
          </a:p>
          <a:p>
            <a:r>
              <a:rPr lang="de-AT" sz="2400" dirty="0"/>
              <a:t>Sinn und Zweck definieren und kommunizieren</a:t>
            </a:r>
          </a:p>
          <a:p>
            <a:r>
              <a:rPr lang="de-AT" sz="2400" dirty="0"/>
              <a:t>Austausch- und Abstimmungsprozesse </a:t>
            </a:r>
            <a:r>
              <a:rPr lang="de-AT" sz="2400" dirty="0">
                <a:sym typeface="Wingdings" pitchFamily="2" charset="2"/>
              </a:rPr>
              <a:t> </a:t>
            </a:r>
            <a:r>
              <a:rPr lang="de-AT" sz="2400" dirty="0" err="1">
                <a:sym typeface="Wingdings" pitchFamily="2" charset="2"/>
              </a:rPr>
              <a:t>Commitment</a:t>
            </a:r>
            <a:endParaRPr lang="de-AT" sz="2400" dirty="0"/>
          </a:p>
          <a:p>
            <a:r>
              <a:rPr lang="de-AT" sz="2400" dirty="0"/>
              <a:t>persönliche Worte für die MA finden</a:t>
            </a:r>
          </a:p>
          <a:p>
            <a:r>
              <a:rPr lang="de-AT" sz="2400" dirty="0"/>
              <a:t>Unterstützung bei gesundheitlichen Problemen</a:t>
            </a:r>
          </a:p>
          <a:p>
            <a:r>
              <a:rPr lang="de-AT" sz="2400" dirty="0"/>
              <a:t>bei Kleinigkeiten großzügig sein</a:t>
            </a:r>
          </a:p>
          <a:p>
            <a:r>
              <a:rPr lang="de-AT" sz="2400" dirty="0"/>
              <a:t>Arbeitsaufträge kreativ gestalten</a:t>
            </a:r>
          </a:p>
          <a:p>
            <a:r>
              <a:rPr lang="de-AT" sz="2400" dirty="0"/>
              <a:t>Entspannungsmöglichkeiten schaffen</a:t>
            </a:r>
          </a:p>
          <a:p>
            <a:r>
              <a:rPr lang="de-AT" sz="2400" dirty="0"/>
              <a:t>Raum und Zeit für Beziehungspflege geben</a:t>
            </a:r>
          </a:p>
        </p:txBody>
      </p:sp>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blinds(horizont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blinds(horizontal)">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blinds(horizontal)">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blinds(horizontal)">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blinds(horizontal)">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blinds(horizontal)">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blinds(horizontal)">
                                      <p:cBhvr>
                                        <p:cTn id="42" dur="500"/>
                                        <p:tgtEl>
                                          <p:spTgt spid="3">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Effect transition="in" filter="blinds(horizontal)">
                                      <p:cBhvr>
                                        <p:cTn id="47"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231B9AAE-C163-47E1-9079-DA85F9B44673}"/>
              </a:ext>
            </a:extLst>
          </p:cNvPr>
          <p:cNvGraphicFramePr>
            <a:graphicFrameLocks noChangeAspect="1"/>
          </p:cNvGraphicFramePr>
          <p:nvPr>
            <p:extLst>
              <p:ext uri="{D42A27DB-BD31-4B8C-83A1-F6EECF244321}">
                <p14:modId xmlns:p14="http://schemas.microsoft.com/office/powerpoint/2010/main" xmlns="" val="2480268418"/>
              </p:ext>
            </p:extLst>
          </p:nvPr>
        </p:nvGraphicFramePr>
        <p:xfrm>
          <a:off x="1588" y="1588"/>
          <a:ext cx="1588" cy="1588"/>
        </p:xfrm>
        <a:graphic>
          <a:graphicData uri="http://schemas.openxmlformats.org/presentationml/2006/ole">
            <p:oleObj spid="_x0000_s22537" name="think-cell Folie" r:id="rId4" imgW="360" imgH="360" progId="">
              <p:embed/>
            </p:oleObj>
          </a:graphicData>
        </a:graphic>
      </p:graphicFrame>
      <p:sp>
        <p:nvSpPr>
          <p:cNvPr id="4" name="Rechteck 3" hidden="1">
            <a:extLst>
              <a:ext uri="{FF2B5EF4-FFF2-40B4-BE49-F238E27FC236}">
                <a16:creationId xmlns:a16="http://schemas.microsoft.com/office/drawing/2014/main" xmlns="" id="{E14817D0-B9F5-42BA-B719-1B2F3562DB22}"/>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800" b="1" i="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600" dirty="0"/>
              <a:t>Umgang mit digitalem Alltagsstress. </a:t>
            </a:r>
            <a:br>
              <a:rPr lang="de-AT" sz="3600" dirty="0"/>
            </a:br>
            <a:r>
              <a:rPr lang="de-AT" sz="3600" dirty="0"/>
              <a:t>Was bedeutet </a:t>
            </a:r>
            <a:r>
              <a:rPr lang="de-AT" sz="3600" i="1" dirty="0">
                <a:solidFill>
                  <a:schemeClr val="accent6"/>
                </a:solidFill>
              </a:rPr>
              <a:t>Resilienz </a:t>
            </a:r>
            <a:r>
              <a:rPr lang="de-AT" sz="3600" dirty="0"/>
              <a:t>?</a:t>
            </a:r>
            <a:r>
              <a:rPr lang="de-AT" dirty="0"/>
              <a:t/>
            </a:r>
            <a:br>
              <a:rPr lang="de-AT" dirty="0"/>
            </a:br>
            <a:endParaRPr lang="de-AT" dirty="0"/>
          </a:p>
        </p:txBody>
      </p:sp>
      <p:sp>
        <p:nvSpPr>
          <p:cNvPr id="3" name="Inhaltsplatzhalter 2"/>
          <p:cNvSpPr>
            <a:spLocks noGrp="1"/>
          </p:cNvSpPr>
          <p:nvPr>
            <p:ph idx="1"/>
          </p:nvPr>
        </p:nvSpPr>
        <p:spPr>
          <a:xfrm>
            <a:off x="457200" y="1600200"/>
            <a:ext cx="5915000" cy="4525963"/>
          </a:xfrm>
        </p:spPr>
        <p:txBody>
          <a:bodyPr>
            <a:normAutofit/>
          </a:bodyPr>
          <a:lstStyle/>
          <a:p>
            <a:endParaRPr lang="de-AT" sz="2400" dirty="0"/>
          </a:p>
          <a:p>
            <a:r>
              <a:rPr lang="de-AT" sz="2400" dirty="0"/>
              <a:t>Resilienz = Widerstandskraft, Spannkraft</a:t>
            </a:r>
          </a:p>
          <a:p>
            <a:r>
              <a:rPr lang="de-AT" sz="2400" dirty="0" err="1"/>
              <a:t>Resilienz</a:t>
            </a:r>
            <a:r>
              <a:rPr lang="de-AT" sz="2400" dirty="0"/>
              <a:t> = die Fähigkeit, Krisen im Lebenszyklus unter Rückgriff auf persönliche und sozial vermittelte Ressourcen zu meistern</a:t>
            </a:r>
          </a:p>
          <a:p>
            <a:r>
              <a:rPr lang="de-AT" sz="2400" dirty="0" err="1"/>
              <a:t>Resilienz</a:t>
            </a:r>
            <a:r>
              <a:rPr lang="de-AT" sz="2400" dirty="0"/>
              <a:t> = eine variable und situationsspezifische Größe</a:t>
            </a:r>
          </a:p>
          <a:p>
            <a:r>
              <a:rPr lang="de-AT" sz="2400" dirty="0"/>
              <a:t>Gegenpol = Vulnerabilität (Verwundbarkeit, Anfälligkeit)</a:t>
            </a:r>
          </a:p>
        </p:txBody>
      </p:sp>
      <p:grpSp>
        <p:nvGrpSpPr>
          <p:cNvPr id="2184" name="Gruppieren 2183">
            <a:extLst>
              <a:ext uri="{FF2B5EF4-FFF2-40B4-BE49-F238E27FC236}">
                <a16:creationId xmlns:a16="http://schemas.microsoft.com/office/drawing/2014/main" xmlns="" id="{652BF1B2-9D27-4217-874B-5B17738FAD78}"/>
              </a:ext>
            </a:extLst>
          </p:cNvPr>
          <p:cNvGrpSpPr/>
          <p:nvPr/>
        </p:nvGrpSpPr>
        <p:grpSpPr>
          <a:xfrm>
            <a:off x="6156176" y="1597986"/>
            <a:ext cx="2328656" cy="4423302"/>
            <a:chOff x="6654232" y="2223318"/>
            <a:chExt cx="1830600" cy="3477240"/>
          </a:xfrm>
        </p:grpSpPr>
        <mc:AlternateContent xmlns:mc="http://schemas.openxmlformats.org/markup-compatibility/2006">
          <mc:Choice xmlns:p14="http://schemas.microsoft.com/office/powerpoint/2010/main" xmlns="" Requires="p14">
            <p:contentPart p14:bwMode="auto" r:id="rId7">
              <p14:nvContentPartPr>
                <p14:cNvPr id="2074" name="Freihand 2073">
                  <a:extLst>
                    <a:ext uri="{FF2B5EF4-FFF2-40B4-BE49-F238E27FC236}">
                      <a16:creationId xmlns:a16="http://schemas.microsoft.com/office/drawing/2014/main" id="{E741E589-609C-4ED3-BA68-6F2D0AC2DD17}"/>
                    </a:ext>
                  </a:extLst>
                </p14:cNvPr>
                <p14:cNvContentPartPr/>
                <p14:nvPr/>
              </p14:nvContentPartPr>
              <p14:xfrm>
                <a:off x="6654232" y="2223318"/>
                <a:ext cx="1270080" cy="2560320"/>
              </p14:xfrm>
            </p:contentPart>
          </mc:Choice>
          <mc:Fallback>
            <p:pic>
              <p:nvPicPr>
                <p:cNvPr id="2074" name="Freihand 2073">
                  <a:extLst>
                    <a:ext uri="{FF2B5EF4-FFF2-40B4-BE49-F238E27FC236}">
                      <a16:creationId xmlns:a16="http://schemas.microsoft.com/office/drawing/2014/main" xmlns="" xmlns:p14="http://schemas.microsoft.com/office/powerpoint/2010/main" id="{E741E589-609C-4ED3-BA68-6F2D0AC2DD17}"/>
                    </a:ext>
                  </a:extLst>
                </p:cNvPr>
                <p:cNvPicPr/>
                <p:nvPr/>
              </p:nvPicPr>
              <p:blipFill>
                <a:blip r:embed="rId8" cstate="print"/>
                <a:stretch>
                  <a:fillRect/>
                </a:stretch>
              </p:blipFill>
              <p:spPr>
                <a:xfrm>
                  <a:off x="6640362" y="2209449"/>
                  <a:ext cx="1298103" cy="25883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
              <p14:nvContentPartPr>
                <p14:cNvPr id="2079" name="Freihand 2078">
                  <a:extLst>
                    <a:ext uri="{FF2B5EF4-FFF2-40B4-BE49-F238E27FC236}">
                      <a16:creationId xmlns:a16="http://schemas.microsoft.com/office/drawing/2014/main" id="{47E47A79-22EA-4AD7-AFB9-FF65D4DABA97}"/>
                    </a:ext>
                  </a:extLst>
                </p14:cNvPr>
                <p14:cNvContentPartPr/>
                <p14:nvPr/>
              </p14:nvContentPartPr>
              <p14:xfrm>
                <a:off x="6905512" y="3133038"/>
                <a:ext cx="1579320" cy="1206000"/>
              </p14:xfrm>
            </p:contentPart>
          </mc:Choice>
          <mc:Fallback>
            <p:pic>
              <p:nvPicPr>
                <p:cNvPr id="2079" name="Freihand 2078">
                  <a:extLst>
                    <a:ext uri="{FF2B5EF4-FFF2-40B4-BE49-F238E27FC236}">
                      <a16:creationId xmlns:a16="http://schemas.microsoft.com/office/drawing/2014/main" xmlns="" xmlns:p14="http://schemas.microsoft.com/office/powerpoint/2010/main" id="{47E47A79-22EA-4AD7-AFB9-FF65D4DABA97}"/>
                    </a:ext>
                  </a:extLst>
                </p:cNvPr>
                <p:cNvPicPr/>
                <p:nvPr/>
              </p:nvPicPr>
              <p:blipFill>
                <a:blip r:embed="rId10" cstate="print"/>
                <a:stretch>
                  <a:fillRect/>
                </a:stretch>
              </p:blipFill>
              <p:spPr>
                <a:xfrm>
                  <a:off x="6891643" y="3118886"/>
                  <a:ext cx="1607340" cy="12340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
              <p14:nvContentPartPr>
                <p14:cNvPr id="2100" name="Freihand 2099">
                  <a:extLst>
                    <a:ext uri="{FF2B5EF4-FFF2-40B4-BE49-F238E27FC236}">
                      <a16:creationId xmlns:a16="http://schemas.microsoft.com/office/drawing/2014/main" id="{3C8B49E4-5857-46CF-929E-76F5079E0132}"/>
                    </a:ext>
                  </a:extLst>
                </p14:cNvPr>
                <p14:cNvContentPartPr/>
                <p14:nvPr/>
              </p14:nvContentPartPr>
              <p14:xfrm>
                <a:off x="6992992" y="4624158"/>
                <a:ext cx="950400" cy="1076400"/>
              </p14:xfrm>
            </p:contentPart>
          </mc:Choice>
          <mc:Fallback>
            <p:pic>
              <p:nvPicPr>
                <p:cNvPr id="2100" name="Freihand 2099">
                  <a:extLst>
                    <a:ext uri="{FF2B5EF4-FFF2-40B4-BE49-F238E27FC236}">
                      <a16:creationId xmlns:a16="http://schemas.microsoft.com/office/drawing/2014/main" xmlns="" xmlns:p14="http://schemas.microsoft.com/office/powerpoint/2010/main" id="{3C8B49E4-5857-46CF-929E-76F5079E0132}"/>
                    </a:ext>
                  </a:extLst>
                </p:cNvPr>
                <p:cNvPicPr/>
                <p:nvPr/>
              </p:nvPicPr>
              <p:blipFill>
                <a:blip r:embed="rId12" cstate="print"/>
                <a:stretch>
                  <a:fillRect/>
                </a:stretch>
              </p:blipFill>
              <p:spPr>
                <a:xfrm>
                  <a:off x="6978845" y="4610006"/>
                  <a:ext cx="978411" cy="1104421"/>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13">
              <p14:nvContentPartPr>
                <p14:cNvPr id="2112" name="Freihand 2111">
                  <a:extLst>
                    <a:ext uri="{FF2B5EF4-FFF2-40B4-BE49-F238E27FC236}">
                      <a16:creationId xmlns:a16="http://schemas.microsoft.com/office/drawing/2014/main" id="{AABF2744-E6DB-424C-A7D6-5E4990D309FE}"/>
                    </a:ext>
                  </a:extLst>
                </p14:cNvPr>
                <p14:cNvContentPartPr/>
                <p14:nvPr/>
              </p14:nvContentPartPr>
              <p14:xfrm>
                <a:off x="6716152" y="2247438"/>
                <a:ext cx="945360" cy="861120"/>
              </p14:xfrm>
            </p:contentPart>
          </mc:Choice>
          <mc:Fallback>
            <p:pic>
              <p:nvPicPr>
                <p:cNvPr id="2112" name="Freihand 2111">
                  <a:extLst>
                    <a:ext uri="{FF2B5EF4-FFF2-40B4-BE49-F238E27FC236}">
                      <a16:creationId xmlns:a16="http://schemas.microsoft.com/office/drawing/2014/main" xmlns="" xmlns:aink="http://schemas.microsoft.com/office/drawing/2016/ink" xmlns:p14="http://schemas.microsoft.com/office/powerpoint/2010/main" id="{AABF2744-E6DB-424C-A7D6-5E4990D309FE}"/>
                    </a:ext>
                  </a:extLst>
                </p:cNvPr>
                <p:cNvPicPr/>
                <p:nvPr/>
              </p:nvPicPr>
              <p:blipFill>
                <a:blip r:embed="rId14" cstate="print"/>
                <a:stretch>
                  <a:fillRect/>
                </a:stretch>
              </p:blipFill>
              <p:spPr>
                <a:xfrm>
                  <a:off x="6508399" y="2222810"/>
                  <a:ext cx="1177737" cy="1010868"/>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15">
              <p14:nvContentPartPr>
                <p14:cNvPr id="2119" name="Freihand 2118">
                  <a:extLst>
                    <a:ext uri="{FF2B5EF4-FFF2-40B4-BE49-F238E27FC236}">
                      <a16:creationId xmlns:a16="http://schemas.microsoft.com/office/drawing/2014/main" id="{1A0C8C56-852E-459B-90BE-7E5FB9D0642D}"/>
                    </a:ext>
                  </a:extLst>
                </p14:cNvPr>
                <p14:cNvContentPartPr/>
                <p14:nvPr/>
              </p14:nvContentPartPr>
              <p14:xfrm>
                <a:off x="6704272" y="3598878"/>
                <a:ext cx="715680" cy="1001520"/>
              </p14:xfrm>
            </p:contentPart>
          </mc:Choice>
          <mc:Fallback>
            <p:pic>
              <p:nvPicPr>
                <p:cNvPr id="2119" name="Freihand 2118">
                  <a:extLst>
                    <a:ext uri="{FF2B5EF4-FFF2-40B4-BE49-F238E27FC236}">
                      <a16:creationId xmlns:a16="http://schemas.microsoft.com/office/drawing/2014/main" xmlns="" xmlns:aink="http://schemas.microsoft.com/office/drawing/2016/ink" xmlns:p14="http://schemas.microsoft.com/office/powerpoint/2010/main" id="{1A0C8C56-852E-459B-90BE-7E5FB9D0642D}"/>
                    </a:ext>
                  </a:extLst>
                </p:cNvPr>
                <p:cNvPicPr/>
                <p:nvPr/>
              </p:nvPicPr>
              <p:blipFill>
                <a:blip r:embed="rId16" cstate="print"/>
                <a:stretch>
                  <a:fillRect/>
                </a:stretch>
              </p:blipFill>
              <p:spPr>
                <a:xfrm>
                  <a:off x="6679642" y="3574257"/>
                  <a:ext cx="764940" cy="1050761"/>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17">
              <p14:nvContentPartPr>
                <p14:cNvPr id="2130" name="Freihand 2129">
                  <a:extLst>
                    <a:ext uri="{FF2B5EF4-FFF2-40B4-BE49-F238E27FC236}">
                      <a16:creationId xmlns:a16="http://schemas.microsoft.com/office/drawing/2014/main" id="{819F08CF-930B-48CB-90AB-8E7BCFE547E9}"/>
                    </a:ext>
                  </a:extLst>
                </p14:cNvPr>
                <p14:cNvContentPartPr/>
                <p14:nvPr/>
              </p14:nvContentPartPr>
              <p14:xfrm>
                <a:off x="6966352" y="2403678"/>
                <a:ext cx="588240" cy="664920"/>
              </p14:xfrm>
            </p:contentPart>
          </mc:Choice>
          <mc:Fallback>
            <p:pic>
              <p:nvPicPr>
                <p:cNvPr id="2130" name="Freihand 2129">
                  <a:extLst>
                    <a:ext uri="{FF2B5EF4-FFF2-40B4-BE49-F238E27FC236}">
                      <a16:creationId xmlns:a16="http://schemas.microsoft.com/office/drawing/2014/main" xmlns="" xmlns:aink="http://schemas.microsoft.com/office/drawing/2016/ink" xmlns:p14="http://schemas.microsoft.com/office/powerpoint/2010/main" id="{819F08CF-930B-48CB-90AB-8E7BCFE547E9}"/>
                    </a:ext>
                  </a:extLst>
                </p:cNvPr>
                <p:cNvPicPr/>
                <p:nvPr/>
              </p:nvPicPr>
              <p:blipFill>
                <a:blip r:embed="rId18" cstate="print"/>
                <a:stretch>
                  <a:fillRect/>
                </a:stretch>
              </p:blipFill>
              <p:spPr>
                <a:xfrm>
                  <a:off x="6687087" y="2194299"/>
                  <a:ext cx="1106876" cy="1013791"/>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19">
              <p14:nvContentPartPr>
                <p14:cNvPr id="2140" name="Freihand 2139">
                  <a:extLst>
                    <a:ext uri="{FF2B5EF4-FFF2-40B4-BE49-F238E27FC236}">
                      <a16:creationId xmlns:a16="http://schemas.microsoft.com/office/drawing/2014/main" id="{84AA9638-57A8-4534-8125-BDFC3D503846}"/>
                    </a:ext>
                  </a:extLst>
                </p14:cNvPr>
                <p14:cNvContentPartPr/>
                <p14:nvPr/>
              </p14:nvContentPartPr>
              <p14:xfrm>
                <a:off x="6896152" y="3554598"/>
                <a:ext cx="901800" cy="1127520"/>
              </p14:xfrm>
            </p:contentPart>
          </mc:Choice>
          <mc:Fallback>
            <p:pic>
              <p:nvPicPr>
                <p:cNvPr id="2140" name="Freihand 2139">
                  <a:extLst>
                    <a:ext uri="{FF2B5EF4-FFF2-40B4-BE49-F238E27FC236}">
                      <a16:creationId xmlns:a16="http://schemas.microsoft.com/office/drawing/2014/main" xmlns="" xmlns:aink="http://schemas.microsoft.com/office/drawing/2016/ink" xmlns:p14="http://schemas.microsoft.com/office/powerpoint/2010/main" id="{84AA9638-57A8-4534-8125-BDFC3D503846}"/>
                    </a:ext>
                  </a:extLst>
                </p:cNvPr>
                <p:cNvPicPr/>
                <p:nvPr/>
              </p:nvPicPr>
              <p:blipFill>
                <a:blip r:embed="rId20" cstate="print"/>
                <a:stretch>
                  <a:fillRect/>
                </a:stretch>
              </p:blipFill>
              <p:spPr>
                <a:xfrm>
                  <a:off x="6871519" y="3529970"/>
                  <a:ext cx="951066" cy="1176776"/>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1">
              <p14:nvContentPartPr>
                <p14:cNvPr id="2157" name="Freihand 2156">
                  <a:extLst>
                    <a:ext uri="{FF2B5EF4-FFF2-40B4-BE49-F238E27FC236}">
                      <a16:creationId xmlns:a16="http://schemas.microsoft.com/office/drawing/2014/main" id="{90B93D70-BB01-4CD9-B0FA-508AC002557D}"/>
                    </a:ext>
                  </a:extLst>
                </p14:cNvPr>
                <p14:cNvContentPartPr/>
                <p14:nvPr/>
              </p14:nvContentPartPr>
              <p14:xfrm>
                <a:off x="7418553" y="2322318"/>
                <a:ext cx="349560" cy="891720"/>
              </p14:xfrm>
            </p:contentPart>
          </mc:Choice>
          <mc:Fallback>
            <p:pic>
              <p:nvPicPr>
                <p:cNvPr id="2157" name="Freihand 2156">
                  <a:extLst>
                    <a:ext uri="{FF2B5EF4-FFF2-40B4-BE49-F238E27FC236}">
                      <a16:creationId xmlns:a16="http://schemas.microsoft.com/office/drawing/2014/main" xmlns="" xmlns:aink="http://schemas.microsoft.com/office/drawing/2016/ink" xmlns:p14="http://schemas.microsoft.com/office/powerpoint/2010/main" id="{90B93D70-BB01-4CD9-B0FA-508AC002557D}"/>
                    </a:ext>
                  </a:extLst>
                </p:cNvPr>
                <p:cNvPicPr/>
                <p:nvPr/>
              </p:nvPicPr>
              <p:blipFill>
                <a:blip r:embed="rId22" cstate="print"/>
                <a:stretch>
                  <a:fillRect/>
                </a:stretch>
              </p:blipFill>
              <p:spPr>
                <a:xfrm>
                  <a:off x="7393948" y="2297697"/>
                  <a:ext cx="398770" cy="940961"/>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3">
              <p14:nvContentPartPr>
                <p14:cNvPr id="2163" name="Freihand 2162">
                  <a:extLst>
                    <a:ext uri="{FF2B5EF4-FFF2-40B4-BE49-F238E27FC236}">
                      <a16:creationId xmlns:a16="http://schemas.microsoft.com/office/drawing/2014/main" id="{FF49F3B1-9D6E-45DA-B604-83CA2A54A5AA}"/>
                    </a:ext>
                  </a:extLst>
                </p14:cNvPr>
                <p14:cNvContentPartPr/>
                <p14:nvPr/>
              </p14:nvContentPartPr>
              <p14:xfrm>
                <a:off x="7373193" y="2338158"/>
                <a:ext cx="162360" cy="181440"/>
              </p14:xfrm>
            </p:contentPart>
          </mc:Choice>
          <mc:Fallback>
            <p:pic>
              <p:nvPicPr>
                <p:cNvPr id="2163" name="Freihand 2162">
                  <a:extLst>
                    <a:ext uri="{FF2B5EF4-FFF2-40B4-BE49-F238E27FC236}">
                      <a16:creationId xmlns:a16="http://schemas.microsoft.com/office/drawing/2014/main" xmlns="" xmlns:aink="http://schemas.microsoft.com/office/drawing/2016/ink" xmlns:p14="http://schemas.microsoft.com/office/powerpoint/2010/main" id="{FF49F3B1-9D6E-45DA-B604-83CA2A54A5AA}"/>
                    </a:ext>
                  </a:extLst>
                </p:cNvPr>
                <p:cNvPicPr/>
                <p:nvPr/>
              </p:nvPicPr>
              <p:blipFill>
                <a:blip r:embed="rId24" cstate="print"/>
                <a:stretch>
                  <a:fillRect/>
                </a:stretch>
              </p:blipFill>
              <p:spPr>
                <a:xfrm>
                  <a:off x="7348541" y="2313532"/>
                  <a:ext cx="211663" cy="230692"/>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5">
              <p14:nvContentPartPr>
                <p14:cNvPr id="2164" name="Freihand 2163">
                  <a:extLst>
                    <a:ext uri="{FF2B5EF4-FFF2-40B4-BE49-F238E27FC236}">
                      <a16:creationId xmlns:a16="http://schemas.microsoft.com/office/drawing/2014/main" id="{05F4C9CB-8351-4FE9-ABD7-4C9598E34E42}"/>
                    </a:ext>
                  </a:extLst>
                </p14:cNvPr>
                <p14:cNvContentPartPr/>
                <p14:nvPr/>
              </p14:nvContentPartPr>
              <p14:xfrm>
                <a:off x="7211913" y="3440478"/>
                <a:ext cx="646560" cy="1283760"/>
              </p14:xfrm>
            </p:contentPart>
          </mc:Choice>
          <mc:Fallback>
            <p:pic>
              <p:nvPicPr>
                <p:cNvPr id="2164" name="Freihand 2163">
                  <a:extLst>
                    <a:ext uri="{FF2B5EF4-FFF2-40B4-BE49-F238E27FC236}">
                      <a16:creationId xmlns:a16="http://schemas.microsoft.com/office/drawing/2014/main" xmlns="" xmlns:aink="http://schemas.microsoft.com/office/drawing/2016/ink" xmlns:p14="http://schemas.microsoft.com/office/powerpoint/2010/main" id="{05F4C9CB-8351-4FE9-ABD7-4C9598E34E42}"/>
                    </a:ext>
                  </a:extLst>
                </p:cNvPr>
                <p:cNvPicPr/>
                <p:nvPr/>
              </p:nvPicPr>
              <p:blipFill>
                <a:blip r:embed="rId26" cstate="print"/>
                <a:stretch>
                  <a:fillRect/>
                </a:stretch>
              </p:blipFill>
              <p:spPr>
                <a:xfrm>
                  <a:off x="7187274" y="3415850"/>
                  <a:ext cx="695838" cy="1333016"/>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7">
              <p14:nvContentPartPr>
                <p14:cNvPr id="2176" name="Freihand 2175">
                  <a:extLst>
                    <a:ext uri="{FF2B5EF4-FFF2-40B4-BE49-F238E27FC236}">
                      <a16:creationId xmlns:a16="http://schemas.microsoft.com/office/drawing/2014/main" id="{0586B6CF-EC65-47D2-9BCC-262CC4E7C44F}"/>
                    </a:ext>
                  </a:extLst>
                </p14:cNvPr>
                <p14:cNvContentPartPr/>
                <p14:nvPr/>
              </p14:nvContentPartPr>
              <p14:xfrm>
                <a:off x="7062873" y="2362638"/>
                <a:ext cx="419040" cy="847440"/>
              </p14:xfrm>
            </p:contentPart>
          </mc:Choice>
          <mc:Fallback>
            <p:pic>
              <p:nvPicPr>
                <p:cNvPr id="2176" name="Freihand 2175">
                  <a:extLst>
                    <a:ext uri="{FF2B5EF4-FFF2-40B4-BE49-F238E27FC236}">
                      <a16:creationId xmlns:a16="http://schemas.microsoft.com/office/drawing/2014/main" xmlns="" xmlns:aink="http://schemas.microsoft.com/office/drawing/2016/ink" xmlns:p14="http://schemas.microsoft.com/office/powerpoint/2010/main" id="{0586B6CF-EC65-47D2-9BCC-262CC4E7C44F}"/>
                    </a:ext>
                  </a:extLst>
                </p:cNvPr>
                <p:cNvPicPr/>
                <p:nvPr/>
              </p:nvPicPr>
              <p:blipFill>
                <a:blip r:embed="rId28" cstate="print"/>
                <a:stretch>
                  <a:fillRect/>
                </a:stretch>
              </p:blipFill>
              <p:spPr>
                <a:xfrm>
                  <a:off x="6842877" y="2338013"/>
                  <a:ext cx="732754" cy="924995"/>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9">
              <p14:nvContentPartPr>
                <p14:cNvPr id="2183" name="Freihand 2182">
                  <a:extLst>
                    <a:ext uri="{FF2B5EF4-FFF2-40B4-BE49-F238E27FC236}">
                      <a16:creationId xmlns:a16="http://schemas.microsoft.com/office/drawing/2014/main" id="{CB2D28BE-9949-41C3-9DBC-AE1D9781CEF3}"/>
                    </a:ext>
                  </a:extLst>
                </p14:cNvPr>
                <p14:cNvContentPartPr/>
                <p14:nvPr/>
              </p14:nvContentPartPr>
              <p14:xfrm>
                <a:off x="7043793" y="3552798"/>
                <a:ext cx="218520" cy="1001520"/>
              </p14:xfrm>
            </p:contentPart>
          </mc:Choice>
          <mc:Fallback>
            <p:pic>
              <p:nvPicPr>
                <p:cNvPr id="2183" name="Freihand 2182">
                  <a:extLst>
                    <a:ext uri="{FF2B5EF4-FFF2-40B4-BE49-F238E27FC236}">
                      <a16:creationId xmlns:a16="http://schemas.microsoft.com/office/drawing/2014/main" xmlns="" xmlns:aink="http://schemas.microsoft.com/office/drawing/2016/ink" xmlns:p14="http://schemas.microsoft.com/office/powerpoint/2010/main" id="{CB2D28BE-9949-41C3-9DBC-AE1D9781CEF3}"/>
                    </a:ext>
                  </a:extLst>
                </p:cNvPr>
                <p:cNvPicPr/>
                <p:nvPr/>
              </p:nvPicPr>
              <p:blipFill>
                <a:blip r:embed="rId30" cstate="print"/>
                <a:stretch>
                  <a:fillRect/>
                </a:stretch>
              </p:blipFill>
              <p:spPr>
                <a:xfrm>
                  <a:off x="7019167" y="3528170"/>
                  <a:ext cx="267772" cy="1050775"/>
                </a:xfrm>
                <a:prstGeom prst="rect">
                  <a:avLst/>
                </a:prstGeom>
              </p:spPr>
            </p:pic>
          </mc:Fallback>
        </mc:AlternateContent>
      </p:grpSp>
    </p:spTree>
  </p:cSld>
  <p:clrMapOvr>
    <a:masterClrMapping/>
  </p:clrMapOvr>
  <p:transition spd="slow">
    <p:pull dir="d"/>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F6940BD9-ADA5-4DAA-946B-233E4DA6F130}"/>
              </a:ext>
            </a:extLst>
          </p:cNvPr>
          <p:cNvGraphicFramePr>
            <a:graphicFrameLocks noChangeAspect="1"/>
          </p:cNvGraphicFramePr>
          <p:nvPr>
            <p:extLst>
              <p:ext uri="{D42A27DB-BD31-4B8C-83A1-F6EECF244321}">
                <p14:modId xmlns:p14="http://schemas.microsoft.com/office/powerpoint/2010/main" xmlns="" val="1094078096"/>
              </p:ext>
            </p:extLst>
          </p:nvPr>
        </p:nvGraphicFramePr>
        <p:xfrm>
          <a:off x="1588" y="1588"/>
          <a:ext cx="1588" cy="1588"/>
        </p:xfrm>
        <a:graphic>
          <a:graphicData uri="http://schemas.openxmlformats.org/presentationml/2006/ole">
            <p:oleObj spid="_x0000_s23561" name="think-cell Folie" r:id="rId3" imgW="360" imgH="360" progId="">
              <p:embed/>
            </p:oleObj>
          </a:graphicData>
        </a:graphic>
      </p:graphicFrame>
      <p:sp>
        <p:nvSpPr>
          <p:cNvPr id="2" name="Title 1">
            <a:extLst>
              <a:ext uri="{FF2B5EF4-FFF2-40B4-BE49-F238E27FC236}">
                <a16:creationId xmlns:a16="http://schemas.microsoft.com/office/drawing/2014/main" xmlns="" id="{50622D0B-9E2B-4CC5-9E97-2CA5384733BF}"/>
              </a:ext>
            </a:extLst>
          </p:cNvPr>
          <p:cNvSpPr>
            <a:spLocks noGrp="1"/>
          </p:cNvSpPr>
          <p:nvPr>
            <p:ph type="title"/>
          </p:nvPr>
        </p:nvSpPr>
        <p:spPr/>
        <p:txBody>
          <a:bodyPr>
            <a:normAutofit/>
          </a:bodyPr>
          <a:lstStyle/>
          <a:p>
            <a:r>
              <a:rPr lang="de-AT" sz="3600" b="1" dirty="0">
                <a:solidFill>
                  <a:schemeClr val="accent1"/>
                </a:solidFill>
              </a:rPr>
              <a:t>Resilienz</a:t>
            </a:r>
            <a:endParaRPr lang="en-US" sz="3600" b="1" dirty="0">
              <a:solidFill>
                <a:schemeClr val="accent1"/>
              </a:solidFill>
            </a:endParaRPr>
          </a:p>
        </p:txBody>
      </p:sp>
      <p:sp>
        <p:nvSpPr>
          <p:cNvPr id="3" name="Content Placeholder 2">
            <a:extLst>
              <a:ext uri="{FF2B5EF4-FFF2-40B4-BE49-F238E27FC236}">
                <a16:creationId xmlns:a16="http://schemas.microsoft.com/office/drawing/2014/main" xmlns="" id="{CFE37CA4-75B5-483E-AAF2-FA42145855FA}"/>
              </a:ext>
            </a:extLst>
          </p:cNvPr>
          <p:cNvSpPr>
            <a:spLocks noGrp="1"/>
          </p:cNvSpPr>
          <p:nvPr>
            <p:ph idx="1"/>
          </p:nvPr>
        </p:nvSpPr>
        <p:spPr>
          <a:xfrm>
            <a:off x="457200" y="1600200"/>
            <a:ext cx="4019550" cy="4525963"/>
          </a:xfrm>
        </p:spPr>
        <p:txBody>
          <a:bodyPr>
            <a:normAutofit lnSpcReduction="10000"/>
          </a:bodyPr>
          <a:lstStyle/>
          <a:p>
            <a:pPr marL="0" indent="0">
              <a:buNone/>
            </a:pPr>
            <a:r>
              <a:rPr lang="de-AT" sz="3200" b="1" i="1" dirty="0">
                <a:solidFill>
                  <a:schemeClr val="accent6"/>
                </a:solidFill>
              </a:rPr>
              <a:t>Risikofaktoren</a:t>
            </a:r>
          </a:p>
          <a:p>
            <a:pPr marL="0" indent="0">
              <a:buNone/>
            </a:pPr>
            <a:r>
              <a:rPr lang="de-AT" sz="2000" i="1" dirty="0"/>
              <a:t>krankheitsbegünstigende, risikoerhöhende, entwicklungshemmende Merkmale</a:t>
            </a:r>
          </a:p>
          <a:p>
            <a:r>
              <a:rPr lang="en-US" sz="2400" dirty="0" err="1"/>
              <a:t>biologische</a:t>
            </a:r>
            <a:r>
              <a:rPr lang="en-US" sz="2400" dirty="0"/>
              <a:t> und </a:t>
            </a:r>
            <a:r>
              <a:rPr lang="en-US" sz="2400" dirty="0" err="1"/>
              <a:t>psychologische</a:t>
            </a:r>
            <a:r>
              <a:rPr lang="en-US" sz="2400" dirty="0"/>
              <a:t> </a:t>
            </a:r>
            <a:r>
              <a:rPr lang="en-US" sz="2400" dirty="0" err="1"/>
              <a:t>Merkmale</a:t>
            </a:r>
            <a:r>
              <a:rPr lang="en-US" sz="2400" dirty="0"/>
              <a:t>: </a:t>
            </a:r>
            <a:r>
              <a:rPr lang="en-US" sz="2400" dirty="0" err="1"/>
              <a:t>personbezogene</a:t>
            </a:r>
            <a:r>
              <a:rPr lang="en-US" sz="2400" dirty="0"/>
              <a:t> </a:t>
            </a:r>
            <a:r>
              <a:rPr lang="en-US" sz="2400" dirty="0" err="1"/>
              <a:t>Vulnerabilitätsfaktoren</a:t>
            </a:r>
            <a:endParaRPr lang="en-US" sz="2400" dirty="0"/>
          </a:p>
          <a:p>
            <a:r>
              <a:rPr lang="en-US" sz="2400" dirty="0" err="1"/>
              <a:t>psychosoziale</a:t>
            </a:r>
            <a:r>
              <a:rPr lang="en-US" sz="2400" dirty="0"/>
              <a:t> </a:t>
            </a:r>
            <a:r>
              <a:rPr lang="en-US" sz="2400" dirty="0" err="1"/>
              <a:t>Merkmale</a:t>
            </a:r>
            <a:r>
              <a:rPr lang="en-US" sz="2400" dirty="0"/>
              <a:t>: </a:t>
            </a:r>
            <a:r>
              <a:rPr lang="en-US" sz="2400" dirty="0" err="1"/>
              <a:t>Stressoren</a:t>
            </a:r>
            <a:endParaRPr lang="en-US" sz="2400" dirty="0"/>
          </a:p>
          <a:p>
            <a:endParaRPr lang="en-US" sz="2400" dirty="0"/>
          </a:p>
          <a:p>
            <a:pPr marL="0" indent="0">
              <a:buNone/>
            </a:pPr>
            <a:endParaRPr lang="en-US" dirty="0"/>
          </a:p>
        </p:txBody>
      </p:sp>
      <p:sp>
        <p:nvSpPr>
          <p:cNvPr id="4" name="Content Placeholder 3">
            <a:extLst>
              <a:ext uri="{FF2B5EF4-FFF2-40B4-BE49-F238E27FC236}">
                <a16:creationId xmlns:a16="http://schemas.microsoft.com/office/drawing/2014/main" xmlns="" id="{672A987B-7673-4F02-8BB6-B57A0F3F189F}"/>
              </a:ext>
            </a:extLst>
          </p:cNvPr>
          <p:cNvSpPr>
            <a:spLocks noGrp="1"/>
          </p:cNvSpPr>
          <p:nvPr>
            <p:ph idx="4294967295"/>
          </p:nvPr>
        </p:nvSpPr>
        <p:spPr>
          <a:xfrm>
            <a:off x="4716016" y="1600200"/>
            <a:ext cx="3970784" cy="4525963"/>
          </a:xfrm>
        </p:spPr>
        <p:txBody>
          <a:bodyPr>
            <a:normAutofit lnSpcReduction="10000"/>
          </a:bodyPr>
          <a:lstStyle/>
          <a:p>
            <a:pPr marL="0" indent="0">
              <a:buNone/>
            </a:pPr>
            <a:r>
              <a:rPr lang="de-AT" sz="3200" b="1" i="1" dirty="0">
                <a:solidFill>
                  <a:schemeClr val="accent6"/>
                </a:solidFill>
              </a:rPr>
              <a:t>Schutzfaktoren</a:t>
            </a:r>
          </a:p>
          <a:p>
            <a:pPr marL="0" indent="0">
              <a:buNone/>
            </a:pPr>
            <a:r>
              <a:rPr lang="de-AT" sz="2000" i="1" dirty="0" err="1"/>
              <a:t>protektive</a:t>
            </a:r>
            <a:r>
              <a:rPr lang="de-AT" sz="2000" i="1" dirty="0"/>
              <a:t> Faktoren, welche das Auftreten einer psychischen Störung verhindern/abmildern</a:t>
            </a:r>
          </a:p>
          <a:p>
            <a:r>
              <a:rPr lang="en-US" sz="2400" dirty="0" err="1"/>
              <a:t>individuelle</a:t>
            </a:r>
            <a:r>
              <a:rPr lang="en-US" sz="2400" dirty="0"/>
              <a:t> </a:t>
            </a:r>
            <a:r>
              <a:rPr lang="en-US" sz="2400" dirty="0" err="1"/>
              <a:t>personbezogene</a:t>
            </a:r>
            <a:r>
              <a:rPr lang="en-US" sz="2400" dirty="0"/>
              <a:t> </a:t>
            </a:r>
            <a:r>
              <a:rPr lang="en-US" sz="2400" dirty="0" err="1"/>
              <a:t>Faktoren</a:t>
            </a:r>
            <a:endParaRPr lang="en-US" sz="2400" dirty="0"/>
          </a:p>
          <a:p>
            <a:r>
              <a:rPr lang="en-US" sz="2400" dirty="0" err="1"/>
              <a:t>mikrosoziale</a:t>
            </a:r>
            <a:r>
              <a:rPr lang="en-US" sz="2400" dirty="0"/>
              <a:t> (</a:t>
            </a:r>
            <a:r>
              <a:rPr lang="en-US" sz="2400" dirty="0" err="1"/>
              <a:t>umfeldbezogene</a:t>
            </a:r>
            <a:r>
              <a:rPr lang="en-US" sz="2400" dirty="0"/>
              <a:t>) </a:t>
            </a:r>
            <a:r>
              <a:rPr lang="en-US" sz="2400" dirty="0" err="1"/>
              <a:t>Faktoren</a:t>
            </a:r>
            <a:endParaRPr lang="en-US" sz="2400" dirty="0"/>
          </a:p>
          <a:p>
            <a:r>
              <a:rPr lang="en-US" sz="2400" dirty="0" err="1"/>
              <a:t>Faktoren</a:t>
            </a:r>
            <a:r>
              <a:rPr lang="en-US" sz="2400" dirty="0"/>
              <a:t> </a:t>
            </a:r>
            <a:r>
              <a:rPr lang="en-US" sz="2400" dirty="0" err="1"/>
              <a:t>innerhalb</a:t>
            </a:r>
            <a:r>
              <a:rPr lang="en-US" sz="2400" dirty="0"/>
              <a:t> des </a:t>
            </a:r>
            <a:r>
              <a:rPr lang="en-US" sz="2400" dirty="0" err="1"/>
              <a:t>Makrosystems</a:t>
            </a:r>
            <a:endParaRPr lang="en-US" sz="2400" dirty="0"/>
          </a:p>
          <a:p>
            <a:endParaRPr lang="en-US" dirty="0"/>
          </a:p>
          <a:p>
            <a:endParaRPr lang="en-US" dirty="0"/>
          </a:p>
        </p:txBody>
      </p:sp>
    </p:spTree>
    <p:extLst>
      <p:ext uri="{BB962C8B-B14F-4D97-AF65-F5344CB8AC3E}">
        <p14:creationId xmlns:p14="http://schemas.microsoft.com/office/powerpoint/2010/main" xmlns="" val="468580028"/>
      </p:ext>
    </p:extLst>
  </p:cSld>
  <p:clrMapOvr>
    <a:masterClrMapping/>
  </p:clrMapOvr>
  <p:transition spd="slow">
    <p:pull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BE4115BB-8706-484E-9B90-7C3C23429433}"/>
              </a:ext>
            </a:extLst>
          </p:cNvPr>
          <p:cNvGraphicFramePr>
            <a:graphicFrameLocks noChangeAspect="1"/>
          </p:cNvGraphicFramePr>
          <p:nvPr>
            <p:extLst>
              <p:ext uri="{D42A27DB-BD31-4B8C-83A1-F6EECF244321}">
                <p14:modId xmlns:p14="http://schemas.microsoft.com/office/powerpoint/2010/main" xmlns="" val="1526244172"/>
              </p:ext>
            </p:extLst>
          </p:nvPr>
        </p:nvGraphicFramePr>
        <p:xfrm>
          <a:off x="1588" y="1588"/>
          <a:ext cx="1588" cy="1588"/>
        </p:xfrm>
        <a:graphic>
          <a:graphicData uri="http://schemas.openxmlformats.org/presentationml/2006/ole">
            <p:oleObj spid="_x0000_s24585" name="think-cell Folie" r:id="rId4" imgW="360" imgH="360" progId="">
              <p:embed/>
            </p:oleObj>
          </a:graphicData>
        </a:graphic>
      </p:graphicFrame>
      <p:sp>
        <p:nvSpPr>
          <p:cNvPr id="4" name="Rechteck 3" hidden="1">
            <a:extLst>
              <a:ext uri="{FF2B5EF4-FFF2-40B4-BE49-F238E27FC236}">
                <a16:creationId xmlns:a16="http://schemas.microsoft.com/office/drawing/2014/main" xmlns="" id="{FA237EEB-1FC0-4B29-B6D1-E9260A69CE8D}"/>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4000" dirty="0" err="1"/>
              <a:t>Resilienz</a:t>
            </a:r>
            <a:r>
              <a:rPr lang="de-AT" sz="4000" dirty="0"/>
              <a:t> – </a:t>
            </a:r>
            <a:r>
              <a:rPr lang="de-AT" sz="4000" i="1" dirty="0">
                <a:solidFill>
                  <a:schemeClr val="accent6"/>
                </a:solidFill>
              </a:rPr>
              <a:t>Schutzfaktoren</a:t>
            </a:r>
            <a:r>
              <a:rPr lang="de-AT" sz="4000" dirty="0"/>
              <a:t> </a:t>
            </a:r>
            <a:r>
              <a:rPr lang="de-AT" dirty="0"/>
              <a:t/>
            </a:r>
            <a:br>
              <a:rPr lang="de-AT" dirty="0"/>
            </a:br>
            <a:endParaRPr lang="de-AT" dirty="0"/>
          </a:p>
        </p:txBody>
      </p:sp>
      <p:sp>
        <p:nvSpPr>
          <p:cNvPr id="3" name="Inhaltsplatzhalter 2"/>
          <p:cNvSpPr>
            <a:spLocks noGrp="1"/>
          </p:cNvSpPr>
          <p:nvPr>
            <p:ph idx="1"/>
          </p:nvPr>
        </p:nvSpPr>
        <p:spPr/>
        <p:txBody>
          <a:bodyPr>
            <a:noAutofit/>
          </a:bodyPr>
          <a:lstStyle/>
          <a:p>
            <a:r>
              <a:rPr lang="de-AT" sz="2400" dirty="0"/>
              <a:t>Individuell: intellektuelle Fähigkeiten, Selbstwahrnehmung und -wirksamkeit, Umgang mit Stressoren – geeignete </a:t>
            </a:r>
            <a:r>
              <a:rPr lang="de-AT" sz="2400" dirty="0" err="1"/>
              <a:t>Copingstrategien</a:t>
            </a:r>
            <a:r>
              <a:rPr lang="de-AT" sz="2400" dirty="0"/>
              <a:t>, Ausgeglichenheit, hohes Durchhaltevermögen, </a:t>
            </a:r>
            <a:r>
              <a:rPr lang="de-AT" sz="2400" dirty="0" err="1"/>
              <a:t>growth</a:t>
            </a:r>
            <a:r>
              <a:rPr lang="de-AT" sz="2400" dirty="0"/>
              <a:t> </a:t>
            </a:r>
            <a:r>
              <a:rPr lang="de-AT" sz="2400" dirty="0" err="1"/>
              <a:t>mindset</a:t>
            </a:r>
            <a:r>
              <a:rPr lang="de-AT" sz="2400" dirty="0"/>
              <a:t> als dynamisches Selbstbild</a:t>
            </a:r>
          </a:p>
          <a:p>
            <a:r>
              <a:rPr lang="de-AT" sz="2400" dirty="0"/>
              <a:t>Mikrosozial: Beziehungen zu einfühlenden Bezugspersonen, Stabilität, unterstützendes und wertschätzendes Arbeitsumfeld</a:t>
            </a:r>
          </a:p>
          <a:p>
            <a:r>
              <a:rPr lang="de-AT" sz="2400" dirty="0"/>
              <a:t>Makrosystem: gute Arbeits- und Beschäftigungsmöglichkeiten, eine </a:t>
            </a:r>
            <a:r>
              <a:rPr lang="de-AT" sz="2400" dirty="0" err="1"/>
              <a:t>resilienzfördernde</a:t>
            </a:r>
            <a:r>
              <a:rPr lang="de-AT" sz="2400" dirty="0"/>
              <a:t> Struktur des Umfeldes</a:t>
            </a:r>
          </a:p>
        </p:txBody>
      </p:sp>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linds(horizont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linds(horizontal)">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D2A13A99-18F9-4FDF-A56C-7A49F40329E5}"/>
              </a:ext>
            </a:extLst>
          </p:cNvPr>
          <p:cNvGraphicFramePr>
            <a:graphicFrameLocks noChangeAspect="1"/>
          </p:cNvGraphicFramePr>
          <p:nvPr>
            <p:extLst>
              <p:ext uri="{D42A27DB-BD31-4B8C-83A1-F6EECF244321}">
                <p14:modId xmlns:p14="http://schemas.microsoft.com/office/powerpoint/2010/main" xmlns="" val="2034458290"/>
              </p:ext>
            </p:extLst>
          </p:nvPr>
        </p:nvGraphicFramePr>
        <p:xfrm>
          <a:off x="1588" y="1588"/>
          <a:ext cx="1588" cy="1588"/>
        </p:xfrm>
        <a:graphic>
          <a:graphicData uri="http://schemas.openxmlformats.org/presentationml/2006/ole">
            <p:oleObj spid="_x0000_s25609" name="think-cell Folie" r:id="rId4" imgW="360" imgH="360" progId="">
              <p:embed/>
            </p:oleObj>
          </a:graphicData>
        </a:graphic>
      </p:graphicFrame>
      <p:sp>
        <p:nvSpPr>
          <p:cNvPr id="4" name="Rechteck 3" hidden="1">
            <a:extLst>
              <a:ext uri="{FF2B5EF4-FFF2-40B4-BE49-F238E27FC236}">
                <a16:creationId xmlns:a16="http://schemas.microsoft.com/office/drawing/2014/main" xmlns="" id="{2B1B2DAE-A7A9-480C-8B5E-0EB4E53019A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200" i="1" dirty="0">
                <a:solidFill>
                  <a:schemeClr val="accent6"/>
                </a:solidFill>
              </a:rPr>
              <a:t>Resilienzfaktoren</a:t>
            </a:r>
            <a:r>
              <a:rPr lang="de-AT" sz="3200" dirty="0">
                <a:solidFill>
                  <a:schemeClr val="accent6"/>
                </a:solidFill>
              </a:rPr>
              <a:t> –</a:t>
            </a:r>
            <a:r>
              <a:rPr lang="de-AT" sz="3200" dirty="0"/>
              <a:t> </a:t>
            </a:r>
            <a:r>
              <a:rPr lang="de-AT" sz="2700" dirty="0"/>
              <a:t>entwickel- und veränderbar</a:t>
            </a:r>
            <a:r>
              <a:rPr lang="de-AT" sz="3200" dirty="0"/>
              <a:t/>
            </a:r>
            <a:br>
              <a:rPr lang="de-AT" sz="3200" dirty="0"/>
            </a:br>
            <a:r>
              <a:rPr lang="de-AT" sz="3600" dirty="0"/>
              <a:t>wichtig für Führungskräfte</a:t>
            </a:r>
          </a:p>
        </p:txBody>
      </p:sp>
      <p:sp>
        <p:nvSpPr>
          <p:cNvPr id="3" name="Inhaltsplatzhalter 2"/>
          <p:cNvSpPr>
            <a:spLocks noGrp="1"/>
          </p:cNvSpPr>
          <p:nvPr>
            <p:ph idx="1"/>
          </p:nvPr>
        </p:nvSpPr>
        <p:spPr>
          <a:xfrm>
            <a:off x="5508104" y="1484784"/>
            <a:ext cx="4290536" cy="905025"/>
          </a:xfrm>
        </p:spPr>
        <p:txBody>
          <a:bodyPr>
            <a:normAutofit/>
          </a:body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Optimismus (realistisch): Selbstwirksamkeit</a:t>
            </a:r>
          </a:p>
        </p:txBody>
      </p:sp>
      <mc:AlternateContent xmlns:mc="http://schemas.openxmlformats.org/markup-compatibility/2006">
        <mc:Choice xmlns:p14="http://schemas.microsoft.com/office/powerpoint/2010/main" xmlns="" Requires="p14">
          <p:contentPart p14:bwMode="auto" r:id="rId7">
            <p14:nvContentPartPr>
              <p14:cNvPr id="7" name="Freihand 6">
                <a:extLst>
                  <a:ext uri="{FF2B5EF4-FFF2-40B4-BE49-F238E27FC236}">
                    <a16:creationId xmlns:a16="http://schemas.microsoft.com/office/drawing/2014/main" id="{F7C1D0C9-1E50-4787-8465-CC3025C9C619}"/>
                  </a:ext>
                </a:extLst>
              </p14:cNvPr>
              <p14:cNvContentPartPr/>
              <p14:nvPr/>
            </p14:nvContentPartPr>
            <p14:xfrm>
              <a:off x="2010433" y="2065772"/>
              <a:ext cx="1785960" cy="1577520"/>
            </p14:xfrm>
          </p:contentPart>
        </mc:Choice>
        <mc:Fallback>
          <p:pic>
            <p:nvPicPr>
              <p:cNvPr id="7" name="Freihand 6">
                <a:extLst>
                  <a:ext uri="{FF2B5EF4-FFF2-40B4-BE49-F238E27FC236}">
                    <a16:creationId xmlns:a16="http://schemas.microsoft.com/office/drawing/2014/main" xmlns="" xmlns:p14="http://schemas.microsoft.com/office/powerpoint/2010/main" id="{F7C1D0C9-1E50-4787-8465-CC3025C9C619}"/>
                  </a:ext>
                </a:extLst>
              </p:cNvPr>
              <p:cNvPicPr/>
              <p:nvPr/>
            </p:nvPicPr>
            <p:blipFill>
              <a:blip r:embed="rId8" cstate="print"/>
              <a:stretch>
                <a:fillRect/>
              </a:stretch>
            </p:blipFill>
            <p:spPr>
              <a:xfrm>
                <a:off x="1992793" y="2047772"/>
                <a:ext cx="1821600" cy="16131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
            <p14:nvContentPartPr>
              <p14:cNvPr id="8" name="Freihand 7">
                <a:extLst>
                  <a:ext uri="{FF2B5EF4-FFF2-40B4-BE49-F238E27FC236}">
                    <a16:creationId xmlns:a16="http://schemas.microsoft.com/office/drawing/2014/main" id="{A279E821-629E-4F7E-8A57-FDE70F790675}"/>
                  </a:ext>
                </a:extLst>
              </p14:cNvPr>
              <p14:cNvContentPartPr/>
              <p14:nvPr/>
            </p14:nvContentPartPr>
            <p14:xfrm>
              <a:off x="3772993" y="3614852"/>
              <a:ext cx="313920" cy="210240"/>
            </p14:xfrm>
          </p:contentPart>
        </mc:Choice>
        <mc:Fallback>
          <p:pic>
            <p:nvPicPr>
              <p:cNvPr id="8" name="Freihand 7">
                <a:extLst>
                  <a:ext uri="{FF2B5EF4-FFF2-40B4-BE49-F238E27FC236}">
                    <a16:creationId xmlns:a16="http://schemas.microsoft.com/office/drawing/2014/main" xmlns="" xmlns:p14="http://schemas.microsoft.com/office/powerpoint/2010/main" id="{A279E821-629E-4F7E-8A57-FDE70F790675}"/>
                  </a:ext>
                </a:extLst>
              </p:cNvPr>
              <p:cNvPicPr/>
              <p:nvPr/>
            </p:nvPicPr>
            <p:blipFill>
              <a:blip r:embed="rId10" cstate="print"/>
              <a:stretch>
                <a:fillRect/>
              </a:stretch>
            </p:blipFill>
            <p:spPr>
              <a:xfrm>
                <a:off x="3755353" y="3597212"/>
                <a:ext cx="349560" cy="2458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
            <p14:nvContentPartPr>
              <p14:cNvPr id="9" name="Freihand 8">
                <a:extLst>
                  <a:ext uri="{FF2B5EF4-FFF2-40B4-BE49-F238E27FC236}">
                    <a16:creationId xmlns:a16="http://schemas.microsoft.com/office/drawing/2014/main" id="{984CA5A7-2C83-4395-8236-B8F3A3817681}"/>
                  </a:ext>
                </a:extLst>
              </p14:cNvPr>
              <p14:cNvContentPartPr/>
              <p14:nvPr/>
            </p14:nvContentPartPr>
            <p14:xfrm>
              <a:off x="4138033" y="1896572"/>
              <a:ext cx="1147320" cy="1934280"/>
            </p14:xfrm>
          </p:contentPart>
        </mc:Choice>
        <mc:Fallback>
          <p:pic>
            <p:nvPicPr>
              <p:cNvPr id="9" name="Freihand 8">
                <a:extLst>
                  <a:ext uri="{FF2B5EF4-FFF2-40B4-BE49-F238E27FC236}">
                    <a16:creationId xmlns:a16="http://schemas.microsoft.com/office/drawing/2014/main" xmlns="" xmlns:p14="http://schemas.microsoft.com/office/powerpoint/2010/main" id="{984CA5A7-2C83-4395-8236-B8F3A3817681}"/>
                  </a:ext>
                </a:extLst>
              </p:cNvPr>
              <p:cNvPicPr/>
              <p:nvPr/>
            </p:nvPicPr>
            <p:blipFill>
              <a:blip r:embed="rId12" cstate="print"/>
              <a:stretch>
                <a:fillRect/>
              </a:stretch>
            </p:blipFill>
            <p:spPr>
              <a:xfrm>
                <a:off x="4120393" y="1878932"/>
                <a:ext cx="1182960" cy="1969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
            <p14:nvContentPartPr>
              <p14:cNvPr id="12" name="Freihand 11">
                <a:extLst>
                  <a:ext uri="{FF2B5EF4-FFF2-40B4-BE49-F238E27FC236}">
                    <a16:creationId xmlns:a16="http://schemas.microsoft.com/office/drawing/2014/main" id="{84393399-666D-4B0B-A813-54914F0DFD5F}"/>
                  </a:ext>
                </a:extLst>
              </p14:cNvPr>
              <p14:cNvContentPartPr/>
              <p14:nvPr/>
            </p14:nvContentPartPr>
            <p14:xfrm>
              <a:off x="4080433" y="3887012"/>
              <a:ext cx="986760" cy="2190960"/>
            </p14:xfrm>
          </p:contentPart>
        </mc:Choice>
        <mc:Fallback>
          <p:pic>
            <p:nvPicPr>
              <p:cNvPr id="12" name="Freihand 11">
                <a:extLst>
                  <a:ext uri="{FF2B5EF4-FFF2-40B4-BE49-F238E27FC236}">
                    <a16:creationId xmlns:a16="http://schemas.microsoft.com/office/drawing/2014/main" xmlns="" xmlns:p14="http://schemas.microsoft.com/office/powerpoint/2010/main" id="{84393399-666D-4B0B-A813-54914F0DFD5F}"/>
                  </a:ext>
                </a:extLst>
              </p:cNvPr>
              <p:cNvPicPr/>
              <p:nvPr/>
            </p:nvPicPr>
            <p:blipFill>
              <a:blip r:embed="rId14" cstate="print"/>
              <a:stretch>
                <a:fillRect/>
              </a:stretch>
            </p:blipFill>
            <p:spPr>
              <a:xfrm>
                <a:off x="4062793" y="3869372"/>
                <a:ext cx="1022400" cy="2226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
            <p14:nvContentPartPr>
              <p14:cNvPr id="13" name="Freihand 12">
                <a:extLst>
                  <a:ext uri="{FF2B5EF4-FFF2-40B4-BE49-F238E27FC236}">
                    <a16:creationId xmlns:a16="http://schemas.microsoft.com/office/drawing/2014/main" id="{10A71C59-D1E6-4228-B18F-B069B9BFAA9E}"/>
                  </a:ext>
                </a:extLst>
              </p14:cNvPr>
              <p14:cNvContentPartPr/>
              <p14:nvPr/>
            </p14:nvContentPartPr>
            <p14:xfrm>
              <a:off x="3121393" y="3853532"/>
              <a:ext cx="970200" cy="2230200"/>
            </p14:xfrm>
          </p:contentPart>
        </mc:Choice>
        <mc:Fallback>
          <p:pic>
            <p:nvPicPr>
              <p:cNvPr id="13" name="Freihand 12">
                <a:extLst>
                  <a:ext uri="{FF2B5EF4-FFF2-40B4-BE49-F238E27FC236}">
                    <a16:creationId xmlns:a16="http://schemas.microsoft.com/office/drawing/2014/main" xmlns="" xmlns:p14="http://schemas.microsoft.com/office/powerpoint/2010/main" id="{10A71C59-D1E6-4228-B18F-B069B9BFAA9E}"/>
                  </a:ext>
                </a:extLst>
              </p:cNvPr>
              <p:cNvPicPr/>
              <p:nvPr/>
            </p:nvPicPr>
            <p:blipFill>
              <a:blip r:embed="rId16" cstate="print"/>
              <a:stretch>
                <a:fillRect/>
              </a:stretch>
            </p:blipFill>
            <p:spPr>
              <a:xfrm>
                <a:off x="3103753" y="3835532"/>
                <a:ext cx="1005840" cy="22658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
            <p14:nvContentPartPr>
              <p14:cNvPr id="14" name="Freihand 13">
                <a:extLst>
                  <a:ext uri="{FF2B5EF4-FFF2-40B4-BE49-F238E27FC236}">
                    <a16:creationId xmlns:a16="http://schemas.microsoft.com/office/drawing/2014/main" id="{0D401762-4531-4002-B08E-4B9F33921E36}"/>
                  </a:ext>
                </a:extLst>
              </p14:cNvPr>
              <p14:cNvContentPartPr/>
              <p14:nvPr/>
            </p14:nvContentPartPr>
            <p14:xfrm>
              <a:off x="1429393" y="3887372"/>
              <a:ext cx="2524320" cy="495360"/>
            </p14:xfrm>
          </p:contentPart>
        </mc:Choice>
        <mc:Fallback>
          <p:pic>
            <p:nvPicPr>
              <p:cNvPr id="14" name="Freihand 13">
                <a:extLst>
                  <a:ext uri="{FF2B5EF4-FFF2-40B4-BE49-F238E27FC236}">
                    <a16:creationId xmlns:a16="http://schemas.microsoft.com/office/drawing/2014/main" xmlns="" xmlns:p14="http://schemas.microsoft.com/office/powerpoint/2010/main" id="{0D401762-4531-4002-B08E-4B9F33921E36}"/>
                  </a:ext>
                </a:extLst>
              </p:cNvPr>
              <p:cNvPicPr/>
              <p:nvPr/>
            </p:nvPicPr>
            <p:blipFill>
              <a:blip r:embed="rId18" cstate="print"/>
              <a:stretch>
                <a:fillRect/>
              </a:stretch>
            </p:blipFill>
            <p:spPr>
              <a:xfrm>
                <a:off x="1411753" y="3869732"/>
                <a:ext cx="2559960" cy="531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9">
            <p14:nvContentPartPr>
              <p14:cNvPr id="15" name="Freihand 14">
                <a:extLst>
                  <a:ext uri="{FF2B5EF4-FFF2-40B4-BE49-F238E27FC236}">
                    <a16:creationId xmlns:a16="http://schemas.microsoft.com/office/drawing/2014/main" id="{DCDFE8BF-C161-4BA7-9436-7EA0943ACE3E}"/>
                  </a:ext>
                </a:extLst>
              </p14:cNvPr>
              <p14:cNvContentPartPr/>
              <p14:nvPr/>
            </p14:nvContentPartPr>
            <p14:xfrm>
              <a:off x="4130833" y="3046772"/>
              <a:ext cx="2557440" cy="781200"/>
            </p14:xfrm>
          </p:contentPart>
        </mc:Choice>
        <mc:Fallback>
          <p:pic>
            <p:nvPicPr>
              <p:cNvPr id="15" name="Freihand 14">
                <a:extLst>
                  <a:ext uri="{FF2B5EF4-FFF2-40B4-BE49-F238E27FC236}">
                    <a16:creationId xmlns:a16="http://schemas.microsoft.com/office/drawing/2014/main" xmlns="" xmlns:p14="http://schemas.microsoft.com/office/powerpoint/2010/main" id="{DCDFE8BF-C161-4BA7-9436-7EA0943ACE3E}"/>
                  </a:ext>
                </a:extLst>
              </p:cNvPr>
              <p:cNvPicPr/>
              <p:nvPr/>
            </p:nvPicPr>
            <p:blipFill>
              <a:blip r:embed="rId20" cstate="print"/>
              <a:stretch>
                <a:fillRect/>
              </a:stretch>
            </p:blipFill>
            <p:spPr>
              <a:xfrm>
                <a:off x="4113193" y="3028772"/>
                <a:ext cx="2593080" cy="8168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1">
            <p14:nvContentPartPr>
              <p14:cNvPr id="16" name="Freihand 15">
                <a:extLst>
                  <a:ext uri="{FF2B5EF4-FFF2-40B4-BE49-F238E27FC236}">
                    <a16:creationId xmlns:a16="http://schemas.microsoft.com/office/drawing/2014/main" id="{9E9C4C42-0DB0-40C0-BE0B-417A1E1BBCD0}"/>
                  </a:ext>
                </a:extLst>
              </p14:cNvPr>
              <p14:cNvContentPartPr/>
              <p14:nvPr/>
            </p14:nvContentPartPr>
            <p14:xfrm>
              <a:off x="4080433" y="3862892"/>
              <a:ext cx="2463840" cy="839160"/>
            </p14:xfrm>
          </p:contentPart>
        </mc:Choice>
        <mc:Fallback>
          <p:pic>
            <p:nvPicPr>
              <p:cNvPr id="16" name="Freihand 15">
                <a:extLst>
                  <a:ext uri="{FF2B5EF4-FFF2-40B4-BE49-F238E27FC236}">
                    <a16:creationId xmlns:a16="http://schemas.microsoft.com/office/drawing/2014/main" xmlns="" xmlns:p14="http://schemas.microsoft.com/office/powerpoint/2010/main" id="{9E9C4C42-0DB0-40C0-BE0B-417A1E1BBCD0}"/>
                  </a:ext>
                </a:extLst>
              </p:cNvPr>
              <p:cNvPicPr/>
              <p:nvPr/>
            </p:nvPicPr>
            <p:blipFill>
              <a:blip r:embed="rId22" cstate="print"/>
              <a:stretch>
                <a:fillRect/>
              </a:stretch>
            </p:blipFill>
            <p:spPr>
              <a:xfrm>
                <a:off x="4062793" y="3845252"/>
                <a:ext cx="2499480" cy="8748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3">
            <p14:nvContentPartPr>
              <p14:cNvPr id="20" name="Freihand 19">
                <a:extLst>
                  <a:ext uri="{FF2B5EF4-FFF2-40B4-BE49-F238E27FC236}">
                    <a16:creationId xmlns:a16="http://schemas.microsoft.com/office/drawing/2014/main" id="{BD650C41-5FB8-4425-8B88-5E1AF54C1C29}"/>
                  </a:ext>
                </a:extLst>
              </p14:cNvPr>
              <p14:cNvContentPartPr/>
              <p14:nvPr/>
            </p14:nvContentPartPr>
            <p14:xfrm>
              <a:off x="4786033" y="2561852"/>
              <a:ext cx="84240" cy="56880"/>
            </p14:xfrm>
          </p:contentPart>
        </mc:Choice>
        <mc:Fallback>
          <p:pic>
            <p:nvPicPr>
              <p:cNvPr id="20" name="Freihand 19">
                <a:extLst>
                  <a:ext uri="{FF2B5EF4-FFF2-40B4-BE49-F238E27FC236}">
                    <a16:creationId xmlns:a16="http://schemas.microsoft.com/office/drawing/2014/main" xmlns="" xmlns:p14="http://schemas.microsoft.com/office/powerpoint/2010/main" id="{BD650C41-5FB8-4425-8B88-5E1AF54C1C29}"/>
                  </a:ext>
                </a:extLst>
              </p:cNvPr>
              <p:cNvPicPr/>
              <p:nvPr/>
            </p:nvPicPr>
            <p:blipFill>
              <a:blip r:embed="rId24" cstate="print"/>
              <a:stretch>
                <a:fillRect/>
              </a:stretch>
            </p:blipFill>
            <p:spPr>
              <a:xfrm>
                <a:off x="4768393" y="2544212"/>
                <a:ext cx="119880" cy="925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5">
            <p14:nvContentPartPr>
              <p14:cNvPr id="21" name="Freihand 20">
                <a:extLst>
                  <a:ext uri="{FF2B5EF4-FFF2-40B4-BE49-F238E27FC236}">
                    <a16:creationId xmlns:a16="http://schemas.microsoft.com/office/drawing/2014/main" id="{F7E2DFCB-729C-4D8D-87DF-0BA116B774FF}"/>
                  </a:ext>
                </a:extLst>
              </p14:cNvPr>
              <p14:cNvContentPartPr/>
              <p14:nvPr/>
            </p14:nvContentPartPr>
            <p14:xfrm>
              <a:off x="4948033" y="2268812"/>
              <a:ext cx="72360" cy="56520"/>
            </p14:xfrm>
          </p:contentPart>
        </mc:Choice>
        <mc:Fallback>
          <p:pic>
            <p:nvPicPr>
              <p:cNvPr id="21" name="Freihand 20">
                <a:extLst>
                  <a:ext uri="{FF2B5EF4-FFF2-40B4-BE49-F238E27FC236}">
                    <a16:creationId xmlns:a16="http://schemas.microsoft.com/office/drawing/2014/main" xmlns="" xmlns:p14="http://schemas.microsoft.com/office/powerpoint/2010/main" id="{F7E2DFCB-729C-4D8D-87DF-0BA116B774FF}"/>
                  </a:ext>
                </a:extLst>
              </p:cNvPr>
              <p:cNvPicPr/>
              <p:nvPr/>
            </p:nvPicPr>
            <p:blipFill>
              <a:blip r:embed="rId26" cstate="print"/>
              <a:stretch>
                <a:fillRect/>
              </a:stretch>
            </p:blipFill>
            <p:spPr>
              <a:xfrm>
                <a:off x="4930033" y="2251172"/>
                <a:ext cx="108000" cy="921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7">
            <p14:nvContentPartPr>
              <p14:cNvPr id="22" name="Freihand 21">
                <a:extLst>
                  <a:ext uri="{FF2B5EF4-FFF2-40B4-BE49-F238E27FC236}">
                    <a16:creationId xmlns:a16="http://schemas.microsoft.com/office/drawing/2014/main" id="{6BA1A4D3-2C60-4258-B7B1-43D57092D7A4}"/>
                  </a:ext>
                </a:extLst>
              </p14:cNvPr>
              <p14:cNvContentPartPr/>
              <p14:nvPr/>
            </p14:nvContentPartPr>
            <p14:xfrm>
              <a:off x="5148913" y="1974332"/>
              <a:ext cx="129240" cy="46440"/>
            </p14:xfrm>
          </p:contentPart>
        </mc:Choice>
        <mc:Fallback>
          <p:pic>
            <p:nvPicPr>
              <p:cNvPr id="22" name="Freihand 21">
                <a:extLst>
                  <a:ext uri="{FF2B5EF4-FFF2-40B4-BE49-F238E27FC236}">
                    <a16:creationId xmlns:a16="http://schemas.microsoft.com/office/drawing/2014/main" xmlns="" xmlns:p14="http://schemas.microsoft.com/office/powerpoint/2010/main" id="{6BA1A4D3-2C60-4258-B7B1-43D57092D7A4}"/>
                  </a:ext>
                </a:extLst>
              </p:cNvPr>
              <p:cNvPicPr/>
              <p:nvPr/>
            </p:nvPicPr>
            <p:blipFill>
              <a:blip r:embed="rId28" cstate="print"/>
              <a:stretch>
                <a:fillRect/>
              </a:stretch>
            </p:blipFill>
            <p:spPr>
              <a:xfrm>
                <a:off x="5130913" y="1956692"/>
                <a:ext cx="164880" cy="820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9">
            <p14:nvContentPartPr>
              <p14:cNvPr id="41" name="Freihand 40">
                <a:extLst>
                  <a:ext uri="{FF2B5EF4-FFF2-40B4-BE49-F238E27FC236}">
                    <a16:creationId xmlns:a16="http://schemas.microsoft.com/office/drawing/2014/main" id="{64EA21F3-8B1D-48A3-9247-1B8EB9CADE73}"/>
                  </a:ext>
                </a:extLst>
              </p14:cNvPr>
              <p14:cNvContentPartPr/>
              <p14:nvPr/>
            </p14:nvContentPartPr>
            <p14:xfrm>
              <a:off x="4780993" y="5450132"/>
              <a:ext cx="178920" cy="213120"/>
            </p14:xfrm>
          </p:contentPart>
        </mc:Choice>
        <mc:Fallback>
          <p:pic>
            <p:nvPicPr>
              <p:cNvPr id="41" name="Freihand 40">
                <a:extLst>
                  <a:ext uri="{FF2B5EF4-FFF2-40B4-BE49-F238E27FC236}">
                    <a16:creationId xmlns:a16="http://schemas.microsoft.com/office/drawing/2014/main" xmlns="" xmlns:p14="http://schemas.microsoft.com/office/powerpoint/2010/main" id="{64EA21F3-8B1D-48A3-9247-1B8EB9CADE73}"/>
                  </a:ext>
                </a:extLst>
              </p:cNvPr>
              <p:cNvPicPr/>
              <p:nvPr/>
            </p:nvPicPr>
            <p:blipFill>
              <a:blip r:embed="rId30" cstate="print"/>
              <a:stretch>
                <a:fillRect/>
              </a:stretch>
            </p:blipFill>
            <p:spPr>
              <a:xfrm>
                <a:off x="4762993" y="5432492"/>
                <a:ext cx="214560" cy="2487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1">
            <p14:nvContentPartPr>
              <p14:cNvPr id="42" name="Freihand 41">
                <a:extLst>
                  <a:ext uri="{FF2B5EF4-FFF2-40B4-BE49-F238E27FC236}">
                    <a16:creationId xmlns:a16="http://schemas.microsoft.com/office/drawing/2014/main" id="{4D08B8E0-0D5E-44E9-9811-646B19D88A68}"/>
                  </a:ext>
                </a:extLst>
              </p14:cNvPr>
              <p14:cNvContentPartPr/>
              <p14:nvPr/>
            </p14:nvContentPartPr>
            <p14:xfrm>
              <a:off x="4217953" y="3947492"/>
              <a:ext cx="2075040" cy="1187640"/>
            </p14:xfrm>
          </p:contentPart>
        </mc:Choice>
        <mc:Fallback>
          <p:pic>
            <p:nvPicPr>
              <p:cNvPr id="42" name="Freihand 41">
                <a:extLst>
                  <a:ext uri="{FF2B5EF4-FFF2-40B4-BE49-F238E27FC236}">
                    <a16:creationId xmlns:a16="http://schemas.microsoft.com/office/drawing/2014/main" xmlns="" xmlns:p14="http://schemas.microsoft.com/office/powerpoint/2010/main" id="{4D08B8E0-0D5E-44E9-9811-646B19D88A68}"/>
                  </a:ext>
                </a:extLst>
              </p:cNvPr>
              <p:cNvPicPr/>
              <p:nvPr/>
            </p:nvPicPr>
            <p:blipFill>
              <a:blip r:embed="rId32" cstate="print"/>
              <a:stretch>
                <a:fillRect/>
              </a:stretch>
            </p:blipFill>
            <p:spPr>
              <a:xfrm>
                <a:off x="4199953" y="3929497"/>
                <a:ext cx="2110680" cy="1223269"/>
              </a:xfrm>
              <a:prstGeom prst="rect">
                <a:avLst/>
              </a:prstGeom>
            </p:spPr>
          </p:pic>
        </mc:Fallback>
      </mc:AlternateContent>
      <mc:AlternateContent xmlns:mc="http://schemas.openxmlformats.org/markup-compatibility/2006">
        <mc:Choice xmlns:p14="http://schemas.microsoft.com/office/powerpoint/2010/main" xmlns="" Requires="p14">
          <p:contentPart p14:bwMode="auto" r:id="rId33">
            <p14:nvContentPartPr>
              <p14:cNvPr id="44" name="Freihand 43">
                <a:extLst>
                  <a:ext uri="{FF2B5EF4-FFF2-40B4-BE49-F238E27FC236}">
                    <a16:creationId xmlns:a16="http://schemas.microsoft.com/office/drawing/2014/main" id="{B0D7618A-C39D-49CB-AC5B-0FCED3304EBF}"/>
                  </a:ext>
                </a:extLst>
              </p14:cNvPr>
              <p14:cNvContentPartPr/>
              <p14:nvPr/>
            </p14:nvContentPartPr>
            <p14:xfrm>
              <a:off x="4247473" y="2902772"/>
              <a:ext cx="2153160" cy="735480"/>
            </p14:xfrm>
          </p:contentPart>
        </mc:Choice>
        <mc:Fallback>
          <p:pic>
            <p:nvPicPr>
              <p:cNvPr id="44" name="Freihand 43">
                <a:extLst>
                  <a:ext uri="{FF2B5EF4-FFF2-40B4-BE49-F238E27FC236}">
                    <a16:creationId xmlns:a16="http://schemas.microsoft.com/office/drawing/2014/main" xmlns="" xmlns:p14="http://schemas.microsoft.com/office/powerpoint/2010/main" id="{B0D7618A-C39D-49CB-AC5B-0FCED3304EBF}"/>
                  </a:ext>
                </a:extLst>
              </p:cNvPr>
              <p:cNvPicPr/>
              <p:nvPr/>
            </p:nvPicPr>
            <p:blipFill>
              <a:blip r:embed="rId34" cstate="print"/>
              <a:stretch>
                <a:fillRect/>
              </a:stretch>
            </p:blipFill>
            <p:spPr>
              <a:xfrm>
                <a:off x="4229830" y="2884772"/>
                <a:ext cx="2188806" cy="771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5">
            <p14:nvContentPartPr>
              <p14:cNvPr id="53" name="Freihand 52">
                <a:extLst>
                  <a:ext uri="{FF2B5EF4-FFF2-40B4-BE49-F238E27FC236}">
                    <a16:creationId xmlns:a16="http://schemas.microsoft.com/office/drawing/2014/main" id="{B44744D2-C0EA-4CF9-BDB0-EA07B98E2249}"/>
                  </a:ext>
                </a:extLst>
              </p14:cNvPr>
              <p14:cNvContentPartPr/>
              <p14:nvPr/>
            </p14:nvContentPartPr>
            <p14:xfrm>
              <a:off x="2252353" y="2312732"/>
              <a:ext cx="65520" cy="88560"/>
            </p14:xfrm>
          </p:contentPart>
        </mc:Choice>
        <mc:Fallback>
          <p:pic>
            <p:nvPicPr>
              <p:cNvPr id="53" name="Freihand 52">
                <a:extLst>
                  <a:ext uri="{FF2B5EF4-FFF2-40B4-BE49-F238E27FC236}">
                    <a16:creationId xmlns:a16="http://schemas.microsoft.com/office/drawing/2014/main" xmlns="" xmlns:p14="http://schemas.microsoft.com/office/powerpoint/2010/main" id="{B44744D2-C0EA-4CF9-BDB0-EA07B98E2249}"/>
                  </a:ext>
                </a:extLst>
              </p:cNvPr>
              <p:cNvPicPr/>
              <p:nvPr/>
            </p:nvPicPr>
            <p:blipFill>
              <a:blip r:embed="rId36" cstate="print"/>
              <a:stretch>
                <a:fillRect/>
              </a:stretch>
            </p:blipFill>
            <p:spPr>
              <a:xfrm>
                <a:off x="2234353" y="2294732"/>
                <a:ext cx="101160" cy="1242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7">
            <p14:nvContentPartPr>
              <p14:cNvPr id="66" name="Freihand 65">
                <a:extLst>
                  <a:ext uri="{FF2B5EF4-FFF2-40B4-BE49-F238E27FC236}">
                    <a16:creationId xmlns:a16="http://schemas.microsoft.com/office/drawing/2014/main" id="{4B0254FF-FE3A-4227-B9EA-55601329181A}"/>
                  </a:ext>
                </a:extLst>
              </p14:cNvPr>
              <p14:cNvContentPartPr/>
              <p14:nvPr/>
            </p14:nvContentPartPr>
            <p14:xfrm>
              <a:off x="3282313" y="5480012"/>
              <a:ext cx="62640" cy="24840"/>
            </p14:xfrm>
          </p:contentPart>
        </mc:Choice>
        <mc:Fallback>
          <p:pic>
            <p:nvPicPr>
              <p:cNvPr id="66" name="Freihand 65">
                <a:extLst>
                  <a:ext uri="{FF2B5EF4-FFF2-40B4-BE49-F238E27FC236}">
                    <a16:creationId xmlns:a16="http://schemas.microsoft.com/office/drawing/2014/main" xmlns="" xmlns:p14="http://schemas.microsoft.com/office/powerpoint/2010/main" id="{4B0254FF-FE3A-4227-B9EA-55601329181A}"/>
                  </a:ext>
                </a:extLst>
              </p:cNvPr>
              <p:cNvPicPr/>
              <p:nvPr/>
            </p:nvPicPr>
            <p:blipFill>
              <a:blip r:embed="rId38" cstate="print"/>
              <a:stretch>
                <a:fillRect/>
              </a:stretch>
            </p:blipFill>
            <p:spPr>
              <a:xfrm>
                <a:off x="3264313" y="5462012"/>
                <a:ext cx="98280" cy="604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9">
            <p14:nvContentPartPr>
              <p14:cNvPr id="67" name="Freihand 66">
                <a:extLst>
                  <a:ext uri="{FF2B5EF4-FFF2-40B4-BE49-F238E27FC236}">
                    <a16:creationId xmlns:a16="http://schemas.microsoft.com/office/drawing/2014/main" id="{B4B55F53-6869-4633-9B5B-52413BC17150}"/>
                  </a:ext>
                </a:extLst>
              </p14:cNvPr>
              <p14:cNvContentPartPr/>
              <p14:nvPr/>
            </p14:nvContentPartPr>
            <p14:xfrm>
              <a:off x="3156673" y="5718332"/>
              <a:ext cx="62640" cy="11160"/>
            </p14:xfrm>
          </p:contentPart>
        </mc:Choice>
        <mc:Fallback>
          <p:pic>
            <p:nvPicPr>
              <p:cNvPr id="67" name="Freihand 66">
                <a:extLst>
                  <a:ext uri="{FF2B5EF4-FFF2-40B4-BE49-F238E27FC236}">
                    <a16:creationId xmlns:a16="http://schemas.microsoft.com/office/drawing/2014/main" xmlns="" xmlns:p14="http://schemas.microsoft.com/office/powerpoint/2010/main" id="{B4B55F53-6869-4633-9B5B-52413BC17150}"/>
                  </a:ext>
                </a:extLst>
              </p:cNvPr>
              <p:cNvPicPr/>
              <p:nvPr/>
            </p:nvPicPr>
            <p:blipFill>
              <a:blip r:embed="rId40" cstate="print"/>
              <a:stretch>
                <a:fillRect/>
              </a:stretch>
            </p:blipFill>
            <p:spPr>
              <a:xfrm>
                <a:off x="3139033" y="5700692"/>
                <a:ext cx="98280" cy="468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1">
            <p14:nvContentPartPr>
              <p14:cNvPr id="68" name="Freihand 67">
                <a:extLst>
                  <a:ext uri="{FF2B5EF4-FFF2-40B4-BE49-F238E27FC236}">
                    <a16:creationId xmlns:a16="http://schemas.microsoft.com/office/drawing/2014/main" id="{8BDE9683-0000-4258-8CB4-AEF157D8E39D}"/>
                  </a:ext>
                </a:extLst>
              </p14:cNvPr>
              <p14:cNvContentPartPr/>
              <p14:nvPr/>
            </p14:nvContentPartPr>
            <p14:xfrm>
              <a:off x="1763833" y="2592452"/>
              <a:ext cx="2215800" cy="2583720"/>
            </p14:xfrm>
          </p:contentPart>
        </mc:Choice>
        <mc:Fallback>
          <p:pic>
            <p:nvPicPr>
              <p:cNvPr id="68" name="Freihand 67">
                <a:extLst>
                  <a:ext uri="{FF2B5EF4-FFF2-40B4-BE49-F238E27FC236}">
                    <a16:creationId xmlns:a16="http://schemas.microsoft.com/office/drawing/2014/main" xmlns="" xmlns:p14="http://schemas.microsoft.com/office/powerpoint/2010/main" id="{8BDE9683-0000-4258-8CB4-AEF157D8E39D}"/>
                  </a:ext>
                </a:extLst>
              </p:cNvPr>
              <p:cNvPicPr/>
              <p:nvPr/>
            </p:nvPicPr>
            <p:blipFill>
              <a:blip r:embed="rId42" cstate="print"/>
              <a:stretch>
                <a:fillRect/>
              </a:stretch>
            </p:blipFill>
            <p:spPr>
              <a:xfrm>
                <a:off x="1745833" y="2574812"/>
                <a:ext cx="2251440" cy="2619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3">
            <p14:nvContentPartPr>
              <p14:cNvPr id="129" name="Freihand 128">
                <a:extLst>
                  <a:ext uri="{FF2B5EF4-FFF2-40B4-BE49-F238E27FC236}">
                    <a16:creationId xmlns:a16="http://schemas.microsoft.com/office/drawing/2014/main" id="{6797F00C-5CA6-426D-8A14-335821A8B3D4}"/>
                  </a:ext>
                </a:extLst>
              </p14:cNvPr>
              <p14:cNvContentPartPr/>
              <p14:nvPr/>
            </p14:nvContentPartPr>
            <p14:xfrm>
              <a:off x="8426872" y="1648674"/>
              <a:ext cx="9360" cy="13680"/>
            </p14:xfrm>
          </p:contentPart>
        </mc:Choice>
        <mc:Fallback>
          <p:pic>
            <p:nvPicPr>
              <p:cNvPr id="129" name="Freihand 128">
                <a:extLst>
                  <a:ext uri="{FF2B5EF4-FFF2-40B4-BE49-F238E27FC236}">
                    <a16:creationId xmlns:a16="http://schemas.microsoft.com/office/drawing/2014/main" xmlns="" xmlns:p14="http://schemas.microsoft.com/office/powerpoint/2010/main" id="{6797F00C-5CA6-426D-8A14-335821A8B3D4}"/>
                  </a:ext>
                </a:extLst>
              </p:cNvPr>
              <p:cNvPicPr/>
              <p:nvPr/>
            </p:nvPicPr>
            <p:blipFill>
              <a:blip r:embed="rId44" cstate="print"/>
              <a:stretch>
                <a:fillRect/>
              </a:stretch>
            </p:blipFill>
            <p:spPr>
              <a:xfrm>
                <a:off x="8417872" y="1640034"/>
                <a:ext cx="27000" cy="31320"/>
              </a:xfrm>
              <a:prstGeom prst="rect">
                <a:avLst/>
              </a:prstGeom>
            </p:spPr>
          </p:pic>
        </mc:Fallback>
      </mc:AlternateContent>
      <p:sp>
        <p:nvSpPr>
          <p:cNvPr id="130" name="Inhaltsplatzhalter 2">
            <a:extLst>
              <a:ext uri="{FF2B5EF4-FFF2-40B4-BE49-F238E27FC236}">
                <a16:creationId xmlns:a16="http://schemas.microsoft.com/office/drawing/2014/main" xmlns="" id="{F9AB10F4-F94C-4CDE-8E4F-2FF71CD9A560}"/>
              </a:ext>
            </a:extLst>
          </p:cNvPr>
          <p:cNvSpPr txBox="1">
            <a:spLocks/>
          </p:cNvSpPr>
          <p:nvPr/>
        </p:nvSpPr>
        <p:spPr>
          <a:xfrm>
            <a:off x="6156176" y="3284984"/>
            <a:ext cx="3114247" cy="945360"/>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Akzeptanz: starke Werte, Fähigkeit zur Improvisation</a:t>
            </a:r>
          </a:p>
        </p:txBody>
      </p:sp>
      <p:sp>
        <p:nvSpPr>
          <p:cNvPr id="131" name="Inhaltsplatzhalter 2">
            <a:extLst>
              <a:ext uri="{FF2B5EF4-FFF2-40B4-BE49-F238E27FC236}">
                <a16:creationId xmlns:a16="http://schemas.microsoft.com/office/drawing/2014/main" xmlns="" id="{4E571B27-6679-40E6-A735-0398688F1232}"/>
              </a:ext>
            </a:extLst>
          </p:cNvPr>
          <p:cNvSpPr txBox="1">
            <a:spLocks/>
          </p:cNvSpPr>
          <p:nvPr/>
        </p:nvSpPr>
        <p:spPr>
          <a:xfrm>
            <a:off x="467544" y="5157192"/>
            <a:ext cx="2524321" cy="121055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r>
              <a:rPr lang="de-AT" sz="2000" dirty="0">
                <a:latin typeface="Tahoma" panose="020B0604030504040204" pitchFamily="34" charset="0"/>
                <a:ea typeface="Tahoma" panose="020B0604030504040204" pitchFamily="34" charset="0"/>
                <a:cs typeface="Tahoma" panose="020B0604030504040204" pitchFamily="34" charset="0"/>
              </a:rPr>
              <a:t>Verantwortung </a:t>
            </a:r>
            <a:br>
              <a:rPr lang="de-AT" sz="2000" dirty="0">
                <a:latin typeface="Tahoma" panose="020B0604030504040204" pitchFamily="34" charset="0"/>
                <a:ea typeface="Tahoma" panose="020B0604030504040204" pitchFamily="34" charset="0"/>
                <a:cs typeface="Tahoma" panose="020B0604030504040204" pitchFamily="34" charset="0"/>
              </a:rPr>
            </a:br>
            <a:r>
              <a:rPr lang="de-AT" sz="2000" dirty="0">
                <a:latin typeface="Tahoma" panose="020B0604030504040204" pitchFamily="34" charset="0"/>
                <a:ea typeface="Tahoma" panose="020B0604030504040204" pitchFamily="34" charset="0"/>
                <a:cs typeface="Tahoma" panose="020B0604030504040204" pitchFamily="34" charset="0"/>
              </a:rPr>
              <a:t>übernehmen, </a:t>
            </a:r>
            <a:br>
              <a:rPr lang="de-AT" sz="2000" dirty="0">
                <a:latin typeface="Tahoma" panose="020B0604030504040204" pitchFamily="34" charset="0"/>
                <a:ea typeface="Tahoma" panose="020B0604030504040204" pitchFamily="34" charset="0"/>
                <a:cs typeface="Tahoma" panose="020B0604030504040204" pitchFamily="34" charset="0"/>
              </a:rPr>
            </a:br>
            <a:r>
              <a:rPr lang="de-AT" sz="2000" dirty="0">
                <a:latin typeface="Tahoma" panose="020B0604030504040204" pitchFamily="34" charset="0"/>
                <a:ea typeface="Tahoma" panose="020B0604030504040204" pitchFamily="34" charset="0"/>
                <a:cs typeface="Tahoma" panose="020B0604030504040204" pitchFamily="34" charset="0"/>
              </a:rPr>
              <a:t>Vorbildwirkung </a:t>
            </a:r>
          </a:p>
        </p:txBody>
      </p:sp>
      <p:sp>
        <p:nvSpPr>
          <p:cNvPr id="132" name="Inhaltsplatzhalter 2">
            <a:extLst>
              <a:ext uri="{FF2B5EF4-FFF2-40B4-BE49-F238E27FC236}">
                <a16:creationId xmlns:a16="http://schemas.microsoft.com/office/drawing/2014/main" xmlns="" id="{6338529D-9455-4226-9905-167F679758FC}"/>
              </a:ext>
            </a:extLst>
          </p:cNvPr>
          <p:cNvSpPr txBox="1">
            <a:spLocks/>
          </p:cNvSpPr>
          <p:nvPr/>
        </p:nvSpPr>
        <p:spPr>
          <a:xfrm>
            <a:off x="6189862" y="4725144"/>
            <a:ext cx="2954138" cy="57265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Lösungsorientierung</a:t>
            </a:r>
          </a:p>
          <a:p>
            <a:pPr marL="514350" indent="-514350">
              <a:buFont typeface="Lucida Grande"/>
              <a:buAutoNum type="arabicPeriod" startAt="4"/>
            </a:pPr>
            <a:endParaRPr lang="de-AT" sz="2000" dirty="0">
              <a:latin typeface="Tahoma" panose="020B0604030504040204" pitchFamily="34" charset="0"/>
              <a:ea typeface="Tahoma" panose="020B0604030504040204" pitchFamily="34" charset="0"/>
              <a:cs typeface="Tahoma" panose="020B0604030504040204" pitchFamily="34" charset="0"/>
            </a:endParaRPr>
          </a:p>
          <a:p>
            <a:pPr>
              <a:buFont typeface="Lucida Grande"/>
              <a:buNone/>
            </a:pPr>
            <a:endParaRPr lang="de-AT" sz="2000" dirty="0">
              <a:latin typeface="Tahoma" panose="020B0604030504040204" pitchFamily="34" charset="0"/>
              <a:ea typeface="Tahoma" panose="020B0604030504040204" pitchFamily="34" charset="0"/>
              <a:cs typeface="Tahoma" panose="020B0604030504040204" pitchFamily="34" charset="0"/>
            </a:endParaRPr>
          </a:p>
        </p:txBody>
      </p:sp>
      <p:sp>
        <p:nvSpPr>
          <p:cNvPr id="133" name="Inhaltsplatzhalter 2">
            <a:extLst>
              <a:ext uri="{FF2B5EF4-FFF2-40B4-BE49-F238E27FC236}">
                <a16:creationId xmlns:a16="http://schemas.microsoft.com/office/drawing/2014/main" xmlns="" id="{C1DEDF24-E3D9-4DFC-8DF4-15E12B35206E}"/>
              </a:ext>
            </a:extLst>
          </p:cNvPr>
          <p:cNvSpPr txBox="1">
            <a:spLocks/>
          </p:cNvSpPr>
          <p:nvPr/>
        </p:nvSpPr>
        <p:spPr>
          <a:xfrm>
            <a:off x="5436096" y="5589240"/>
            <a:ext cx="4290536" cy="864096"/>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die Opferrolle verlassen:</a:t>
            </a:r>
          </a:p>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Stärkung der Selbststeuerung</a:t>
            </a:r>
          </a:p>
        </p:txBody>
      </p:sp>
      <p:sp>
        <p:nvSpPr>
          <p:cNvPr id="135" name="Inhaltsplatzhalter 2">
            <a:extLst>
              <a:ext uri="{FF2B5EF4-FFF2-40B4-BE49-F238E27FC236}">
                <a16:creationId xmlns:a16="http://schemas.microsoft.com/office/drawing/2014/main" xmlns="" id="{DFD1D706-1C00-4ACD-AEE6-33938011CE1D}"/>
              </a:ext>
            </a:extLst>
          </p:cNvPr>
          <p:cNvSpPr txBox="1">
            <a:spLocks/>
          </p:cNvSpPr>
          <p:nvPr/>
        </p:nvSpPr>
        <p:spPr>
          <a:xfrm>
            <a:off x="0" y="2996952"/>
            <a:ext cx="3349687" cy="127604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Netzwerkorientierung: </a:t>
            </a:r>
            <a:br>
              <a:rPr lang="de-AT" sz="2000" dirty="0">
                <a:latin typeface="Tahoma" panose="020B0604030504040204" pitchFamily="34" charset="0"/>
                <a:ea typeface="Tahoma" panose="020B0604030504040204" pitchFamily="34" charset="0"/>
                <a:cs typeface="Tahoma" panose="020B0604030504040204" pitchFamily="34" charset="0"/>
              </a:rPr>
            </a:br>
            <a:r>
              <a:rPr lang="de-AT" sz="2000" dirty="0">
                <a:latin typeface="Tahoma" panose="020B0604030504040204" pitchFamily="34" charset="0"/>
                <a:ea typeface="Tahoma" panose="020B0604030504040204" pitchFamily="34" charset="0"/>
                <a:cs typeface="Tahoma" panose="020B0604030504040204" pitchFamily="34" charset="0"/>
              </a:rPr>
              <a:t>soziale Einbindung, </a:t>
            </a:r>
            <a:br>
              <a:rPr lang="de-AT" sz="2000" dirty="0">
                <a:latin typeface="Tahoma" panose="020B0604030504040204" pitchFamily="34" charset="0"/>
                <a:ea typeface="Tahoma" panose="020B0604030504040204" pitchFamily="34" charset="0"/>
                <a:cs typeface="Tahoma" panose="020B0604030504040204" pitchFamily="34" charset="0"/>
              </a:rPr>
            </a:br>
            <a:r>
              <a:rPr lang="de-AT" sz="2000" dirty="0">
                <a:latin typeface="Tahoma" panose="020B0604030504040204" pitchFamily="34" charset="0"/>
                <a:ea typeface="Tahoma" panose="020B0604030504040204" pitchFamily="34" charset="0"/>
                <a:cs typeface="Tahoma" panose="020B0604030504040204" pitchFamily="34" charset="0"/>
              </a:rPr>
              <a:t>Zusammenhalt</a:t>
            </a:r>
          </a:p>
        </p:txBody>
      </p:sp>
      <p:sp>
        <p:nvSpPr>
          <p:cNvPr id="136" name="Inhaltsplatzhalter 2">
            <a:extLst>
              <a:ext uri="{FF2B5EF4-FFF2-40B4-BE49-F238E27FC236}">
                <a16:creationId xmlns:a16="http://schemas.microsoft.com/office/drawing/2014/main" xmlns="" id="{FF85FCFE-B5CA-4A00-9E61-AA83FF34979F}"/>
              </a:ext>
            </a:extLst>
          </p:cNvPr>
          <p:cNvSpPr txBox="1">
            <a:spLocks/>
          </p:cNvSpPr>
          <p:nvPr/>
        </p:nvSpPr>
        <p:spPr>
          <a:xfrm>
            <a:off x="0" y="1628800"/>
            <a:ext cx="4290536" cy="51604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Lucida Grande"/>
              <a:buChar char="»"/>
              <a:defRPr sz="2800" b="0" i="0" kern="1200" baseline="0">
                <a:solidFill>
                  <a:schemeClr val="tx1"/>
                </a:solidFill>
                <a:latin typeface="Tahoma"/>
                <a:ea typeface="+mn-ea"/>
                <a:cs typeface="+mn-cs"/>
              </a:defRPr>
            </a:lvl1pPr>
            <a:lvl2pPr marL="742950" indent="-285750" algn="l" defTabSz="457200" rtl="0" eaLnBrk="1" latinLnBrk="0" hangingPunct="1">
              <a:spcBef>
                <a:spcPct val="20000"/>
              </a:spcBef>
              <a:buFont typeface="Lucida Grande"/>
              <a:buChar char="»"/>
              <a:defRPr sz="2400" b="0" i="0" kern="1200">
                <a:solidFill>
                  <a:schemeClr val="tx1"/>
                </a:solidFill>
                <a:latin typeface="Tahoma"/>
                <a:ea typeface="+mn-ea"/>
                <a:cs typeface="+mn-cs"/>
              </a:defRPr>
            </a:lvl2pPr>
            <a:lvl3pPr marL="1143000" indent="-228600" algn="l" defTabSz="457200" rtl="0" eaLnBrk="1" latinLnBrk="0" hangingPunct="1">
              <a:spcBef>
                <a:spcPct val="20000"/>
              </a:spcBef>
              <a:buFont typeface="Lucida Grande"/>
              <a:buChar char="»"/>
              <a:defRPr sz="2000" b="0" i="0" kern="1200">
                <a:solidFill>
                  <a:schemeClr val="tx1"/>
                </a:solidFill>
                <a:latin typeface="Tahoma"/>
                <a:ea typeface="+mn-ea"/>
                <a:cs typeface="+mn-cs"/>
              </a:defRPr>
            </a:lvl3pPr>
            <a:lvl4pPr marL="1600200" indent="-228600" algn="l" defTabSz="457200" rtl="0" eaLnBrk="1" latinLnBrk="0" hangingPunct="1">
              <a:spcBef>
                <a:spcPct val="20000"/>
              </a:spcBef>
              <a:buFont typeface="Lucida Grande"/>
              <a:buChar char="»"/>
              <a:defRPr sz="1800" b="0" i="0" kern="1200">
                <a:solidFill>
                  <a:schemeClr val="tx1"/>
                </a:solidFill>
                <a:latin typeface="Tahoma"/>
                <a:ea typeface="+mn-ea"/>
                <a:cs typeface="+mn-cs"/>
              </a:defRPr>
            </a:lvl4pPr>
            <a:lvl5pPr marL="2057400" indent="-228600" algn="l" defTabSz="457200" rtl="0" eaLnBrk="1" latinLnBrk="0" hangingPunct="1">
              <a:spcBef>
                <a:spcPct val="20000"/>
              </a:spcBef>
              <a:buFont typeface="Lucida Grande"/>
              <a:buChar char="»"/>
              <a:defRPr sz="1600" b="0" i="0" kern="1200">
                <a:solidFill>
                  <a:schemeClr val="tx1"/>
                </a:solidFill>
                <a:latin typeface="Tahom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AT" sz="2000" dirty="0">
                <a:latin typeface="Tahoma" panose="020B0604030504040204" pitchFamily="34" charset="0"/>
                <a:ea typeface="Tahoma" panose="020B0604030504040204" pitchFamily="34" charset="0"/>
                <a:cs typeface="Tahoma" panose="020B0604030504040204" pitchFamily="34" charset="0"/>
              </a:rPr>
              <a:t>Zukunftsorientierung</a:t>
            </a:r>
          </a:p>
          <a:p>
            <a:pPr>
              <a:buFont typeface="Lucida Grande"/>
              <a:buNone/>
            </a:pPr>
            <a:endParaRPr lang="de-AT" sz="2000" dirty="0">
              <a:latin typeface="Tahoma" panose="020B0604030504040204" pitchFamily="34" charset="0"/>
              <a:ea typeface="Tahoma" panose="020B0604030504040204" pitchFamily="34" charset="0"/>
              <a:cs typeface="Tahoma" panose="020B0604030504040204" pitchFamily="34" charset="0"/>
            </a:endParaRPr>
          </a:p>
        </p:txBody>
      </p:sp>
      <mc:AlternateContent xmlns:mc="http://schemas.openxmlformats.org/markup-compatibility/2006">
        <mc:Choice xmlns:p14="http://schemas.microsoft.com/office/powerpoint/2010/main" xmlns="" Requires="p14">
          <p:contentPart p14:bwMode="auto" r:id="rId45">
            <p14:nvContentPartPr>
              <p14:cNvPr id="137" name="Freihand 136">
                <a:extLst>
                  <a:ext uri="{FF2B5EF4-FFF2-40B4-BE49-F238E27FC236}">
                    <a16:creationId xmlns:a16="http://schemas.microsoft.com/office/drawing/2014/main" id="{C8F14E22-760E-425C-8920-E4C22ECEA5DB}"/>
                  </a:ext>
                </a:extLst>
              </p14:cNvPr>
              <p14:cNvContentPartPr/>
              <p14:nvPr/>
            </p14:nvContentPartPr>
            <p14:xfrm>
              <a:off x="4834885" y="2604697"/>
              <a:ext cx="869760" cy="576720"/>
            </p14:xfrm>
          </p:contentPart>
        </mc:Choice>
        <mc:Fallback>
          <p:pic>
            <p:nvPicPr>
              <p:cNvPr id="137" name="Freihand 136">
                <a:extLst>
                  <a:ext uri="{FF2B5EF4-FFF2-40B4-BE49-F238E27FC236}">
                    <a16:creationId xmlns:a16="http://schemas.microsoft.com/office/drawing/2014/main" xmlns="" xmlns:p14="http://schemas.microsoft.com/office/powerpoint/2010/main" id="{C8F14E22-760E-425C-8920-E4C22ECEA5DB}"/>
                  </a:ext>
                </a:extLst>
              </p:cNvPr>
              <p:cNvPicPr/>
              <p:nvPr/>
            </p:nvPicPr>
            <p:blipFill>
              <a:blip r:embed="rId46" cstate="print"/>
              <a:stretch>
                <a:fillRect/>
              </a:stretch>
            </p:blipFill>
            <p:spPr>
              <a:xfrm>
                <a:off x="4781245" y="2497057"/>
                <a:ext cx="977400" cy="792360"/>
              </a:xfrm>
              <a:prstGeom prst="rect">
                <a:avLst/>
              </a:prstGeom>
            </p:spPr>
          </p:pic>
        </mc:Fallback>
      </mc:AlternateContent>
      <p:pic>
        <p:nvPicPr>
          <p:cNvPr id="138" name="Freihand 137">
            <a:extLst>
              <a:ext uri="{FF2B5EF4-FFF2-40B4-BE49-F238E27FC236}">
                <a16:creationId xmlns:a16="http://schemas.microsoft.com/office/drawing/2014/main" xmlns="" id="{2DD7CA5F-E081-4B4D-9838-C7D85BBB1F13}"/>
              </a:ext>
            </a:extLst>
          </p:cNvPr>
          <p:cNvPicPr/>
          <p:nvPr/>
        </p:nvPicPr>
        <p:blipFill>
          <a:blip r:embed="rId47" cstate="print"/>
          <a:stretch>
            <a:fillRect/>
          </a:stretch>
        </p:blipFill>
        <p:spPr>
          <a:xfrm>
            <a:off x="5652120" y="3140968"/>
            <a:ext cx="577440" cy="1505520"/>
          </a:xfrm>
          <a:prstGeom prst="rect">
            <a:avLst/>
          </a:prstGeom>
        </p:spPr>
      </p:pic>
      <p:pic>
        <p:nvPicPr>
          <p:cNvPr id="139" name="Freihand 138">
            <a:extLst>
              <a:ext uri="{FF2B5EF4-FFF2-40B4-BE49-F238E27FC236}">
                <a16:creationId xmlns:a16="http://schemas.microsoft.com/office/drawing/2014/main" xmlns="" id="{5AB543D8-81A0-4C76-B396-2941A329F1E9}"/>
              </a:ext>
            </a:extLst>
          </p:cNvPr>
          <p:cNvPicPr/>
          <p:nvPr/>
        </p:nvPicPr>
        <p:blipFill>
          <a:blip r:embed="rId48" cstate="print"/>
          <a:stretch>
            <a:fillRect/>
          </a:stretch>
        </p:blipFill>
        <p:spPr>
          <a:xfrm>
            <a:off x="4860032" y="4581128"/>
            <a:ext cx="1383120" cy="1039680"/>
          </a:xfrm>
          <a:prstGeom prst="rect">
            <a:avLst/>
          </a:prstGeom>
        </p:spPr>
      </p:pic>
      <mc:AlternateContent xmlns:mc="http://schemas.openxmlformats.org/markup-compatibility/2006">
        <mc:Choice xmlns:p14="http://schemas.microsoft.com/office/powerpoint/2010/main" xmlns="" Requires="p14">
          <p:contentPart p14:bwMode="auto" r:id="rId49">
            <p14:nvContentPartPr>
              <p14:cNvPr id="140" name="Freihand 139">
                <a:extLst>
                  <a:ext uri="{FF2B5EF4-FFF2-40B4-BE49-F238E27FC236}">
                    <a16:creationId xmlns:a16="http://schemas.microsoft.com/office/drawing/2014/main" id="{4FB0F799-1E43-4C2B-9801-930A482CCAB5}"/>
                  </a:ext>
                </a:extLst>
              </p14:cNvPr>
              <p14:cNvContentPartPr/>
              <p14:nvPr/>
            </p14:nvContentPartPr>
            <p14:xfrm>
              <a:off x="3708445" y="4639057"/>
              <a:ext cx="990720" cy="866520"/>
            </p14:xfrm>
          </p:contentPart>
        </mc:Choice>
        <mc:Fallback>
          <p:pic>
            <p:nvPicPr>
              <p:cNvPr id="140" name="Freihand 139">
                <a:extLst>
                  <a:ext uri="{FF2B5EF4-FFF2-40B4-BE49-F238E27FC236}">
                    <a16:creationId xmlns:a16="http://schemas.microsoft.com/office/drawing/2014/main" xmlns="" xmlns:p14="http://schemas.microsoft.com/office/powerpoint/2010/main" id="{4FB0F799-1E43-4C2B-9801-930A482CCAB5}"/>
                  </a:ext>
                </a:extLst>
              </p:cNvPr>
              <p:cNvPicPr/>
              <p:nvPr/>
            </p:nvPicPr>
            <p:blipFill>
              <a:blip r:embed="rId50" cstate="print"/>
              <a:stretch>
                <a:fillRect/>
              </a:stretch>
            </p:blipFill>
            <p:spPr>
              <a:xfrm>
                <a:off x="3654445" y="4531057"/>
                <a:ext cx="1098360" cy="10821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53">
            <p14:nvContentPartPr>
              <p14:cNvPr id="141" name="Freihand 140">
                <a:extLst>
                  <a:ext uri="{FF2B5EF4-FFF2-40B4-BE49-F238E27FC236}">
                    <a16:creationId xmlns:a16="http://schemas.microsoft.com/office/drawing/2014/main" id="{3F5B192F-1BF7-40D7-8C81-0D4E3F9B5443}"/>
                  </a:ext>
                </a:extLst>
              </p14:cNvPr>
              <p14:cNvContentPartPr/>
              <p14:nvPr/>
            </p14:nvContentPartPr>
            <p14:xfrm>
              <a:off x="2113285" y="4151257"/>
              <a:ext cx="1559520" cy="422280"/>
            </p14:xfrm>
          </p:contentPart>
        </mc:Choice>
        <mc:Fallback>
          <p:pic>
            <p:nvPicPr>
              <p:cNvPr id="141" name="Freihand 140">
                <a:extLst>
                  <a:ext uri="{FF2B5EF4-FFF2-40B4-BE49-F238E27FC236}">
                    <a16:creationId xmlns:a16="http://schemas.microsoft.com/office/drawing/2014/main" xmlns="" xmlns:p14="http://schemas.microsoft.com/office/powerpoint/2010/main" id="{3F5B192F-1BF7-40D7-8C81-0D4E3F9B5443}"/>
                  </a:ext>
                </a:extLst>
              </p:cNvPr>
              <p:cNvPicPr/>
              <p:nvPr/>
            </p:nvPicPr>
            <p:blipFill>
              <a:blip r:embed="rId54" cstate="print"/>
              <a:stretch>
                <a:fillRect/>
              </a:stretch>
            </p:blipFill>
            <p:spPr>
              <a:xfrm>
                <a:off x="2059285" y="4043617"/>
                <a:ext cx="1667160" cy="637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55">
            <p14:nvContentPartPr>
              <p14:cNvPr id="142" name="Freihand 141">
                <a:extLst>
                  <a:ext uri="{FF2B5EF4-FFF2-40B4-BE49-F238E27FC236}">
                    <a16:creationId xmlns:a16="http://schemas.microsoft.com/office/drawing/2014/main" id="{65C117DC-7FA9-4C98-AA61-72D2DD1D0A10}"/>
                  </a:ext>
                </a:extLst>
              </p14:cNvPr>
              <p14:cNvContentPartPr/>
              <p14:nvPr/>
            </p14:nvContentPartPr>
            <p14:xfrm>
              <a:off x="2183125" y="2848057"/>
              <a:ext cx="709200" cy="1222560"/>
            </p14:xfrm>
          </p:contentPart>
        </mc:Choice>
        <mc:Fallback>
          <p:pic>
            <p:nvPicPr>
              <p:cNvPr id="142" name="Freihand 141">
                <a:extLst>
                  <a:ext uri="{FF2B5EF4-FFF2-40B4-BE49-F238E27FC236}">
                    <a16:creationId xmlns:a16="http://schemas.microsoft.com/office/drawing/2014/main" xmlns="" xmlns:p14="http://schemas.microsoft.com/office/powerpoint/2010/main" id="{65C117DC-7FA9-4C98-AA61-72D2DD1D0A10}"/>
                  </a:ext>
                </a:extLst>
              </p:cNvPr>
              <p:cNvPicPr/>
              <p:nvPr/>
            </p:nvPicPr>
            <p:blipFill>
              <a:blip r:embed="rId56" cstate="print"/>
              <a:stretch>
                <a:fillRect/>
              </a:stretch>
            </p:blipFill>
            <p:spPr>
              <a:xfrm>
                <a:off x="2129485" y="2740057"/>
                <a:ext cx="816840" cy="14382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57">
            <p14:nvContentPartPr>
              <p14:cNvPr id="143" name="Freihand 142">
                <a:extLst>
                  <a:ext uri="{FF2B5EF4-FFF2-40B4-BE49-F238E27FC236}">
                    <a16:creationId xmlns:a16="http://schemas.microsoft.com/office/drawing/2014/main" id="{361ABFBB-48C1-4743-8E79-568804C03EF3}"/>
                  </a:ext>
                </a:extLst>
              </p14:cNvPr>
              <p14:cNvContentPartPr/>
              <p14:nvPr/>
            </p14:nvContentPartPr>
            <p14:xfrm>
              <a:off x="2952445" y="2599657"/>
              <a:ext cx="1784520" cy="203040"/>
            </p14:xfrm>
          </p:contentPart>
        </mc:Choice>
        <mc:Fallback>
          <p:pic>
            <p:nvPicPr>
              <p:cNvPr id="143" name="Freihand 142">
                <a:extLst>
                  <a:ext uri="{FF2B5EF4-FFF2-40B4-BE49-F238E27FC236}">
                    <a16:creationId xmlns:a16="http://schemas.microsoft.com/office/drawing/2014/main" xmlns="" xmlns:p14="http://schemas.microsoft.com/office/powerpoint/2010/main" id="{361ABFBB-48C1-4743-8E79-568804C03EF3}"/>
                  </a:ext>
                </a:extLst>
              </p:cNvPr>
              <p:cNvPicPr/>
              <p:nvPr/>
            </p:nvPicPr>
            <p:blipFill>
              <a:blip r:embed="rId58" cstate="print"/>
              <a:stretch>
                <a:fillRect/>
              </a:stretch>
            </p:blipFill>
            <p:spPr>
              <a:xfrm>
                <a:off x="2898445" y="2492017"/>
                <a:ext cx="1892160" cy="418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59">
            <p14:nvContentPartPr>
              <p14:cNvPr id="144" name="Freihand 143">
                <a:extLst>
                  <a:ext uri="{FF2B5EF4-FFF2-40B4-BE49-F238E27FC236}">
                    <a16:creationId xmlns:a16="http://schemas.microsoft.com/office/drawing/2014/main" id="{57EAE3C6-8C18-40C1-B7E6-C9A79C2A2B8B}"/>
                  </a:ext>
                </a:extLst>
              </p14:cNvPr>
              <p14:cNvContentPartPr/>
              <p14:nvPr/>
            </p14:nvContentPartPr>
            <p14:xfrm>
              <a:off x="6687445" y="2994937"/>
              <a:ext cx="21240" cy="99360"/>
            </p14:xfrm>
          </p:contentPart>
        </mc:Choice>
        <mc:Fallback>
          <p:pic>
            <p:nvPicPr>
              <p:cNvPr id="144" name="Freihand 143">
                <a:extLst>
                  <a:ext uri="{FF2B5EF4-FFF2-40B4-BE49-F238E27FC236}">
                    <a16:creationId xmlns:a16="http://schemas.microsoft.com/office/drawing/2014/main" xmlns="" xmlns:p14="http://schemas.microsoft.com/office/powerpoint/2010/main" id="{57EAE3C6-8C18-40C1-B7E6-C9A79C2A2B8B}"/>
                  </a:ext>
                </a:extLst>
              </p:cNvPr>
              <p:cNvPicPr/>
              <p:nvPr/>
            </p:nvPicPr>
            <p:blipFill>
              <a:blip r:embed="rId60" cstate="print"/>
              <a:stretch>
                <a:fillRect/>
              </a:stretch>
            </p:blipFill>
            <p:spPr>
              <a:xfrm>
                <a:off x="6678445" y="2986297"/>
                <a:ext cx="38880" cy="117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61">
            <p14:nvContentPartPr>
              <p14:cNvPr id="145" name="Freihand 144">
                <a:extLst>
                  <a:ext uri="{FF2B5EF4-FFF2-40B4-BE49-F238E27FC236}">
                    <a16:creationId xmlns:a16="http://schemas.microsoft.com/office/drawing/2014/main" id="{B76218FE-0CAD-41CC-BC02-F08C6A2F6C35}"/>
                  </a:ext>
                </a:extLst>
              </p14:cNvPr>
              <p14:cNvContentPartPr/>
              <p14:nvPr/>
            </p14:nvContentPartPr>
            <p14:xfrm>
              <a:off x="1963885" y="1990537"/>
              <a:ext cx="81000" cy="87480"/>
            </p14:xfrm>
          </p:contentPart>
        </mc:Choice>
        <mc:Fallback>
          <p:pic>
            <p:nvPicPr>
              <p:cNvPr id="145" name="Freihand 144">
                <a:extLst>
                  <a:ext uri="{FF2B5EF4-FFF2-40B4-BE49-F238E27FC236}">
                    <a16:creationId xmlns:a16="http://schemas.microsoft.com/office/drawing/2014/main" xmlns="" xmlns:p14="http://schemas.microsoft.com/office/powerpoint/2010/main" id="{B76218FE-0CAD-41CC-BC02-F08C6A2F6C35}"/>
                  </a:ext>
                </a:extLst>
              </p:cNvPr>
              <p:cNvPicPr/>
              <p:nvPr/>
            </p:nvPicPr>
            <p:blipFill>
              <a:blip r:embed="rId62" cstate="print"/>
              <a:stretch>
                <a:fillRect/>
              </a:stretch>
            </p:blipFill>
            <p:spPr>
              <a:xfrm>
                <a:off x="1955245" y="1981537"/>
                <a:ext cx="98640" cy="105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63">
            <p14:nvContentPartPr>
              <p14:cNvPr id="146" name="Freihand 145">
                <a:extLst>
                  <a:ext uri="{FF2B5EF4-FFF2-40B4-BE49-F238E27FC236}">
                    <a16:creationId xmlns:a16="http://schemas.microsoft.com/office/drawing/2014/main" id="{AA5B25D2-A4B8-47DF-82E9-42E12FC1D1DF}"/>
                  </a:ext>
                </a:extLst>
              </p14:cNvPr>
              <p14:cNvContentPartPr/>
              <p14:nvPr/>
            </p14:nvContentPartPr>
            <p14:xfrm>
              <a:off x="1408045" y="4335217"/>
              <a:ext cx="32040" cy="122760"/>
            </p14:xfrm>
          </p:contentPart>
        </mc:Choice>
        <mc:Fallback>
          <p:pic>
            <p:nvPicPr>
              <p:cNvPr id="146" name="Freihand 145">
                <a:extLst>
                  <a:ext uri="{FF2B5EF4-FFF2-40B4-BE49-F238E27FC236}">
                    <a16:creationId xmlns:a16="http://schemas.microsoft.com/office/drawing/2014/main" xmlns="" xmlns:p14="http://schemas.microsoft.com/office/powerpoint/2010/main" id="{AA5B25D2-A4B8-47DF-82E9-42E12FC1D1DF}"/>
                  </a:ext>
                </a:extLst>
              </p:cNvPr>
              <p:cNvPicPr/>
              <p:nvPr/>
            </p:nvPicPr>
            <p:blipFill>
              <a:blip r:embed="rId64" cstate="print"/>
              <a:stretch>
                <a:fillRect/>
              </a:stretch>
            </p:blipFill>
            <p:spPr>
              <a:xfrm>
                <a:off x="1399045" y="4326217"/>
                <a:ext cx="49680" cy="140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65">
            <p14:nvContentPartPr>
              <p14:cNvPr id="147" name="Freihand 146">
                <a:extLst>
                  <a:ext uri="{FF2B5EF4-FFF2-40B4-BE49-F238E27FC236}">
                    <a16:creationId xmlns:a16="http://schemas.microsoft.com/office/drawing/2014/main" id="{6B4FACEF-02BD-4453-9299-D648FD05169B}"/>
                  </a:ext>
                </a:extLst>
              </p14:cNvPr>
              <p14:cNvContentPartPr/>
              <p14:nvPr/>
            </p14:nvContentPartPr>
            <p14:xfrm>
              <a:off x="5024965" y="6081577"/>
              <a:ext cx="95400" cy="32760"/>
            </p14:xfrm>
          </p:contentPart>
        </mc:Choice>
        <mc:Fallback>
          <p:pic>
            <p:nvPicPr>
              <p:cNvPr id="147" name="Freihand 146">
                <a:extLst>
                  <a:ext uri="{FF2B5EF4-FFF2-40B4-BE49-F238E27FC236}">
                    <a16:creationId xmlns:a16="http://schemas.microsoft.com/office/drawing/2014/main" xmlns="" xmlns:p14="http://schemas.microsoft.com/office/powerpoint/2010/main" id="{6B4FACEF-02BD-4453-9299-D648FD05169B}"/>
                  </a:ext>
                </a:extLst>
              </p:cNvPr>
              <p:cNvPicPr/>
              <p:nvPr/>
            </p:nvPicPr>
            <p:blipFill>
              <a:blip r:embed="rId66" cstate="print"/>
              <a:stretch>
                <a:fillRect/>
              </a:stretch>
            </p:blipFill>
            <p:spPr>
              <a:xfrm>
                <a:off x="5015965" y="6072577"/>
                <a:ext cx="113040" cy="50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67">
            <p14:nvContentPartPr>
              <p14:cNvPr id="148" name="Freihand 147">
                <a:extLst>
                  <a:ext uri="{FF2B5EF4-FFF2-40B4-BE49-F238E27FC236}">
                    <a16:creationId xmlns:a16="http://schemas.microsoft.com/office/drawing/2014/main" id="{E644165A-3309-4959-B288-A507EC6573B3}"/>
                  </a:ext>
                </a:extLst>
              </p14:cNvPr>
              <p14:cNvContentPartPr/>
              <p14:nvPr/>
            </p14:nvContentPartPr>
            <p14:xfrm>
              <a:off x="3066205" y="6107137"/>
              <a:ext cx="108720" cy="16200"/>
            </p14:xfrm>
          </p:contentPart>
        </mc:Choice>
        <mc:Fallback>
          <p:pic>
            <p:nvPicPr>
              <p:cNvPr id="148" name="Freihand 147">
                <a:extLst>
                  <a:ext uri="{FF2B5EF4-FFF2-40B4-BE49-F238E27FC236}">
                    <a16:creationId xmlns:a16="http://schemas.microsoft.com/office/drawing/2014/main" xmlns="" xmlns:p14="http://schemas.microsoft.com/office/powerpoint/2010/main" id="{E644165A-3309-4959-B288-A507EC6573B3}"/>
                  </a:ext>
                </a:extLst>
              </p:cNvPr>
              <p:cNvPicPr/>
              <p:nvPr/>
            </p:nvPicPr>
            <p:blipFill>
              <a:blip r:embed="rId68" cstate="print"/>
              <a:stretch>
                <a:fillRect/>
              </a:stretch>
            </p:blipFill>
            <p:spPr>
              <a:xfrm>
                <a:off x="3057205" y="6098137"/>
                <a:ext cx="126360" cy="338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69">
            <p14:nvContentPartPr>
              <p14:cNvPr id="149" name="Freihand 148">
                <a:extLst>
                  <a:ext uri="{FF2B5EF4-FFF2-40B4-BE49-F238E27FC236}">
                    <a16:creationId xmlns:a16="http://schemas.microsoft.com/office/drawing/2014/main" id="{6D325073-FB3C-4593-AF02-A9A7061323E5}"/>
                  </a:ext>
                </a:extLst>
              </p14:cNvPr>
              <p14:cNvContentPartPr/>
              <p14:nvPr/>
            </p14:nvContentPartPr>
            <p14:xfrm>
              <a:off x="6524005" y="4656337"/>
              <a:ext cx="44280" cy="82440"/>
            </p14:xfrm>
          </p:contentPart>
        </mc:Choice>
        <mc:Fallback>
          <p:pic>
            <p:nvPicPr>
              <p:cNvPr id="149" name="Freihand 148">
                <a:extLst>
                  <a:ext uri="{FF2B5EF4-FFF2-40B4-BE49-F238E27FC236}">
                    <a16:creationId xmlns:a16="http://schemas.microsoft.com/office/drawing/2014/main" xmlns="" xmlns:p14="http://schemas.microsoft.com/office/powerpoint/2010/main" id="{6D325073-FB3C-4593-AF02-A9A7061323E5}"/>
                  </a:ext>
                </a:extLst>
              </p:cNvPr>
              <p:cNvPicPr/>
              <p:nvPr/>
            </p:nvPicPr>
            <p:blipFill>
              <a:blip r:embed="rId70" cstate="print"/>
              <a:stretch>
                <a:fillRect/>
              </a:stretch>
            </p:blipFill>
            <p:spPr>
              <a:xfrm>
                <a:off x="6515005" y="4647697"/>
                <a:ext cx="61920" cy="1000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71">
            <p14:nvContentPartPr>
              <p14:cNvPr id="157" name="Freihand 156">
                <a:extLst>
                  <a:ext uri="{FF2B5EF4-FFF2-40B4-BE49-F238E27FC236}">
                    <a16:creationId xmlns:a16="http://schemas.microsoft.com/office/drawing/2014/main" id="{A14C439B-4E1E-4892-9858-CE8A59FF9117}"/>
                  </a:ext>
                </a:extLst>
              </p14:cNvPr>
              <p14:cNvContentPartPr/>
              <p14:nvPr/>
            </p14:nvContentPartPr>
            <p14:xfrm>
              <a:off x="5316565" y="1889017"/>
              <a:ext cx="96480" cy="86040"/>
            </p14:xfrm>
          </p:contentPart>
        </mc:Choice>
        <mc:Fallback>
          <p:pic>
            <p:nvPicPr>
              <p:cNvPr id="157" name="Freihand 156">
                <a:extLst>
                  <a:ext uri="{FF2B5EF4-FFF2-40B4-BE49-F238E27FC236}">
                    <a16:creationId xmlns:a16="http://schemas.microsoft.com/office/drawing/2014/main" xmlns="" xmlns:p14="http://schemas.microsoft.com/office/powerpoint/2010/main" id="{A14C439B-4E1E-4892-9858-CE8A59FF9117}"/>
                  </a:ext>
                </a:extLst>
              </p:cNvPr>
              <p:cNvPicPr/>
              <p:nvPr/>
            </p:nvPicPr>
            <p:blipFill>
              <a:blip r:embed="rId72" cstate="print"/>
              <a:stretch>
                <a:fillRect/>
              </a:stretch>
            </p:blipFill>
            <p:spPr>
              <a:xfrm>
                <a:off x="5298565" y="1853377"/>
                <a:ext cx="132120" cy="157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73">
            <p14:nvContentPartPr>
              <p14:cNvPr id="158" name="Freihand 157">
                <a:extLst>
                  <a:ext uri="{FF2B5EF4-FFF2-40B4-BE49-F238E27FC236}">
                    <a16:creationId xmlns:a16="http://schemas.microsoft.com/office/drawing/2014/main" id="{E6B56A5F-CFB1-4D68-9867-4F3A60DAB767}"/>
                  </a:ext>
                </a:extLst>
              </p14:cNvPr>
              <p14:cNvContentPartPr/>
              <p14:nvPr/>
            </p14:nvContentPartPr>
            <p14:xfrm>
              <a:off x="5578285" y="2154337"/>
              <a:ext cx="118800" cy="104760"/>
            </p14:xfrm>
          </p:contentPart>
        </mc:Choice>
        <mc:Fallback>
          <p:pic>
            <p:nvPicPr>
              <p:cNvPr id="158" name="Freihand 157">
                <a:extLst>
                  <a:ext uri="{FF2B5EF4-FFF2-40B4-BE49-F238E27FC236}">
                    <a16:creationId xmlns:a16="http://schemas.microsoft.com/office/drawing/2014/main" xmlns="" xmlns:p14="http://schemas.microsoft.com/office/powerpoint/2010/main" id="{E6B56A5F-CFB1-4D68-9867-4F3A60DAB767}"/>
                  </a:ext>
                </a:extLst>
              </p:cNvPr>
              <p:cNvPicPr/>
              <p:nvPr/>
            </p:nvPicPr>
            <p:blipFill>
              <a:blip r:embed="rId74" cstate="print"/>
              <a:stretch>
                <a:fillRect/>
              </a:stretch>
            </p:blipFill>
            <p:spPr>
              <a:xfrm>
                <a:off x="5560645" y="2118337"/>
                <a:ext cx="154440" cy="176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75">
            <p14:nvContentPartPr>
              <p14:cNvPr id="159" name="Freihand 158">
                <a:extLst>
                  <a:ext uri="{FF2B5EF4-FFF2-40B4-BE49-F238E27FC236}">
                    <a16:creationId xmlns:a16="http://schemas.microsoft.com/office/drawing/2014/main" id="{4E3F3B77-5C27-41DE-83A5-455E56EBBCDA}"/>
                  </a:ext>
                </a:extLst>
              </p14:cNvPr>
              <p14:cNvContentPartPr/>
              <p14:nvPr/>
            </p14:nvContentPartPr>
            <p14:xfrm>
              <a:off x="5809765" y="2317057"/>
              <a:ext cx="90720" cy="68040"/>
            </p14:xfrm>
          </p:contentPart>
        </mc:Choice>
        <mc:Fallback>
          <p:pic>
            <p:nvPicPr>
              <p:cNvPr id="159" name="Freihand 158">
                <a:extLst>
                  <a:ext uri="{FF2B5EF4-FFF2-40B4-BE49-F238E27FC236}">
                    <a16:creationId xmlns:a16="http://schemas.microsoft.com/office/drawing/2014/main" xmlns="" xmlns:p14="http://schemas.microsoft.com/office/powerpoint/2010/main" id="{4E3F3B77-5C27-41DE-83A5-455E56EBBCDA}"/>
                  </a:ext>
                </a:extLst>
              </p:cNvPr>
              <p:cNvPicPr/>
              <p:nvPr/>
            </p:nvPicPr>
            <p:blipFill>
              <a:blip r:embed="rId76" cstate="print"/>
              <a:stretch>
                <a:fillRect/>
              </a:stretch>
            </p:blipFill>
            <p:spPr>
              <a:xfrm>
                <a:off x="5792125" y="2281417"/>
                <a:ext cx="126360" cy="139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77">
            <p14:nvContentPartPr>
              <p14:cNvPr id="160" name="Freihand 159">
                <a:extLst>
                  <a:ext uri="{FF2B5EF4-FFF2-40B4-BE49-F238E27FC236}">
                    <a16:creationId xmlns:a16="http://schemas.microsoft.com/office/drawing/2014/main" id="{9B24D762-CB37-4445-B4BB-C020E35D313B}"/>
                  </a:ext>
                </a:extLst>
              </p14:cNvPr>
              <p14:cNvContentPartPr/>
              <p14:nvPr/>
            </p14:nvContentPartPr>
            <p14:xfrm>
              <a:off x="6026125" y="2470777"/>
              <a:ext cx="86760" cy="72720"/>
            </p14:xfrm>
          </p:contentPart>
        </mc:Choice>
        <mc:Fallback>
          <p:pic>
            <p:nvPicPr>
              <p:cNvPr id="160" name="Freihand 159">
                <a:extLst>
                  <a:ext uri="{FF2B5EF4-FFF2-40B4-BE49-F238E27FC236}">
                    <a16:creationId xmlns:a16="http://schemas.microsoft.com/office/drawing/2014/main" xmlns="" xmlns:p14="http://schemas.microsoft.com/office/powerpoint/2010/main" id="{9B24D762-CB37-4445-B4BB-C020E35D313B}"/>
                  </a:ext>
                </a:extLst>
              </p:cNvPr>
              <p:cNvPicPr/>
              <p:nvPr/>
            </p:nvPicPr>
            <p:blipFill>
              <a:blip r:embed="rId78" cstate="print"/>
              <a:stretch>
                <a:fillRect/>
              </a:stretch>
            </p:blipFill>
            <p:spPr>
              <a:xfrm>
                <a:off x="6008485" y="2435137"/>
                <a:ext cx="122400" cy="144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79">
            <p14:nvContentPartPr>
              <p14:cNvPr id="161" name="Freihand 160">
                <a:extLst>
                  <a:ext uri="{FF2B5EF4-FFF2-40B4-BE49-F238E27FC236}">
                    <a16:creationId xmlns:a16="http://schemas.microsoft.com/office/drawing/2014/main" id="{C61C2952-D994-4DB1-A8CF-22F85D7B395D}"/>
                  </a:ext>
                </a:extLst>
              </p14:cNvPr>
              <p14:cNvContentPartPr/>
              <p14:nvPr/>
            </p14:nvContentPartPr>
            <p14:xfrm>
              <a:off x="6268045" y="2676337"/>
              <a:ext cx="118800" cy="123840"/>
            </p14:xfrm>
          </p:contentPart>
        </mc:Choice>
        <mc:Fallback>
          <p:pic>
            <p:nvPicPr>
              <p:cNvPr id="161" name="Freihand 160">
                <a:extLst>
                  <a:ext uri="{FF2B5EF4-FFF2-40B4-BE49-F238E27FC236}">
                    <a16:creationId xmlns:a16="http://schemas.microsoft.com/office/drawing/2014/main" xmlns="" xmlns:p14="http://schemas.microsoft.com/office/powerpoint/2010/main" id="{C61C2952-D994-4DB1-A8CF-22F85D7B395D}"/>
                  </a:ext>
                </a:extLst>
              </p:cNvPr>
              <p:cNvPicPr/>
              <p:nvPr/>
            </p:nvPicPr>
            <p:blipFill>
              <a:blip r:embed="rId80" cstate="print"/>
              <a:stretch>
                <a:fillRect/>
              </a:stretch>
            </p:blipFill>
            <p:spPr>
              <a:xfrm>
                <a:off x="6250405" y="2640697"/>
                <a:ext cx="154440" cy="1954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1">
            <p14:nvContentPartPr>
              <p14:cNvPr id="162" name="Freihand 161">
                <a:extLst>
                  <a:ext uri="{FF2B5EF4-FFF2-40B4-BE49-F238E27FC236}">
                    <a16:creationId xmlns:a16="http://schemas.microsoft.com/office/drawing/2014/main" id="{2E7325BC-C302-4C45-9073-081EC57A72A6}"/>
                  </a:ext>
                </a:extLst>
              </p14:cNvPr>
              <p14:cNvContentPartPr/>
              <p14:nvPr/>
            </p14:nvContentPartPr>
            <p14:xfrm>
              <a:off x="6509245" y="2897017"/>
              <a:ext cx="100080" cy="85320"/>
            </p14:xfrm>
          </p:contentPart>
        </mc:Choice>
        <mc:Fallback>
          <p:pic>
            <p:nvPicPr>
              <p:cNvPr id="162" name="Freihand 161">
                <a:extLst>
                  <a:ext uri="{FF2B5EF4-FFF2-40B4-BE49-F238E27FC236}">
                    <a16:creationId xmlns:a16="http://schemas.microsoft.com/office/drawing/2014/main" xmlns="" xmlns:p14="http://schemas.microsoft.com/office/powerpoint/2010/main" id="{2E7325BC-C302-4C45-9073-081EC57A72A6}"/>
                  </a:ext>
                </a:extLst>
              </p:cNvPr>
              <p:cNvPicPr/>
              <p:nvPr/>
            </p:nvPicPr>
            <p:blipFill>
              <a:blip r:embed="rId82" cstate="print"/>
              <a:stretch>
                <a:fillRect/>
              </a:stretch>
            </p:blipFill>
            <p:spPr>
              <a:xfrm>
                <a:off x="6491605" y="2861377"/>
                <a:ext cx="135720" cy="1569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3">
            <p14:nvContentPartPr>
              <p14:cNvPr id="163" name="Freihand 162">
                <a:extLst>
                  <a:ext uri="{FF2B5EF4-FFF2-40B4-BE49-F238E27FC236}">
                    <a16:creationId xmlns:a16="http://schemas.microsoft.com/office/drawing/2014/main" id="{247AACC3-53B2-4985-B9DF-601F838B28BB}"/>
                  </a:ext>
                </a:extLst>
              </p14:cNvPr>
              <p14:cNvContentPartPr/>
              <p14:nvPr/>
            </p14:nvContentPartPr>
            <p14:xfrm>
              <a:off x="6610405" y="3095377"/>
              <a:ext cx="30960" cy="144720"/>
            </p14:xfrm>
          </p:contentPart>
        </mc:Choice>
        <mc:Fallback>
          <p:pic>
            <p:nvPicPr>
              <p:cNvPr id="163" name="Freihand 162">
                <a:extLst>
                  <a:ext uri="{FF2B5EF4-FFF2-40B4-BE49-F238E27FC236}">
                    <a16:creationId xmlns:a16="http://schemas.microsoft.com/office/drawing/2014/main" xmlns="" xmlns:p14="http://schemas.microsoft.com/office/powerpoint/2010/main" id="{247AACC3-53B2-4985-B9DF-601F838B28BB}"/>
                  </a:ext>
                </a:extLst>
              </p:cNvPr>
              <p:cNvPicPr/>
              <p:nvPr/>
            </p:nvPicPr>
            <p:blipFill>
              <a:blip r:embed="rId84" cstate="print"/>
              <a:stretch>
                <a:fillRect/>
              </a:stretch>
            </p:blipFill>
            <p:spPr>
              <a:xfrm>
                <a:off x="6592765" y="3059377"/>
                <a:ext cx="66600" cy="216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5">
            <p14:nvContentPartPr>
              <p14:cNvPr id="164" name="Freihand 163">
                <a:extLst>
                  <a:ext uri="{FF2B5EF4-FFF2-40B4-BE49-F238E27FC236}">
                    <a16:creationId xmlns:a16="http://schemas.microsoft.com/office/drawing/2014/main" id="{7FEB9118-54B3-4105-9147-8245631A7726}"/>
                  </a:ext>
                </a:extLst>
              </p14:cNvPr>
              <p14:cNvContentPartPr/>
              <p14:nvPr/>
            </p14:nvContentPartPr>
            <p14:xfrm>
              <a:off x="6581245" y="3520897"/>
              <a:ext cx="15480" cy="118440"/>
            </p14:xfrm>
          </p:contentPart>
        </mc:Choice>
        <mc:Fallback>
          <p:pic>
            <p:nvPicPr>
              <p:cNvPr id="164" name="Freihand 163">
                <a:extLst>
                  <a:ext uri="{FF2B5EF4-FFF2-40B4-BE49-F238E27FC236}">
                    <a16:creationId xmlns:a16="http://schemas.microsoft.com/office/drawing/2014/main" xmlns="" xmlns:p14="http://schemas.microsoft.com/office/powerpoint/2010/main" id="{7FEB9118-54B3-4105-9147-8245631A7726}"/>
                  </a:ext>
                </a:extLst>
              </p:cNvPr>
              <p:cNvPicPr/>
              <p:nvPr/>
            </p:nvPicPr>
            <p:blipFill>
              <a:blip r:embed="rId86" cstate="print"/>
              <a:stretch>
                <a:fillRect/>
              </a:stretch>
            </p:blipFill>
            <p:spPr>
              <a:xfrm>
                <a:off x="6563605" y="3484897"/>
                <a:ext cx="51120" cy="1900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7">
            <p14:nvContentPartPr>
              <p14:cNvPr id="165" name="Freihand 164">
                <a:extLst>
                  <a:ext uri="{FF2B5EF4-FFF2-40B4-BE49-F238E27FC236}">
                    <a16:creationId xmlns:a16="http://schemas.microsoft.com/office/drawing/2014/main" id="{2C1DE772-295A-4EC8-A313-8D63EB82252A}"/>
                  </a:ext>
                </a:extLst>
              </p14:cNvPr>
              <p14:cNvContentPartPr/>
              <p14:nvPr/>
            </p14:nvContentPartPr>
            <p14:xfrm>
              <a:off x="6532645" y="3922297"/>
              <a:ext cx="18360" cy="165960"/>
            </p14:xfrm>
          </p:contentPart>
        </mc:Choice>
        <mc:Fallback>
          <p:pic>
            <p:nvPicPr>
              <p:cNvPr id="165" name="Freihand 164">
                <a:extLst>
                  <a:ext uri="{FF2B5EF4-FFF2-40B4-BE49-F238E27FC236}">
                    <a16:creationId xmlns:a16="http://schemas.microsoft.com/office/drawing/2014/main" xmlns="" xmlns:p14="http://schemas.microsoft.com/office/powerpoint/2010/main" id="{2C1DE772-295A-4EC8-A313-8D63EB82252A}"/>
                  </a:ext>
                </a:extLst>
              </p:cNvPr>
              <p:cNvPicPr/>
              <p:nvPr/>
            </p:nvPicPr>
            <p:blipFill>
              <a:blip r:embed="rId88" cstate="print"/>
              <a:stretch>
                <a:fillRect/>
              </a:stretch>
            </p:blipFill>
            <p:spPr>
              <a:xfrm>
                <a:off x="6514645" y="3886297"/>
                <a:ext cx="54000" cy="237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9">
            <p14:nvContentPartPr>
              <p14:cNvPr id="166" name="Freihand 165">
                <a:extLst>
                  <a:ext uri="{FF2B5EF4-FFF2-40B4-BE49-F238E27FC236}">
                    <a16:creationId xmlns:a16="http://schemas.microsoft.com/office/drawing/2014/main" id="{B1CB7DFE-0822-4FDE-B3EC-B712712F4CCC}"/>
                  </a:ext>
                </a:extLst>
              </p14:cNvPr>
              <p14:cNvContentPartPr/>
              <p14:nvPr/>
            </p14:nvContentPartPr>
            <p14:xfrm>
              <a:off x="6502405" y="4236217"/>
              <a:ext cx="26280" cy="154080"/>
            </p14:xfrm>
          </p:contentPart>
        </mc:Choice>
        <mc:Fallback>
          <p:pic>
            <p:nvPicPr>
              <p:cNvPr id="166" name="Freihand 165">
                <a:extLst>
                  <a:ext uri="{FF2B5EF4-FFF2-40B4-BE49-F238E27FC236}">
                    <a16:creationId xmlns:a16="http://schemas.microsoft.com/office/drawing/2014/main" xmlns="" xmlns:p14="http://schemas.microsoft.com/office/powerpoint/2010/main" id="{B1CB7DFE-0822-4FDE-B3EC-B712712F4CCC}"/>
                  </a:ext>
                </a:extLst>
              </p:cNvPr>
              <p:cNvPicPr/>
              <p:nvPr/>
            </p:nvPicPr>
            <p:blipFill>
              <a:blip r:embed="rId90" cstate="print"/>
              <a:stretch>
                <a:fillRect/>
              </a:stretch>
            </p:blipFill>
            <p:spPr>
              <a:xfrm>
                <a:off x="6484405" y="4200217"/>
                <a:ext cx="61920" cy="2257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1">
            <p14:nvContentPartPr>
              <p14:cNvPr id="167" name="Freihand 166">
                <a:extLst>
                  <a:ext uri="{FF2B5EF4-FFF2-40B4-BE49-F238E27FC236}">
                    <a16:creationId xmlns:a16="http://schemas.microsoft.com/office/drawing/2014/main" id="{DD3832CE-3AAC-4EA5-AF0B-8D8EC92029AB}"/>
                  </a:ext>
                </a:extLst>
              </p14:cNvPr>
              <p14:cNvContentPartPr/>
              <p14:nvPr/>
            </p14:nvContentPartPr>
            <p14:xfrm>
              <a:off x="6474325" y="4524937"/>
              <a:ext cx="23400" cy="181440"/>
            </p14:xfrm>
          </p:contentPart>
        </mc:Choice>
        <mc:Fallback>
          <p:pic>
            <p:nvPicPr>
              <p:cNvPr id="167" name="Freihand 166">
                <a:extLst>
                  <a:ext uri="{FF2B5EF4-FFF2-40B4-BE49-F238E27FC236}">
                    <a16:creationId xmlns:a16="http://schemas.microsoft.com/office/drawing/2014/main" xmlns="" xmlns:p14="http://schemas.microsoft.com/office/powerpoint/2010/main" id="{DD3832CE-3AAC-4EA5-AF0B-8D8EC92029AB}"/>
                  </a:ext>
                </a:extLst>
              </p:cNvPr>
              <p:cNvPicPr/>
              <p:nvPr/>
            </p:nvPicPr>
            <p:blipFill>
              <a:blip r:embed="rId92" cstate="print"/>
              <a:stretch>
                <a:fillRect/>
              </a:stretch>
            </p:blipFill>
            <p:spPr>
              <a:xfrm>
                <a:off x="6456685" y="4489297"/>
                <a:ext cx="59040" cy="2530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3">
            <p14:nvContentPartPr>
              <p14:cNvPr id="168" name="Freihand 167">
                <a:extLst>
                  <a:ext uri="{FF2B5EF4-FFF2-40B4-BE49-F238E27FC236}">
                    <a16:creationId xmlns:a16="http://schemas.microsoft.com/office/drawing/2014/main" id="{58CDAD26-D1DC-4075-BAFA-8AD0BAF86D55}"/>
                  </a:ext>
                </a:extLst>
              </p14:cNvPr>
              <p14:cNvContentPartPr/>
              <p14:nvPr/>
            </p14:nvContentPartPr>
            <p14:xfrm>
              <a:off x="5068525" y="5959177"/>
              <a:ext cx="136800" cy="97560"/>
            </p14:xfrm>
          </p:contentPart>
        </mc:Choice>
        <mc:Fallback>
          <p:pic>
            <p:nvPicPr>
              <p:cNvPr id="168" name="Freihand 167">
                <a:extLst>
                  <a:ext uri="{FF2B5EF4-FFF2-40B4-BE49-F238E27FC236}">
                    <a16:creationId xmlns:a16="http://schemas.microsoft.com/office/drawing/2014/main" xmlns="" xmlns:p14="http://schemas.microsoft.com/office/powerpoint/2010/main" id="{58CDAD26-D1DC-4075-BAFA-8AD0BAF86D55}"/>
                  </a:ext>
                </a:extLst>
              </p:cNvPr>
              <p:cNvPicPr/>
              <p:nvPr/>
            </p:nvPicPr>
            <p:blipFill>
              <a:blip r:embed="rId94" cstate="print"/>
              <a:stretch>
                <a:fillRect/>
              </a:stretch>
            </p:blipFill>
            <p:spPr>
              <a:xfrm>
                <a:off x="5050885" y="5923177"/>
                <a:ext cx="172440" cy="1692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5">
            <p14:nvContentPartPr>
              <p14:cNvPr id="169" name="Freihand 168">
                <a:extLst>
                  <a:ext uri="{FF2B5EF4-FFF2-40B4-BE49-F238E27FC236}">
                    <a16:creationId xmlns:a16="http://schemas.microsoft.com/office/drawing/2014/main" id="{903681A0-2523-4D17-9245-A33DF2E76349}"/>
                  </a:ext>
                </a:extLst>
              </p14:cNvPr>
              <p14:cNvContentPartPr/>
              <p14:nvPr/>
            </p14:nvContentPartPr>
            <p14:xfrm>
              <a:off x="5297485" y="5861617"/>
              <a:ext cx="79200" cy="43200"/>
            </p14:xfrm>
          </p:contentPart>
        </mc:Choice>
        <mc:Fallback>
          <p:pic>
            <p:nvPicPr>
              <p:cNvPr id="169" name="Freihand 168">
                <a:extLst>
                  <a:ext uri="{FF2B5EF4-FFF2-40B4-BE49-F238E27FC236}">
                    <a16:creationId xmlns:a16="http://schemas.microsoft.com/office/drawing/2014/main" xmlns="" xmlns:p14="http://schemas.microsoft.com/office/powerpoint/2010/main" id="{903681A0-2523-4D17-9245-A33DF2E76349}"/>
                  </a:ext>
                </a:extLst>
              </p:cNvPr>
              <p:cNvPicPr/>
              <p:nvPr/>
            </p:nvPicPr>
            <p:blipFill>
              <a:blip r:embed="rId96" cstate="print"/>
              <a:stretch>
                <a:fillRect/>
              </a:stretch>
            </p:blipFill>
            <p:spPr>
              <a:xfrm>
                <a:off x="5279845" y="5825977"/>
                <a:ext cx="114840" cy="1148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7">
            <p14:nvContentPartPr>
              <p14:cNvPr id="170" name="Freihand 169">
                <a:extLst>
                  <a:ext uri="{FF2B5EF4-FFF2-40B4-BE49-F238E27FC236}">
                    <a16:creationId xmlns:a16="http://schemas.microsoft.com/office/drawing/2014/main" id="{A997047C-42EE-4220-B787-871DB4564D54}"/>
                  </a:ext>
                </a:extLst>
              </p14:cNvPr>
              <p14:cNvContentPartPr/>
              <p14:nvPr/>
            </p14:nvContentPartPr>
            <p14:xfrm>
              <a:off x="5626525" y="5493337"/>
              <a:ext cx="95400" cy="96480"/>
            </p14:xfrm>
          </p:contentPart>
        </mc:Choice>
        <mc:Fallback>
          <p:pic>
            <p:nvPicPr>
              <p:cNvPr id="170" name="Freihand 169">
                <a:extLst>
                  <a:ext uri="{FF2B5EF4-FFF2-40B4-BE49-F238E27FC236}">
                    <a16:creationId xmlns:a16="http://schemas.microsoft.com/office/drawing/2014/main" xmlns="" xmlns:p14="http://schemas.microsoft.com/office/powerpoint/2010/main" id="{A997047C-42EE-4220-B787-871DB4564D54}"/>
                  </a:ext>
                </a:extLst>
              </p:cNvPr>
              <p:cNvPicPr/>
              <p:nvPr/>
            </p:nvPicPr>
            <p:blipFill>
              <a:blip r:embed="rId98" cstate="print"/>
              <a:stretch>
                <a:fillRect/>
              </a:stretch>
            </p:blipFill>
            <p:spPr>
              <a:xfrm>
                <a:off x="5608525" y="5457697"/>
                <a:ext cx="131040" cy="168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9">
            <p14:nvContentPartPr>
              <p14:cNvPr id="171" name="Freihand 170">
                <a:extLst>
                  <a:ext uri="{FF2B5EF4-FFF2-40B4-BE49-F238E27FC236}">
                    <a16:creationId xmlns:a16="http://schemas.microsoft.com/office/drawing/2014/main" id="{697F6DAC-EBBD-4978-B62F-3B7308463BD3}"/>
                  </a:ext>
                </a:extLst>
              </p14:cNvPr>
              <p14:cNvContentPartPr/>
              <p14:nvPr/>
            </p14:nvContentPartPr>
            <p14:xfrm>
              <a:off x="5845045" y="5270857"/>
              <a:ext cx="100080" cy="95040"/>
            </p14:xfrm>
          </p:contentPart>
        </mc:Choice>
        <mc:Fallback>
          <p:pic>
            <p:nvPicPr>
              <p:cNvPr id="171" name="Freihand 170">
                <a:extLst>
                  <a:ext uri="{FF2B5EF4-FFF2-40B4-BE49-F238E27FC236}">
                    <a16:creationId xmlns:a16="http://schemas.microsoft.com/office/drawing/2014/main" xmlns="" xmlns:p14="http://schemas.microsoft.com/office/powerpoint/2010/main" id="{697F6DAC-EBBD-4978-B62F-3B7308463BD3}"/>
                  </a:ext>
                </a:extLst>
              </p:cNvPr>
              <p:cNvPicPr/>
              <p:nvPr/>
            </p:nvPicPr>
            <p:blipFill>
              <a:blip r:embed="rId100" cstate="print"/>
              <a:stretch>
                <a:fillRect/>
              </a:stretch>
            </p:blipFill>
            <p:spPr>
              <a:xfrm>
                <a:off x="5827045" y="5235217"/>
                <a:ext cx="135720" cy="166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1">
            <p14:nvContentPartPr>
              <p14:cNvPr id="172" name="Freihand 171">
                <a:extLst>
                  <a:ext uri="{FF2B5EF4-FFF2-40B4-BE49-F238E27FC236}">
                    <a16:creationId xmlns:a16="http://schemas.microsoft.com/office/drawing/2014/main" id="{32ECE676-421C-4780-99B5-F45457AEEFB7}"/>
                  </a:ext>
                </a:extLst>
              </p14:cNvPr>
              <p14:cNvContentPartPr/>
              <p14:nvPr/>
            </p14:nvContentPartPr>
            <p14:xfrm>
              <a:off x="6081925" y="5083297"/>
              <a:ext cx="67320" cy="54000"/>
            </p14:xfrm>
          </p:contentPart>
        </mc:Choice>
        <mc:Fallback>
          <p:pic>
            <p:nvPicPr>
              <p:cNvPr id="172" name="Freihand 171">
                <a:extLst>
                  <a:ext uri="{FF2B5EF4-FFF2-40B4-BE49-F238E27FC236}">
                    <a16:creationId xmlns:a16="http://schemas.microsoft.com/office/drawing/2014/main" xmlns="" xmlns:p14="http://schemas.microsoft.com/office/powerpoint/2010/main" id="{32ECE676-421C-4780-99B5-F45457AEEFB7}"/>
                  </a:ext>
                </a:extLst>
              </p:cNvPr>
              <p:cNvPicPr/>
              <p:nvPr/>
            </p:nvPicPr>
            <p:blipFill>
              <a:blip r:embed="rId102" cstate="print"/>
              <a:stretch>
                <a:fillRect/>
              </a:stretch>
            </p:blipFill>
            <p:spPr>
              <a:xfrm>
                <a:off x="6064285" y="5047297"/>
                <a:ext cx="102960" cy="1256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3">
            <p14:nvContentPartPr>
              <p14:cNvPr id="173" name="Freihand 172">
                <a:extLst>
                  <a:ext uri="{FF2B5EF4-FFF2-40B4-BE49-F238E27FC236}">
                    <a16:creationId xmlns:a16="http://schemas.microsoft.com/office/drawing/2014/main" id="{1513C745-356E-415D-B192-612A3CB50E2E}"/>
                  </a:ext>
                </a:extLst>
              </p14:cNvPr>
              <p14:cNvContentPartPr/>
              <p14:nvPr/>
            </p14:nvContentPartPr>
            <p14:xfrm>
              <a:off x="6355885" y="4741297"/>
              <a:ext cx="87840" cy="81000"/>
            </p14:xfrm>
          </p:contentPart>
        </mc:Choice>
        <mc:Fallback>
          <p:pic>
            <p:nvPicPr>
              <p:cNvPr id="173" name="Freihand 172">
                <a:extLst>
                  <a:ext uri="{FF2B5EF4-FFF2-40B4-BE49-F238E27FC236}">
                    <a16:creationId xmlns:a16="http://schemas.microsoft.com/office/drawing/2014/main" xmlns="" xmlns:p14="http://schemas.microsoft.com/office/powerpoint/2010/main" id="{1513C745-356E-415D-B192-612A3CB50E2E}"/>
                  </a:ext>
                </a:extLst>
              </p:cNvPr>
              <p:cNvPicPr/>
              <p:nvPr/>
            </p:nvPicPr>
            <p:blipFill>
              <a:blip r:embed="rId104" cstate="print"/>
              <a:stretch>
                <a:fillRect/>
              </a:stretch>
            </p:blipFill>
            <p:spPr>
              <a:xfrm>
                <a:off x="6337885" y="4705657"/>
                <a:ext cx="123480" cy="1526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5">
            <p14:nvContentPartPr>
              <p14:cNvPr id="174" name="Freihand 173">
                <a:extLst>
                  <a:ext uri="{FF2B5EF4-FFF2-40B4-BE49-F238E27FC236}">
                    <a16:creationId xmlns:a16="http://schemas.microsoft.com/office/drawing/2014/main" id="{D0617A6A-2811-4515-A7F1-EFB29494081C}"/>
                  </a:ext>
                </a:extLst>
              </p14:cNvPr>
              <p14:cNvContentPartPr/>
              <p14:nvPr/>
            </p14:nvContentPartPr>
            <p14:xfrm>
              <a:off x="3141085" y="6146377"/>
              <a:ext cx="145440" cy="12240"/>
            </p14:xfrm>
          </p:contentPart>
        </mc:Choice>
        <mc:Fallback>
          <p:pic>
            <p:nvPicPr>
              <p:cNvPr id="174" name="Freihand 173">
                <a:extLst>
                  <a:ext uri="{FF2B5EF4-FFF2-40B4-BE49-F238E27FC236}">
                    <a16:creationId xmlns:a16="http://schemas.microsoft.com/office/drawing/2014/main" xmlns="" xmlns:p14="http://schemas.microsoft.com/office/powerpoint/2010/main" id="{D0617A6A-2811-4515-A7F1-EFB29494081C}"/>
                  </a:ext>
                </a:extLst>
              </p:cNvPr>
              <p:cNvPicPr/>
              <p:nvPr/>
            </p:nvPicPr>
            <p:blipFill>
              <a:blip r:embed="rId106" cstate="print"/>
              <a:stretch>
                <a:fillRect/>
              </a:stretch>
            </p:blipFill>
            <p:spPr>
              <a:xfrm>
                <a:off x="3123445" y="6110377"/>
                <a:ext cx="181080" cy="838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7">
            <p14:nvContentPartPr>
              <p14:cNvPr id="175" name="Freihand 174">
                <a:extLst>
                  <a:ext uri="{FF2B5EF4-FFF2-40B4-BE49-F238E27FC236}">
                    <a16:creationId xmlns:a16="http://schemas.microsoft.com/office/drawing/2014/main" id="{2FDA3CE3-D685-4F56-886A-59B3ED96E41C}"/>
                  </a:ext>
                </a:extLst>
              </p14:cNvPr>
              <p14:cNvContentPartPr/>
              <p14:nvPr/>
            </p14:nvContentPartPr>
            <p14:xfrm>
              <a:off x="3401365" y="6148897"/>
              <a:ext cx="110160" cy="21600"/>
            </p14:xfrm>
          </p:contentPart>
        </mc:Choice>
        <mc:Fallback>
          <p:pic>
            <p:nvPicPr>
              <p:cNvPr id="175" name="Freihand 174">
                <a:extLst>
                  <a:ext uri="{FF2B5EF4-FFF2-40B4-BE49-F238E27FC236}">
                    <a16:creationId xmlns:a16="http://schemas.microsoft.com/office/drawing/2014/main" xmlns="" xmlns:p14="http://schemas.microsoft.com/office/powerpoint/2010/main" id="{2FDA3CE3-D685-4F56-886A-59B3ED96E41C}"/>
                  </a:ext>
                </a:extLst>
              </p:cNvPr>
              <p:cNvPicPr/>
              <p:nvPr/>
            </p:nvPicPr>
            <p:blipFill>
              <a:blip r:embed="rId108" cstate="print"/>
              <a:stretch>
                <a:fillRect/>
              </a:stretch>
            </p:blipFill>
            <p:spPr>
              <a:xfrm>
                <a:off x="3383365" y="6113257"/>
                <a:ext cx="145800" cy="93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9">
            <p14:nvContentPartPr>
              <p14:cNvPr id="176" name="Freihand 175">
                <a:extLst>
                  <a:ext uri="{FF2B5EF4-FFF2-40B4-BE49-F238E27FC236}">
                    <a16:creationId xmlns:a16="http://schemas.microsoft.com/office/drawing/2014/main" id="{528DA759-5932-40ED-8FF2-13BAAEB3DC24}"/>
                  </a:ext>
                </a:extLst>
              </p14:cNvPr>
              <p14:cNvContentPartPr/>
              <p14:nvPr/>
            </p14:nvContentPartPr>
            <p14:xfrm>
              <a:off x="3674965" y="6145297"/>
              <a:ext cx="123840" cy="19800"/>
            </p14:xfrm>
          </p:contentPart>
        </mc:Choice>
        <mc:Fallback>
          <p:pic>
            <p:nvPicPr>
              <p:cNvPr id="176" name="Freihand 175">
                <a:extLst>
                  <a:ext uri="{FF2B5EF4-FFF2-40B4-BE49-F238E27FC236}">
                    <a16:creationId xmlns:a16="http://schemas.microsoft.com/office/drawing/2014/main" xmlns="" xmlns:p14="http://schemas.microsoft.com/office/powerpoint/2010/main" id="{528DA759-5932-40ED-8FF2-13BAAEB3DC24}"/>
                  </a:ext>
                </a:extLst>
              </p:cNvPr>
              <p:cNvPicPr/>
              <p:nvPr/>
            </p:nvPicPr>
            <p:blipFill>
              <a:blip r:embed="rId110" cstate="print"/>
              <a:stretch>
                <a:fillRect/>
              </a:stretch>
            </p:blipFill>
            <p:spPr>
              <a:xfrm>
                <a:off x="3657325" y="6109297"/>
                <a:ext cx="159480" cy="914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1">
            <p14:nvContentPartPr>
              <p14:cNvPr id="177" name="Freihand 176">
                <a:extLst>
                  <a:ext uri="{FF2B5EF4-FFF2-40B4-BE49-F238E27FC236}">
                    <a16:creationId xmlns:a16="http://schemas.microsoft.com/office/drawing/2014/main" id="{633C7B11-D6B7-483C-B6CA-6C2324158352}"/>
                  </a:ext>
                </a:extLst>
              </p14:cNvPr>
              <p14:cNvContentPartPr/>
              <p14:nvPr/>
            </p14:nvContentPartPr>
            <p14:xfrm>
              <a:off x="3966565" y="6132697"/>
              <a:ext cx="136800" cy="3960"/>
            </p14:xfrm>
          </p:contentPart>
        </mc:Choice>
        <mc:Fallback>
          <p:pic>
            <p:nvPicPr>
              <p:cNvPr id="177" name="Freihand 176">
                <a:extLst>
                  <a:ext uri="{FF2B5EF4-FFF2-40B4-BE49-F238E27FC236}">
                    <a16:creationId xmlns:a16="http://schemas.microsoft.com/office/drawing/2014/main" xmlns="" xmlns:p14="http://schemas.microsoft.com/office/powerpoint/2010/main" id="{633C7B11-D6B7-483C-B6CA-6C2324158352}"/>
                  </a:ext>
                </a:extLst>
              </p:cNvPr>
              <p:cNvPicPr/>
              <p:nvPr/>
            </p:nvPicPr>
            <p:blipFill>
              <a:blip r:embed="rId112" cstate="print"/>
              <a:stretch>
                <a:fillRect/>
              </a:stretch>
            </p:blipFill>
            <p:spPr>
              <a:xfrm>
                <a:off x="3948925" y="6096697"/>
                <a:ext cx="172440" cy="75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3">
            <p14:nvContentPartPr>
              <p14:cNvPr id="178" name="Freihand 177">
                <a:extLst>
                  <a:ext uri="{FF2B5EF4-FFF2-40B4-BE49-F238E27FC236}">
                    <a16:creationId xmlns:a16="http://schemas.microsoft.com/office/drawing/2014/main" id="{36CE522D-AD26-4620-8059-D9D8C441D9E3}"/>
                  </a:ext>
                </a:extLst>
              </p14:cNvPr>
              <p14:cNvContentPartPr/>
              <p14:nvPr/>
            </p14:nvContentPartPr>
            <p14:xfrm>
              <a:off x="4260685" y="6111097"/>
              <a:ext cx="107280" cy="24120"/>
            </p14:xfrm>
          </p:contentPart>
        </mc:Choice>
        <mc:Fallback>
          <p:pic>
            <p:nvPicPr>
              <p:cNvPr id="178" name="Freihand 177">
                <a:extLst>
                  <a:ext uri="{FF2B5EF4-FFF2-40B4-BE49-F238E27FC236}">
                    <a16:creationId xmlns:a16="http://schemas.microsoft.com/office/drawing/2014/main" xmlns="" xmlns:p14="http://schemas.microsoft.com/office/powerpoint/2010/main" id="{36CE522D-AD26-4620-8059-D9D8C441D9E3}"/>
                  </a:ext>
                </a:extLst>
              </p:cNvPr>
              <p:cNvPicPr/>
              <p:nvPr/>
            </p:nvPicPr>
            <p:blipFill>
              <a:blip r:embed="rId114" cstate="print"/>
              <a:stretch>
                <a:fillRect/>
              </a:stretch>
            </p:blipFill>
            <p:spPr>
              <a:xfrm>
                <a:off x="4242685" y="6075457"/>
                <a:ext cx="142920" cy="957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5">
            <p14:nvContentPartPr>
              <p14:cNvPr id="179" name="Freihand 178">
                <a:extLst>
                  <a:ext uri="{FF2B5EF4-FFF2-40B4-BE49-F238E27FC236}">
                    <a16:creationId xmlns:a16="http://schemas.microsoft.com/office/drawing/2014/main" id="{EDB31115-A365-4997-847A-270FC892D2B0}"/>
                  </a:ext>
                </a:extLst>
              </p14:cNvPr>
              <p14:cNvContentPartPr/>
              <p14:nvPr/>
            </p14:nvContentPartPr>
            <p14:xfrm>
              <a:off x="4558045" y="6078697"/>
              <a:ext cx="120600" cy="39240"/>
            </p14:xfrm>
          </p:contentPart>
        </mc:Choice>
        <mc:Fallback>
          <p:pic>
            <p:nvPicPr>
              <p:cNvPr id="179" name="Freihand 178">
                <a:extLst>
                  <a:ext uri="{FF2B5EF4-FFF2-40B4-BE49-F238E27FC236}">
                    <a16:creationId xmlns:a16="http://schemas.microsoft.com/office/drawing/2014/main" xmlns="" xmlns:p14="http://schemas.microsoft.com/office/powerpoint/2010/main" id="{EDB31115-A365-4997-847A-270FC892D2B0}"/>
                  </a:ext>
                </a:extLst>
              </p:cNvPr>
              <p:cNvPicPr/>
              <p:nvPr/>
            </p:nvPicPr>
            <p:blipFill>
              <a:blip r:embed="rId116" cstate="print"/>
              <a:stretch>
                <a:fillRect/>
              </a:stretch>
            </p:blipFill>
            <p:spPr>
              <a:xfrm>
                <a:off x="4540045" y="6043057"/>
                <a:ext cx="156240" cy="1108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7">
            <p14:nvContentPartPr>
              <p14:cNvPr id="180" name="Freihand 179">
                <a:extLst>
                  <a:ext uri="{FF2B5EF4-FFF2-40B4-BE49-F238E27FC236}">
                    <a16:creationId xmlns:a16="http://schemas.microsoft.com/office/drawing/2014/main" id="{6D2273FC-505E-4BD3-8871-4D20B58EB73C}"/>
                  </a:ext>
                </a:extLst>
              </p14:cNvPr>
              <p14:cNvContentPartPr/>
              <p14:nvPr/>
            </p14:nvContentPartPr>
            <p14:xfrm>
              <a:off x="4871245" y="6047737"/>
              <a:ext cx="161640" cy="45000"/>
            </p14:xfrm>
          </p:contentPart>
        </mc:Choice>
        <mc:Fallback>
          <p:pic>
            <p:nvPicPr>
              <p:cNvPr id="180" name="Freihand 179">
                <a:extLst>
                  <a:ext uri="{FF2B5EF4-FFF2-40B4-BE49-F238E27FC236}">
                    <a16:creationId xmlns:a16="http://schemas.microsoft.com/office/drawing/2014/main" xmlns="" xmlns:p14="http://schemas.microsoft.com/office/powerpoint/2010/main" id="{6D2273FC-505E-4BD3-8871-4D20B58EB73C}"/>
                  </a:ext>
                </a:extLst>
              </p:cNvPr>
              <p:cNvPicPr/>
              <p:nvPr/>
            </p:nvPicPr>
            <p:blipFill>
              <a:blip r:embed="rId118" cstate="print"/>
              <a:stretch>
                <a:fillRect/>
              </a:stretch>
            </p:blipFill>
            <p:spPr>
              <a:xfrm>
                <a:off x="4853245" y="6012097"/>
                <a:ext cx="197280" cy="1166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9">
            <p14:nvContentPartPr>
              <p14:cNvPr id="181" name="Freihand 180">
                <a:extLst>
                  <a:ext uri="{FF2B5EF4-FFF2-40B4-BE49-F238E27FC236}">
                    <a16:creationId xmlns:a16="http://schemas.microsoft.com/office/drawing/2014/main" id="{873551C5-27C6-446A-8CA8-B5EE859C4AE5}"/>
                  </a:ext>
                </a:extLst>
              </p14:cNvPr>
              <p14:cNvContentPartPr/>
              <p14:nvPr/>
            </p14:nvContentPartPr>
            <p14:xfrm>
              <a:off x="1460245" y="4418377"/>
              <a:ext cx="132480" cy="217800"/>
            </p14:xfrm>
          </p:contentPart>
        </mc:Choice>
        <mc:Fallback>
          <p:pic>
            <p:nvPicPr>
              <p:cNvPr id="181" name="Freihand 180">
                <a:extLst>
                  <a:ext uri="{FF2B5EF4-FFF2-40B4-BE49-F238E27FC236}">
                    <a16:creationId xmlns:a16="http://schemas.microsoft.com/office/drawing/2014/main" xmlns="" xmlns:p14="http://schemas.microsoft.com/office/powerpoint/2010/main" id="{873551C5-27C6-446A-8CA8-B5EE859C4AE5}"/>
                  </a:ext>
                </a:extLst>
              </p:cNvPr>
              <p:cNvPicPr/>
              <p:nvPr/>
            </p:nvPicPr>
            <p:blipFill>
              <a:blip r:embed="rId120" cstate="print"/>
              <a:stretch>
                <a:fillRect/>
              </a:stretch>
            </p:blipFill>
            <p:spPr>
              <a:xfrm>
                <a:off x="1442605" y="4382737"/>
                <a:ext cx="168120" cy="2894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21">
            <p14:nvContentPartPr>
              <p14:cNvPr id="182" name="Freihand 181">
                <a:extLst>
                  <a:ext uri="{FF2B5EF4-FFF2-40B4-BE49-F238E27FC236}">
                    <a16:creationId xmlns:a16="http://schemas.microsoft.com/office/drawing/2014/main" id="{407C4D12-8CEB-45B2-BAF1-4364D66A2EEB}"/>
                  </a:ext>
                </a:extLst>
              </p14:cNvPr>
              <p14:cNvContentPartPr/>
              <p14:nvPr/>
            </p14:nvContentPartPr>
            <p14:xfrm>
              <a:off x="1698925" y="4824817"/>
              <a:ext cx="104400" cy="117360"/>
            </p14:xfrm>
          </p:contentPart>
        </mc:Choice>
        <mc:Fallback>
          <p:pic>
            <p:nvPicPr>
              <p:cNvPr id="182" name="Freihand 181">
                <a:extLst>
                  <a:ext uri="{FF2B5EF4-FFF2-40B4-BE49-F238E27FC236}">
                    <a16:creationId xmlns:a16="http://schemas.microsoft.com/office/drawing/2014/main" xmlns="" xmlns:p14="http://schemas.microsoft.com/office/powerpoint/2010/main" id="{407C4D12-8CEB-45B2-BAF1-4364D66A2EEB}"/>
                  </a:ext>
                </a:extLst>
              </p:cNvPr>
              <p:cNvPicPr/>
              <p:nvPr/>
            </p:nvPicPr>
            <p:blipFill>
              <a:blip r:embed="rId122" cstate="print"/>
              <a:stretch>
                <a:fillRect/>
              </a:stretch>
            </p:blipFill>
            <p:spPr>
              <a:xfrm>
                <a:off x="1680925" y="4788817"/>
                <a:ext cx="140040" cy="189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23">
            <p14:nvContentPartPr>
              <p14:cNvPr id="183" name="Freihand 182">
                <a:extLst>
                  <a:ext uri="{FF2B5EF4-FFF2-40B4-BE49-F238E27FC236}">
                    <a16:creationId xmlns:a16="http://schemas.microsoft.com/office/drawing/2014/main" id="{3B0EAD08-13F1-46E1-BF46-5D6A7C97AEA2}"/>
                  </a:ext>
                </a:extLst>
              </p14:cNvPr>
              <p14:cNvContentPartPr/>
              <p14:nvPr/>
            </p14:nvContentPartPr>
            <p14:xfrm>
              <a:off x="1934725" y="5079337"/>
              <a:ext cx="100080" cy="96480"/>
            </p14:xfrm>
          </p:contentPart>
        </mc:Choice>
        <mc:Fallback>
          <p:pic>
            <p:nvPicPr>
              <p:cNvPr id="183" name="Freihand 182">
                <a:extLst>
                  <a:ext uri="{FF2B5EF4-FFF2-40B4-BE49-F238E27FC236}">
                    <a16:creationId xmlns:a16="http://schemas.microsoft.com/office/drawing/2014/main" xmlns="" xmlns:p14="http://schemas.microsoft.com/office/powerpoint/2010/main" id="{3B0EAD08-13F1-46E1-BF46-5D6A7C97AEA2}"/>
                  </a:ext>
                </a:extLst>
              </p:cNvPr>
              <p:cNvPicPr/>
              <p:nvPr/>
            </p:nvPicPr>
            <p:blipFill>
              <a:blip r:embed="rId124" cstate="print"/>
              <a:stretch>
                <a:fillRect/>
              </a:stretch>
            </p:blipFill>
            <p:spPr>
              <a:xfrm>
                <a:off x="1916725" y="5043697"/>
                <a:ext cx="135720" cy="168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25">
            <p14:nvContentPartPr>
              <p14:cNvPr id="184" name="Freihand 183">
                <a:extLst>
                  <a:ext uri="{FF2B5EF4-FFF2-40B4-BE49-F238E27FC236}">
                    <a16:creationId xmlns:a16="http://schemas.microsoft.com/office/drawing/2014/main" id="{133D7874-87B3-49ED-8B89-F1705772F894}"/>
                  </a:ext>
                </a:extLst>
              </p14:cNvPr>
              <p14:cNvContentPartPr/>
              <p14:nvPr/>
            </p14:nvContentPartPr>
            <p14:xfrm>
              <a:off x="2237485" y="5483977"/>
              <a:ext cx="101520" cy="116280"/>
            </p14:xfrm>
          </p:contentPart>
        </mc:Choice>
        <mc:Fallback>
          <p:pic>
            <p:nvPicPr>
              <p:cNvPr id="184" name="Freihand 183">
                <a:extLst>
                  <a:ext uri="{FF2B5EF4-FFF2-40B4-BE49-F238E27FC236}">
                    <a16:creationId xmlns:a16="http://schemas.microsoft.com/office/drawing/2014/main" xmlns="" xmlns:p14="http://schemas.microsoft.com/office/powerpoint/2010/main" id="{133D7874-87B3-49ED-8B89-F1705772F894}"/>
                  </a:ext>
                </a:extLst>
              </p:cNvPr>
              <p:cNvPicPr/>
              <p:nvPr/>
            </p:nvPicPr>
            <p:blipFill>
              <a:blip r:embed="rId126" cstate="print"/>
              <a:stretch>
                <a:fillRect/>
              </a:stretch>
            </p:blipFill>
            <p:spPr>
              <a:xfrm>
                <a:off x="2219845" y="5448337"/>
                <a:ext cx="137160" cy="187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27">
            <p14:nvContentPartPr>
              <p14:cNvPr id="185" name="Freihand 184">
                <a:extLst>
                  <a:ext uri="{FF2B5EF4-FFF2-40B4-BE49-F238E27FC236}">
                    <a16:creationId xmlns:a16="http://schemas.microsoft.com/office/drawing/2014/main" id="{CF4A156E-77F1-4754-9CAB-8604C1AEB963}"/>
                  </a:ext>
                </a:extLst>
              </p14:cNvPr>
              <p14:cNvContentPartPr/>
              <p14:nvPr/>
            </p14:nvContentPartPr>
            <p14:xfrm>
              <a:off x="2570485" y="5829217"/>
              <a:ext cx="82080" cy="84960"/>
            </p14:xfrm>
          </p:contentPart>
        </mc:Choice>
        <mc:Fallback>
          <p:pic>
            <p:nvPicPr>
              <p:cNvPr id="185" name="Freihand 184">
                <a:extLst>
                  <a:ext uri="{FF2B5EF4-FFF2-40B4-BE49-F238E27FC236}">
                    <a16:creationId xmlns:a16="http://schemas.microsoft.com/office/drawing/2014/main" xmlns="" xmlns:p14="http://schemas.microsoft.com/office/powerpoint/2010/main" id="{CF4A156E-77F1-4754-9CAB-8604C1AEB963}"/>
                  </a:ext>
                </a:extLst>
              </p:cNvPr>
              <p:cNvPicPr/>
              <p:nvPr/>
            </p:nvPicPr>
            <p:blipFill>
              <a:blip r:embed="rId128" cstate="print"/>
              <a:stretch>
                <a:fillRect/>
              </a:stretch>
            </p:blipFill>
            <p:spPr>
              <a:xfrm>
                <a:off x="2552485" y="5793217"/>
                <a:ext cx="117720" cy="156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29">
            <p14:nvContentPartPr>
              <p14:cNvPr id="186" name="Freihand 185">
                <a:extLst>
                  <a:ext uri="{FF2B5EF4-FFF2-40B4-BE49-F238E27FC236}">
                    <a16:creationId xmlns:a16="http://schemas.microsoft.com/office/drawing/2014/main" id="{74D90B29-9452-42B4-B335-EAB97DA9A503}"/>
                  </a:ext>
                </a:extLst>
              </p14:cNvPr>
              <p14:cNvContentPartPr/>
              <p14:nvPr/>
            </p14:nvContentPartPr>
            <p14:xfrm>
              <a:off x="2975485" y="6076177"/>
              <a:ext cx="89640" cy="69480"/>
            </p14:xfrm>
          </p:contentPart>
        </mc:Choice>
        <mc:Fallback>
          <p:pic>
            <p:nvPicPr>
              <p:cNvPr id="186" name="Freihand 185">
                <a:extLst>
                  <a:ext uri="{FF2B5EF4-FFF2-40B4-BE49-F238E27FC236}">
                    <a16:creationId xmlns:a16="http://schemas.microsoft.com/office/drawing/2014/main" xmlns="" xmlns:p14="http://schemas.microsoft.com/office/powerpoint/2010/main" id="{74D90B29-9452-42B4-B335-EAB97DA9A503}"/>
                  </a:ext>
                </a:extLst>
              </p:cNvPr>
              <p:cNvPicPr/>
              <p:nvPr/>
            </p:nvPicPr>
            <p:blipFill>
              <a:blip r:embed="rId130" cstate="print"/>
              <a:stretch>
                <a:fillRect/>
              </a:stretch>
            </p:blipFill>
            <p:spPr>
              <a:xfrm>
                <a:off x="2957845" y="6040177"/>
                <a:ext cx="125280" cy="141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1">
            <p14:nvContentPartPr>
              <p14:cNvPr id="195" name="Freihand 194">
                <a:extLst>
                  <a:ext uri="{FF2B5EF4-FFF2-40B4-BE49-F238E27FC236}">
                    <a16:creationId xmlns:a16="http://schemas.microsoft.com/office/drawing/2014/main" id="{1AC57E2E-7D79-4B64-BC62-635BF09E072A}"/>
                  </a:ext>
                </a:extLst>
              </p14:cNvPr>
              <p14:cNvContentPartPr/>
              <p14:nvPr/>
            </p14:nvContentPartPr>
            <p14:xfrm>
              <a:off x="1880725" y="2089537"/>
              <a:ext cx="53280" cy="210600"/>
            </p14:xfrm>
          </p:contentPart>
        </mc:Choice>
        <mc:Fallback>
          <p:pic>
            <p:nvPicPr>
              <p:cNvPr id="195" name="Freihand 194">
                <a:extLst>
                  <a:ext uri="{FF2B5EF4-FFF2-40B4-BE49-F238E27FC236}">
                    <a16:creationId xmlns:a16="http://schemas.microsoft.com/office/drawing/2014/main" xmlns="" xmlns:p14="http://schemas.microsoft.com/office/powerpoint/2010/main" id="{1AC57E2E-7D79-4B64-BC62-635BF09E072A}"/>
                  </a:ext>
                </a:extLst>
              </p:cNvPr>
              <p:cNvPicPr/>
              <p:nvPr/>
            </p:nvPicPr>
            <p:blipFill>
              <a:blip r:embed="rId132" cstate="print"/>
              <a:stretch>
                <a:fillRect/>
              </a:stretch>
            </p:blipFill>
            <p:spPr>
              <a:xfrm>
                <a:off x="1862725" y="2053897"/>
                <a:ext cx="88920" cy="282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3">
            <p14:nvContentPartPr>
              <p14:cNvPr id="196" name="Freihand 195">
                <a:extLst>
                  <a:ext uri="{FF2B5EF4-FFF2-40B4-BE49-F238E27FC236}">
                    <a16:creationId xmlns:a16="http://schemas.microsoft.com/office/drawing/2014/main" id="{80DC6501-286E-4366-BDC3-0B217F01A4E3}"/>
                  </a:ext>
                </a:extLst>
              </p14:cNvPr>
              <p14:cNvContentPartPr/>
              <p14:nvPr/>
            </p14:nvContentPartPr>
            <p14:xfrm>
              <a:off x="1788205" y="2421097"/>
              <a:ext cx="22680" cy="135720"/>
            </p14:xfrm>
          </p:contentPart>
        </mc:Choice>
        <mc:Fallback>
          <p:pic>
            <p:nvPicPr>
              <p:cNvPr id="196" name="Freihand 195">
                <a:extLst>
                  <a:ext uri="{FF2B5EF4-FFF2-40B4-BE49-F238E27FC236}">
                    <a16:creationId xmlns:a16="http://schemas.microsoft.com/office/drawing/2014/main" xmlns="" xmlns:p14="http://schemas.microsoft.com/office/powerpoint/2010/main" id="{80DC6501-286E-4366-BDC3-0B217F01A4E3}"/>
                  </a:ext>
                </a:extLst>
              </p:cNvPr>
              <p:cNvPicPr/>
              <p:nvPr/>
            </p:nvPicPr>
            <p:blipFill>
              <a:blip r:embed="rId134" cstate="print"/>
              <a:stretch>
                <a:fillRect/>
              </a:stretch>
            </p:blipFill>
            <p:spPr>
              <a:xfrm>
                <a:off x="1770205" y="2385097"/>
                <a:ext cx="58320" cy="207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5">
            <p14:nvContentPartPr>
              <p14:cNvPr id="197" name="Freihand 196">
                <a:extLst>
                  <a:ext uri="{FF2B5EF4-FFF2-40B4-BE49-F238E27FC236}">
                    <a16:creationId xmlns:a16="http://schemas.microsoft.com/office/drawing/2014/main" id="{42790BFF-B1AC-4ABE-910F-1D7C5FD4D13C}"/>
                  </a:ext>
                </a:extLst>
              </p14:cNvPr>
              <p14:cNvContentPartPr/>
              <p14:nvPr/>
            </p14:nvContentPartPr>
            <p14:xfrm>
              <a:off x="1688485" y="2755537"/>
              <a:ext cx="24480" cy="117360"/>
            </p14:xfrm>
          </p:contentPart>
        </mc:Choice>
        <mc:Fallback>
          <p:pic>
            <p:nvPicPr>
              <p:cNvPr id="197" name="Freihand 196">
                <a:extLst>
                  <a:ext uri="{FF2B5EF4-FFF2-40B4-BE49-F238E27FC236}">
                    <a16:creationId xmlns:a16="http://schemas.microsoft.com/office/drawing/2014/main" xmlns="" xmlns:p14="http://schemas.microsoft.com/office/powerpoint/2010/main" id="{42790BFF-B1AC-4ABE-910F-1D7C5FD4D13C}"/>
                  </a:ext>
                </a:extLst>
              </p:cNvPr>
              <p:cNvPicPr/>
              <p:nvPr/>
            </p:nvPicPr>
            <p:blipFill>
              <a:blip r:embed="rId136" cstate="print"/>
              <a:stretch>
                <a:fillRect/>
              </a:stretch>
            </p:blipFill>
            <p:spPr>
              <a:xfrm>
                <a:off x="1670845" y="2719897"/>
                <a:ext cx="60120" cy="189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7">
            <p14:nvContentPartPr>
              <p14:cNvPr id="198" name="Freihand 197">
                <a:extLst>
                  <a:ext uri="{FF2B5EF4-FFF2-40B4-BE49-F238E27FC236}">
                    <a16:creationId xmlns:a16="http://schemas.microsoft.com/office/drawing/2014/main" id="{91D98E5C-00B7-45DB-878E-59878E07741A}"/>
                  </a:ext>
                </a:extLst>
              </p14:cNvPr>
              <p14:cNvContentPartPr/>
              <p14:nvPr/>
            </p14:nvContentPartPr>
            <p14:xfrm>
              <a:off x="1550965" y="3046057"/>
              <a:ext cx="56160" cy="131760"/>
            </p14:xfrm>
          </p:contentPart>
        </mc:Choice>
        <mc:Fallback>
          <p:pic>
            <p:nvPicPr>
              <p:cNvPr id="198" name="Freihand 197">
                <a:extLst>
                  <a:ext uri="{FF2B5EF4-FFF2-40B4-BE49-F238E27FC236}">
                    <a16:creationId xmlns:a16="http://schemas.microsoft.com/office/drawing/2014/main" xmlns="" xmlns:p14="http://schemas.microsoft.com/office/powerpoint/2010/main" id="{91D98E5C-00B7-45DB-878E-59878E07741A}"/>
                  </a:ext>
                </a:extLst>
              </p:cNvPr>
              <p:cNvPicPr/>
              <p:nvPr/>
            </p:nvPicPr>
            <p:blipFill>
              <a:blip r:embed="rId138" cstate="print"/>
              <a:stretch>
                <a:fillRect/>
              </a:stretch>
            </p:blipFill>
            <p:spPr>
              <a:xfrm>
                <a:off x="1533325" y="3010057"/>
                <a:ext cx="91800" cy="203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9">
            <p14:nvContentPartPr>
              <p14:cNvPr id="199" name="Freihand 198">
                <a:extLst>
                  <a:ext uri="{FF2B5EF4-FFF2-40B4-BE49-F238E27FC236}">
                    <a16:creationId xmlns:a16="http://schemas.microsoft.com/office/drawing/2014/main" id="{DA5828E1-3A4B-449C-ADE0-EC269DB0072C}"/>
                  </a:ext>
                </a:extLst>
              </p14:cNvPr>
              <p14:cNvContentPartPr/>
              <p14:nvPr/>
            </p14:nvContentPartPr>
            <p14:xfrm>
              <a:off x="1436845" y="3406417"/>
              <a:ext cx="34200" cy="121320"/>
            </p14:xfrm>
          </p:contentPart>
        </mc:Choice>
        <mc:Fallback>
          <p:pic>
            <p:nvPicPr>
              <p:cNvPr id="199" name="Freihand 198">
                <a:extLst>
                  <a:ext uri="{FF2B5EF4-FFF2-40B4-BE49-F238E27FC236}">
                    <a16:creationId xmlns:a16="http://schemas.microsoft.com/office/drawing/2014/main" xmlns="" xmlns:p14="http://schemas.microsoft.com/office/powerpoint/2010/main" id="{DA5828E1-3A4B-449C-ADE0-EC269DB0072C}"/>
                  </a:ext>
                </a:extLst>
              </p:cNvPr>
              <p:cNvPicPr/>
              <p:nvPr/>
            </p:nvPicPr>
            <p:blipFill>
              <a:blip r:embed="rId140" cstate="print"/>
              <a:stretch>
                <a:fillRect/>
              </a:stretch>
            </p:blipFill>
            <p:spPr>
              <a:xfrm>
                <a:off x="1419205" y="3370417"/>
                <a:ext cx="69840" cy="1929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41">
            <p14:nvContentPartPr>
              <p14:cNvPr id="200" name="Freihand 199">
                <a:extLst>
                  <a:ext uri="{FF2B5EF4-FFF2-40B4-BE49-F238E27FC236}">
                    <a16:creationId xmlns:a16="http://schemas.microsoft.com/office/drawing/2014/main" id="{1CB347EF-0983-4195-B191-AEDE567ED9D6}"/>
                  </a:ext>
                </a:extLst>
              </p14:cNvPr>
              <p14:cNvContentPartPr/>
              <p14:nvPr/>
            </p14:nvContentPartPr>
            <p14:xfrm>
              <a:off x="1359805" y="3795217"/>
              <a:ext cx="38160" cy="86400"/>
            </p14:xfrm>
          </p:contentPart>
        </mc:Choice>
        <mc:Fallback>
          <p:pic>
            <p:nvPicPr>
              <p:cNvPr id="200" name="Freihand 199">
                <a:extLst>
                  <a:ext uri="{FF2B5EF4-FFF2-40B4-BE49-F238E27FC236}">
                    <a16:creationId xmlns:a16="http://schemas.microsoft.com/office/drawing/2014/main" xmlns="" xmlns:p14="http://schemas.microsoft.com/office/powerpoint/2010/main" id="{1CB347EF-0983-4195-B191-AEDE567ED9D6}"/>
                  </a:ext>
                </a:extLst>
              </p:cNvPr>
              <p:cNvPicPr/>
              <p:nvPr/>
            </p:nvPicPr>
            <p:blipFill>
              <a:blip r:embed="rId142" cstate="print"/>
              <a:stretch>
                <a:fillRect/>
              </a:stretch>
            </p:blipFill>
            <p:spPr>
              <a:xfrm>
                <a:off x="1341805" y="3759217"/>
                <a:ext cx="73800" cy="1580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43">
            <p14:nvContentPartPr>
              <p14:cNvPr id="201" name="Freihand 200">
                <a:extLst>
                  <a:ext uri="{FF2B5EF4-FFF2-40B4-BE49-F238E27FC236}">
                    <a16:creationId xmlns:a16="http://schemas.microsoft.com/office/drawing/2014/main" id="{17A767DA-53C7-47C8-A39C-212E96587F13}"/>
                  </a:ext>
                </a:extLst>
              </p14:cNvPr>
              <p14:cNvContentPartPr/>
              <p14:nvPr/>
            </p14:nvContentPartPr>
            <p14:xfrm>
              <a:off x="1394365" y="4159897"/>
              <a:ext cx="25200" cy="174600"/>
            </p14:xfrm>
          </p:contentPart>
        </mc:Choice>
        <mc:Fallback>
          <p:pic>
            <p:nvPicPr>
              <p:cNvPr id="201" name="Freihand 200">
                <a:extLst>
                  <a:ext uri="{FF2B5EF4-FFF2-40B4-BE49-F238E27FC236}">
                    <a16:creationId xmlns:a16="http://schemas.microsoft.com/office/drawing/2014/main" xmlns="" xmlns:p14="http://schemas.microsoft.com/office/powerpoint/2010/main" id="{17A767DA-53C7-47C8-A39C-212E96587F13}"/>
                  </a:ext>
                </a:extLst>
              </p:cNvPr>
              <p:cNvPicPr/>
              <p:nvPr/>
            </p:nvPicPr>
            <p:blipFill>
              <a:blip r:embed="rId144" cstate="print"/>
              <a:stretch>
                <a:fillRect/>
              </a:stretch>
            </p:blipFill>
            <p:spPr>
              <a:xfrm>
                <a:off x="1376365" y="4123897"/>
                <a:ext cx="60840" cy="246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45">
            <p14:nvContentPartPr>
              <p14:cNvPr id="202" name="Freihand 201">
                <a:extLst>
                  <a:ext uri="{FF2B5EF4-FFF2-40B4-BE49-F238E27FC236}">
                    <a16:creationId xmlns:a16="http://schemas.microsoft.com/office/drawing/2014/main" id="{EF64AA23-7E90-48C1-986D-B1B1F1658108}"/>
                  </a:ext>
                </a:extLst>
              </p14:cNvPr>
              <p14:cNvContentPartPr/>
              <p14:nvPr/>
            </p14:nvContentPartPr>
            <p14:xfrm>
              <a:off x="2092765" y="1961737"/>
              <a:ext cx="145440" cy="39240"/>
            </p14:xfrm>
          </p:contentPart>
        </mc:Choice>
        <mc:Fallback>
          <p:pic>
            <p:nvPicPr>
              <p:cNvPr id="202" name="Freihand 201">
                <a:extLst>
                  <a:ext uri="{FF2B5EF4-FFF2-40B4-BE49-F238E27FC236}">
                    <a16:creationId xmlns:a16="http://schemas.microsoft.com/office/drawing/2014/main" xmlns="" xmlns:p14="http://schemas.microsoft.com/office/powerpoint/2010/main" id="{EF64AA23-7E90-48C1-986D-B1B1F1658108}"/>
                  </a:ext>
                </a:extLst>
              </p:cNvPr>
              <p:cNvPicPr/>
              <p:nvPr/>
            </p:nvPicPr>
            <p:blipFill>
              <a:blip r:embed="rId146" cstate="print"/>
              <a:stretch>
                <a:fillRect/>
              </a:stretch>
            </p:blipFill>
            <p:spPr>
              <a:xfrm>
                <a:off x="2074765" y="1926097"/>
                <a:ext cx="181080" cy="1108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47">
            <p14:nvContentPartPr>
              <p14:cNvPr id="203" name="Freihand 202">
                <a:extLst>
                  <a:ext uri="{FF2B5EF4-FFF2-40B4-BE49-F238E27FC236}">
                    <a16:creationId xmlns:a16="http://schemas.microsoft.com/office/drawing/2014/main" id="{4C1EBA4D-FD78-497C-9308-EAA9FEA8432C}"/>
                  </a:ext>
                </a:extLst>
              </p14:cNvPr>
              <p14:cNvContentPartPr/>
              <p14:nvPr/>
            </p14:nvContentPartPr>
            <p14:xfrm>
              <a:off x="2520085" y="1908817"/>
              <a:ext cx="120600" cy="21960"/>
            </p14:xfrm>
          </p:contentPart>
        </mc:Choice>
        <mc:Fallback>
          <p:pic>
            <p:nvPicPr>
              <p:cNvPr id="203" name="Freihand 202">
                <a:extLst>
                  <a:ext uri="{FF2B5EF4-FFF2-40B4-BE49-F238E27FC236}">
                    <a16:creationId xmlns:a16="http://schemas.microsoft.com/office/drawing/2014/main" xmlns="" xmlns:p14="http://schemas.microsoft.com/office/powerpoint/2010/main" id="{4C1EBA4D-FD78-497C-9308-EAA9FEA8432C}"/>
                  </a:ext>
                </a:extLst>
              </p:cNvPr>
              <p:cNvPicPr/>
              <p:nvPr/>
            </p:nvPicPr>
            <p:blipFill>
              <a:blip r:embed="rId148" cstate="print"/>
              <a:stretch>
                <a:fillRect/>
              </a:stretch>
            </p:blipFill>
            <p:spPr>
              <a:xfrm>
                <a:off x="2502085" y="1872817"/>
                <a:ext cx="156240" cy="93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49">
            <p14:nvContentPartPr>
              <p14:cNvPr id="204" name="Freihand 203">
                <a:extLst>
                  <a:ext uri="{FF2B5EF4-FFF2-40B4-BE49-F238E27FC236}">
                    <a16:creationId xmlns:a16="http://schemas.microsoft.com/office/drawing/2014/main" id="{8AD1AB6B-8EF3-4C8A-9BAB-DF2F05152F5F}"/>
                  </a:ext>
                </a:extLst>
              </p14:cNvPr>
              <p14:cNvContentPartPr/>
              <p14:nvPr/>
            </p14:nvContentPartPr>
            <p14:xfrm>
              <a:off x="3178885" y="1864537"/>
              <a:ext cx="95400" cy="16200"/>
            </p14:xfrm>
          </p:contentPart>
        </mc:Choice>
        <mc:Fallback>
          <p:pic>
            <p:nvPicPr>
              <p:cNvPr id="204" name="Freihand 203">
                <a:extLst>
                  <a:ext uri="{FF2B5EF4-FFF2-40B4-BE49-F238E27FC236}">
                    <a16:creationId xmlns:a16="http://schemas.microsoft.com/office/drawing/2014/main" xmlns="" xmlns:p14="http://schemas.microsoft.com/office/powerpoint/2010/main" id="{8AD1AB6B-8EF3-4C8A-9BAB-DF2F05152F5F}"/>
                  </a:ext>
                </a:extLst>
              </p:cNvPr>
              <p:cNvPicPr/>
              <p:nvPr/>
            </p:nvPicPr>
            <p:blipFill>
              <a:blip r:embed="rId150" cstate="print"/>
              <a:stretch>
                <a:fillRect/>
              </a:stretch>
            </p:blipFill>
            <p:spPr>
              <a:xfrm>
                <a:off x="3161245" y="1828537"/>
                <a:ext cx="131040" cy="878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1">
            <p14:nvContentPartPr>
              <p14:cNvPr id="205" name="Freihand 204">
                <a:extLst>
                  <a:ext uri="{FF2B5EF4-FFF2-40B4-BE49-F238E27FC236}">
                    <a16:creationId xmlns:a16="http://schemas.microsoft.com/office/drawing/2014/main" id="{BC946DD6-C2C6-44FA-AE20-C161E473FB81}"/>
                  </a:ext>
                </a:extLst>
              </p14:cNvPr>
              <p14:cNvContentPartPr/>
              <p14:nvPr/>
            </p14:nvContentPartPr>
            <p14:xfrm>
              <a:off x="3575605" y="1845817"/>
              <a:ext cx="117720" cy="10800"/>
            </p14:xfrm>
          </p:contentPart>
        </mc:Choice>
        <mc:Fallback>
          <p:pic>
            <p:nvPicPr>
              <p:cNvPr id="205" name="Freihand 204">
                <a:extLst>
                  <a:ext uri="{FF2B5EF4-FFF2-40B4-BE49-F238E27FC236}">
                    <a16:creationId xmlns:a16="http://schemas.microsoft.com/office/drawing/2014/main" xmlns="" xmlns:p14="http://schemas.microsoft.com/office/powerpoint/2010/main" id="{BC946DD6-C2C6-44FA-AE20-C161E473FB81}"/>
                  </a:ext>
                </a:extLst>
              </p:cNvPr>
              <p:cNvPicPr/>
              <p:nvPr/>
            </p:nvPicPr>
            <p:blipFill>
              <a:blip r:embed="rId152" cstate="print"/>
              <a:stretch>
                <a:fillRect/>
              </a:stretch>
            </p:blipFill>
            <p:spPr>
              <a:xfrm>
                <a:off x="3557605" y="1810177"/>
                <a:ext cx="153360" cy="824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3">
            <p14:nvContentPartPr>
              <p14:cNvPr id="206" name="Freihand 205">
                <a:extLst>
                  <a:ext uri="{FF2B5EF4-FFF2-40B4-BE49-F238E27FC236}">
                    <a16:creationId xmlns:a16="http://schemas.microsoft.com/office/drawing/2014/main" id="{62547ABA-ACE8-4184-B7B9-3844A8E80244}"/>
                  </a:ext>
                </a:extLst>
              </p14:cNvPr>
              <p14:cNvContentPartPr/>
              <p14:nvPr/>
            </p14:nvContentPartPr>
            <p14:xfrm>
              <a:off x="4101565" y="1805497"/>
              <a:ext cx="129240" cy="9720"/>
            </p14:xfrm>
          </p:contentPart>
        </mc:Choice>
        <mc:Fallback>
          <p:pic>
            <p:nvPicPr>
              <p:cNvPr id="206" name="Freihand 205">
                <a:extLst>
                  <a:ext uri="{FF2B5EF4-FFF2-40B4-BE49-F238E27FC236}">
                    <a16:creationId xmlns:a16="http://schemas.microsoft.com/office/drawing/2014/main" xmlns="" xmlns:p14="http://schemas.microsoft.com/office/powerpoint/2010/main" id="{62547ABA-ACE8-4184-B7B9-3844A8E80244}"/>
                  </a:ext>
                </a:extLst>
              </p:cNvPr>
              <p:cNvPicPr/>
              <p:nvPr/>
            </p:nvPicPr>
            <p:blipFill>
              <a:blip r:embed="rId154" cstate="print"/>
              <a:stretch>
                <a:fillRect/>
              </a:stretch>
            </p:blipFill>
            <p:spPr>
              <a:xfrm>
                <a:off x="4083565" y="1769497"/>
                <a:ext cx="164880" cy="81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5">
            <p14:nvContentPartPr>
              <p14:cNvPr id="207" name="Freihand 206">
                <a:extLst>
                  <a:ext uri="{FF2B5EF4-FFF2-40B4-BE49-F238E27FC236}">
                    <a16:creationId xmlns:a16="http://schemas.microsoft.com/office/drawing/2014/main" id="{B7F05233-CAEE-4F68-BE13-478EFE7FB5E7}"/>
                  </a:ext>
                </a:extLst>
              </p14:cNvPr>
              <p14:cNvContentPartPr/>
              <p14:nvPr/>
            </p14:nvContentPartPr>
            <p14:xfrm>
              <a:off x="4659205" y="1791457"/>
              <a:ext cx="143640" cy="19800"/>
            </p14:xfrm>
          </p:contentPart>
        </mc:Choice>
        <mc:Fallback>
          <p:pic>
            <p:nvPicPr>
              <p:cNvPr id="207" name="Freihand 206">
                <a:extLst>
                  <a:ext uri="{FF2B5EF4-FFF2-40B4-BE49-F238E27FC236}">
                    <a16:creationId xmlns:a16="http://schemas.microsoft.com/office/drawing/2014/main" xmlns="" xmlns:p14="http://schemas.microsoft.com/office/powerpoint/2010/main" id="{B7F05233-CAEE-4F68-BE13-478EFE7FB5E7}"/>
                  </a:ext>
                </a:extLst>
              </p:cNvPr>
              <p:cNvPicPr/>
              <p:nvPr/>
            </p:nvPicPr>
            <p:blipFill>
              <a:blip r:embed="rId156" cstate="print"/>
              <a:stretch>
                <a:fillRect/>
              </a:stretch>
            </p:blipFill>
            <p:spPr>
              <a:xfrm>
                <a:off x="4641205" y="1755457"/>
                <a:ext cx="179280" cy="914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7">
            <p14:nvContentPartPr>
              <p14:cNvPr id="208" name="Freihand 207">
                <a:extLst>
                  <a:ext uri="{FF2B5EF4-FFF2-40B4-BE49-F238E27FC236}">
                    <a16:creationId xmlns:a16="http://schemas.microsoft.com/office/drawing/2014/main" id="{5ECC2DAD-B39E-4C7A-9B39-C8F126219396}"/>
                  </a:ext>
                </a:extLst>
              </p14:cNvPr>
              <p14:cNvContentPartPr/>
              <p14:nvPr/>
            </p14:nvContentPartPr>
            <p14:xfrm>
              <a:off x="5068525" y="1832857"/>
              <a:ext cx="149760" cy="23040"/>
            </p14:xfrm>
          </p:contentPart>
        </mc:Choice>
        <mc:Fallback>
          <p:pic>
            <p:nvPicPr>
              <p:cNvPr id="208" name="Freihand 207">
                <a:extLst>
                  <a:ext uri="{FF2B5EF4-FFF2-40B4-BE49-F238E27FC236}">
                    <a16:creationId xmlns:a16="http://schemas.microsoft.com/office/drawing/2014/main" xmlns="" xmlns:p14="http://schemas.microsoft.com/office/powerpoint/2010/main" id="{5ECC2DAD-B39E-4C7A-9B39-C8F126219396}"/>
                  </a:ext>
                </a:extLst>
              </p:cNvPr>
              <p:cNvPicPr/>
              <p:nvPr/>
            </p:nvPicPr>
            <p:blipFill>
              <a:blip r:embed="rId158" cstate="print"/>
              <a:stretch>
                <a:fillRect/>
              </a:stretch>
            </p:blipFill>
            <p:spPr>
              <a:xfrm>
                <a:off x="5050885" y="1797217"/>
                <a:ext cx="185400" cy="946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9">
            <p14:nvContentPartPr>
              <p14:cNvPr id="209" name="Freihand 208">
                <a:extLst>
                  <a:ext uri="{FF2B5EF4-FFF2-40B4-BE49-F238E27FC236}">
                    <a16:creationId xmlns:a16="http://schemas.microsoft.com/office/drawing/2014/main" id="{0D360A9B-0ACA-4F5C-8160-2C9C3C9587A6}"/>
                  </a:ext>
                </a:extLst>
              </p14:cNvPr>
              <p14:cNvContentPartPr/>
              <p14:nvPr/>
            </p14:nvContentPartPr>
            <p14:xfrm>
              <a:off x="2783605" y="1872097"/>
              <a:ext cx="123840" cy="26280"/>
            </p14:xfrm>
          </p:contentPart>
        </mc:Choice>
        <mc:Fallback>
          <p:pic>
            <p:nvPicPr>
              <p:cNvPr id="209" name="Freihand 208">
                <a:extLst>
                  <a:ext uri="{FF2B5EF4-FFF2-40B4-BE49-F238E27FC236}">
                    <a16:creationId xmlns:a16="http://schemas.microsoft.com/office/drawing/2014/main" xmlns="" xmlns:p14="http://schemas.microsoft.com/office/powerpoint/2010/main" id="{0D360A9B-0ACA-4F5C-8160-2C9C3C9587A6}"/>
                  </a:ext>
                </a:extLst>
              </p:cNvPr>
              <p:cNvPicPr/>
              <p:nvPr/>
            </p:nvPicPr>
            <p:blipFill>
              <a:blip r:embed="rId160" cstate="print"/>
              <a:stretch>
                <a:fillRect/>
              </a:stretch>
            </p:blipFill>
            <p:spPr>
              <a:xfrm>
                <a:off x="2765605" y="1836097"/>
                <a:ext cx="159480" cy="97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61">
            <p14:nvContentPartPr>
              <p14:cNvPr id="210" name="Freihand 209">
                <a:extLst>
                  <a:ext uri="{FF2B5EF4-FFF2-40B4-BE49-F238E27FC236}">
                    <a16:creationId xmlns:a16="http://schemas.microsoft.com/office/drawing/2014/main" id="{260FB51F-C031-4B54-AE51-920361829ACB}"/>
                  </a:ext>
                </a:extLst>
              </p14:cNvPr>
              <p14:cNvContentPartPr/>
              <p14:nvPr/>
            </p14:nvContentPartPr>
            <p14:xfrm>
              <a:off x="2368165" y="3015016"/>
              <a:ext cx="534960" cy="991440"/>
            </p14:xfrm>
          </p:contentPart>
        </mc:Choice>
        <mc:Fallback>
          <p:pic>
            <p:nvPicPr>
              <p:cNvPr id="210" name="Freihand 209">
                <a:extLst>
                  <a:ext uri="{FF2B5EF4-FFF2-40B4-BE49-F238E27FC236}">
                    <a16:creationId xmlns:a16="http://schemas.microsoft.com/office/drawing/2014/main" xmlns="" xmlns:p14="http://schemas.microsoft.com/office/powerpoint/2010/main" id="{260FB51F-C031-4B54-AE51-920361829ACB}"/>
                  </a:ext>
                </a:extLst>
              </p:cNvPr>
              <p:cNvPicPr/>
              <p:nvPr/>
            </p:nvPicPr>
            <p:blipFill>
              <a:blip r:embed="rId162" cstate="print"/>
              <a:stretch>
                <a:fillRect/>
              </a:stretch>
            </p:blipFill>
            <p:spPr>
              <a:xfrm>
                <a:off x="2332165" y="2943376"/>
                <a:ext cx="606600" cy="11350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63">
            <p14:nvContentPartPr>
              <p14:cNvPr id="211" name="Freihand 210">
                <a:extLst>
                  <a:ext uri="{FF2B5EF4-FFF2-40B4-BE49-F238E27FC236}">
                    <a16:creationId xmlns:a16="http://schemas.microsoft.com/office/drawing/2014/main" id="{F22D3034-BE32-414E-95A6-A362B73A8EAF}"/>
                  </a:ext>
                </a:extLst>
              </p14:cNvPr>
              <p14:cNvContentPartPr/>
              <p14:nvPr/>
            </p14:nvContentPartPr>
            <p14:xfrm>
              <a:off x="2473645" y="2896576"/>
              <a:ext cx="599400" cy="1154160"/>
            </p14:xfrm>
          </p:contentPart>
        </mc:Choice>
        <mc:Fallback>
          <p:pic>
            <p:nvPicPr>
              <p:cNvPr id="211" name="Freihand 210">
                <a:extLst>
                  <a:ext uri="{FF2B5EF4-FFF2-40B4-BE49-F238E27FC236}">
                    <a16:creationId xmlns:a16="http://schemas.microsoft.com/office/drawing/2014/main" xmlns="" xmlns:p14="http://schemas.microsoft.com/office/powerpoint/2010/main" id="{F22D3034-BE32-414E-95A6-A362B73A8EAF}"/>
                  </a:ext>
                </a:extLst>
              </p:cNvPr>
              <p:cNvPicPr/>
              <p:nvPr/>
            </p:nvPicPr>
            <p:blipFill>
              <a:blip r:embed="rId164" cstate="print"/>
              <a:stretch>
                <a:fillRect/>
              </a:stretch>
            </p:blipFill>
            <p:spPr>
              <a:xfrm>
                <a:off x="2383645" y="2716576"/>
                <a:ext cx="779040" cy="1513800"/>
              </a:xfrm>
              <a:prstGeom prst="rect">
                <a:avLst/>
              </a:prstGeom>
            </p:spPr>
          </p:pic>
        </mc:Fallback>
      </mc:AlternateContent>
      <p:pic>
        <p:nvPicPr>
          <p:cNvPr id="212" name="Freihand 211">
            <a:extLst>
              <a:ext uri="{FF2B5EF4-FFF2-40B4-BE49-F238E27FC236}">
                <a16:creationId xmlns:a16="http://schemas.microsoft.com/office/drawing/2014/main" xmlns="" id="{CE326EB8-546B-461A-9308-E1AB1A38EC56}"/>
              </a:ext>
            </a:extLst>
          </p:cNvPr>
          <p:cNvPicPr/>
          <p:nvPr/>
        </p:nvPicPr>
        <p:blipFill>
          <a:blip r:embed="rId165" cstate="print"/>
          <a:stretch>
            <a:fillRect/>
          </a:stretch>
        </p:blipFill>
        <p:spPr>
          <a:xfrm>
            <a:off x="2627784" y="2708920"/>
            <a:ext cx="761040" cy="1647000"/>
          </a:xfrm>
          <a:prstGeom prst="rect">
            <a:avLst/>
          </a:prstGeom>
        </p:spPr>
      </p:pic>
      <mc:AlternateContent xmlns:mc="http://schemas.openxmlformats.org/markup-compatibility/2006">
        <mc:Choice xmlns:p14="http://schemas.microsoft.com/office/powerpoint/2010/main" xmlns="" Requires="p14">
          <p:contentPart p14:bwMode="auto" r:id="rId166">
            <p14:nvContentPartPr>
              <p14:cNvPr id="213" name="Freihand 212">
                <a:extLst>
                  <a:ext uri="{FF2B5EF4-FFF2-40B4-BE49-F238E27FC236}">
                    <a16:creationId xmlns:a16="http://schemas.microsoft.com/office/drawing/2014/main" id="{FCB76D70-D4DC-4831-B352-7AD216B46C4D}"/>
                  </a:ext>
                </a:extLst>
              </p14:cNvPr>
              <p14:cNvContentPartPr/>
              <p14:nvPr/>
            </p14:nvContentPartPr>
            <p14:xfrm>
              <a:off x="2849485" y="2858416"/>
              <a:ext cx="609480" cy="1399680"/>
            </p14:xfrm>
          </p:contentPart>
        </mc:Choice>
        <mc:Fallback>
          <p:pic>
            <p:nvPicPr>
              <p:cNvPr id="213" name="Freihand 212">
                <a:extLst>
                  <a:ext uri="{FF2B5EF4-FFF2-40B4-BE49-F238E27FC236}">
                    <a16:creationId xmlns:a16="http://schemas.microsoft.com/office/drawing/2014/main" xmlns="" xmlns:p14="http://schemas.microsoft.com/office/powerpoint/2010/main" id="{FCB76D70-D4DC-4831-B352-7AD216B46C4D}"/>
                  </a:ext>
                </a:extLst>
              </p:cNvPr>
              <p:cNvPicPr/>
              <p:nvPr/>
            </p:nvPicPr>
            <p:blipFill>
              <a:blip r:embed="rId167" cstate="print"/>
              <a:stretch>
                <a:fillRect/>
              </a:stretch>
            </p:blipFill>
            <p:spPr>
              <a:xfrm>
                <a:off x="2759845" y="2678776"/>
                <a:ext cx="789120" cy="17593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69">
            <p14:nvContentPartPr>
              <p14:cNvPr id="214" name="Freihand 213">
                <a:extLst>
                  <a:ext uri="{FF2B5EF4-FFF2-40B4-BE49-F238E27FC236}">
                    <a16:creationId xmlns:a16="http://schemas.microsoft.com/office/drawing/2014/main" id="{73E453B1-5AB5-4A36-A44E-BD61631DDFCA}"/>
                  </a:ext>
                </a:extLst>
              </p14:cNvPr>
              <p14:cNvContentPartPr/>
              <p14:nvPr/>
            </p14:nvContentPartPr>
            <p14:xfrm>
              <a:off x="3032365" y="2872816"/>
              <a:ext cx="677160" cy="1478880"/>
            </p14:xfrm>
          </p:contentPart>
        </mc:Choice>
        <mc:Fallback>
          <p:pic>
            <p:nvPicPr>
              <p:cNvPr id="214" name="Freihand 213">
                <a:extLst>
                  <a:ext uri="{FF2B5EF4-FFF2-40B4-BE49-F238E27FC236}">
                    <a16:creationId xmlns:a16="http://schemas.microsoft.com/office/drawing/2014/main" xmlns="" xmlns:p14="http://schemas.microsoft.com/office/powerpoint/2010/main" id="{73E453B1-5AB5-4A36-A44E-BD61631DDFCA}"/>
                  </a:ext>
                </a:extLst>
              </p:cNvPr>
              <p:cNvPicPr/>
              <p:nvPr/>
            </p:nvPicPr>
            <p:blipFill>
              <a:blip r:embed="rId170" cstate="print"/>
              <a:stretch>
                <a:fillRect/>
              </a:stretch>
            </p:blipFill>
            <p:spPr>
              <a:xfrm>
                <a:off x="2942725" y="2692816"/>
                <a:ext cx="856800" cy="18385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1">
            <p14:nvContentPartPr>
              <p14:cNvPr id="215" name="Freihand 214">
                <a:extLst>
                  <a:ext uri="{FF2B5EF4-FFF2-40B4-BE49-F238E27FC236}">
                    <a16:creationId xmlns:a16="http://schemas.microsoft.com/office/drawing/2014/main" id="{F406F8F1-E4F2-4C08-969B-9AD5FC4D6D4A}"/>
                  </a:ext>
                </a:extLst>
              </p14:cNvPr>
              <p14:cNvContentPartPr/>
              <p14:nvPr/>
            </p14:nvContentPartPr>
            <p14:xfrm>
              <a:off x="3240805" y="2829256"/>
              <a:ext cx="733320" cy="1472400"/>
            </p14:xfrm>
          </p:contentPart>
        </mc:Choice>
        <mc:Fallback>
          <p:pic>
            <p:nvPicPr>
              <p:cNvPr id="215" name="Freihand 214">
                <a:extLst>
                  <a:ext uri="{FF2B5EF4-FFF2-40B4-BE49-F238E27FC236}">
                    <a16:creationId xmlns:a16="http://schemas.microsoft.com/office/drawing/2014/main" xmlns="" xmlns:p14="http://schemas.microsoft.com/office/powerpoint/2010/main" id="{F406F8F1-E4F2-4C08-969B-9AD5FC4D6D4A}"/>
                  </a:ext>
                </a:extLst>
              </p:cNvPr>
              <p:cNvPicPr/>
              <p:nvPr/>
            </p:nvPicPr>
            <p:blipFill>
              <a:blip r:embed="rId172" cstate="print"/>
              <a:stretch>
                <a:fillRect/>
              </a:stretch>
            </p:blipFill>
            <p:spPr>
              <a:xfrm>
                <a:off x="3150805" y="2649616"/>
                <a:ext cx="912960" cy="18320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3">
            <p14:nvContentPartPr>
              <p14:cNvPr id="216" name="Freihand 215">
                <a:extLst>
                  <a:ext uri="{FF2B5EF4-FFF2-40B4-BE49-F238E27FC236}">
                    <a16:creationId xmlns:a16="http://schemas.microsoft.com/office/drawing/2014/main" id="{5A1973D8-4DE5-4AE4-8622-CCA14A5FA22A}"/>
                  </a:ext>
                </a:extLst>
              </p14:cNvPr>
              <p14:cNvContentPartPr/>
              <p14:nvPr/>
            </p14:nvContentPartPr>
            <p14:xfrm>
              <a:off x="3404605" y="2814496"/>
              <a:ext cx="786600" cy="1599120"/>
            </p14:xfrm>
          </p:contentPart>
        </mc:Choice>
        <mc:Fallback>
          <p:pic>
            <p:nvPicPr>
              <p:cNvPr id="216" name="Freihand 215">
                <a:extLst>
                  <a:ext uri="{FF2B5EF4-FFF2-40B4-BE49-F238E27FC236}">
                    <a16:creationId xmlns:a16="http://schemas.microsoft.com/office/drawing/2014/main" xmlns="" xmlns:p14="http://schemas.microsoft.com/office/powerpoint/2010/main" id="{5A1973D8-4DE5-4AE4-8622-CCA14A5FA22A}"/>
                  </a:ext>
                </a:extLst>
              </p:cNvPr>
              <p:cNvPicPr/>
              <p:nvPr/>
            </p:nvPicPr>
            <p:blipFill>
              <a:blip r:embed="rId174" cstate="print"/>
              <a:stretch>
                <a:fillRect/>
              </a:stretch>
            </p:blipFill>
            <p:spPr>
              <a:xfrm>
                <a:off x="3314605" y="2634856"/>
                <a:ext cx="966240" cy="19587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5">
            <p14:nvContentPartPr>
              <p14:cNvPr id="217" name="Freihand 216">
                <a:extLst>
                  <a:ext uri="{FF2B5EF4-FFF2-40B4-BE49-F238E27FC236}">
                    <a16:creationId xmlns:a16="http://schemas.microsoft.com/office/drawing/2014/main" id="{20D77456-3FB0-4048-BE32-323D358120B5}"/>
                  </a:ext>
                </a:extLst>
              </p14:cNvPr>
              <p14:cNvContentPartPr/>
              <p14:nvPr/>
            </p14:nvContentPartPr>
            <p14:xfrm>
              <a:off x="3618445" y="2787136"/>
              <a:ext cx="837720" cy="1716480"/>
            </p14:xfrm>
          </p:contentPart>
        </mc:Choice>
        <mc:Fallback>
          <p:pic>
            <p:nvPicPr>
              <p:cNvPr id="217" name="Freihand 216">
                <a:extLst>
                  <a:ext uri="{FF2B5EF4-FFF2-40B4-BE49-F238E27FC236}">
                    <a16:creationId xmlns:a16="http://schemas.microsoft.com/office/drawing/2014/main" xmlns="" xmlns:p14="http://schemas.microsoft.com/office/powerpoint/2010/main" id="{20D77456-3FB0-4048-BE32-323D358120B5}"/>
                  </a:ext>
                </a:extLst>
              </p:cNvPr>
              <p:cNvPicPr/>
              <p:nvPr/>
            </p:nvPicPr>
            <p:blipFill>
              <a:blip r:embed="rId176" cstate="print"/>
              <a:stretch>
                <a:fillRect/>
              </a:stretch>
            </p:blipFill>
            <p:spPr>
              <a:xfrm>
                <a:off x="3528445" y="2607496"/>
                <a:ext cx="1017360" cy="20761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7">
            <p14:nvContentPartPr>
              <p14:cNvPr id="218" name="Freihand 217">
                <a:extLst>
                  <a:ext uri="{FF2B5EF4-FFF2-40B4-BE49-F238E27FC236}">
                    <a16:creationId xmlns:a16="http://schemas.microsoft.com/office/drawing/2014/main" id="{D3C50477-3DFB-48C9-A7F1-D9A392694CCA}"/>
                  </a:ext>
                </a:extLst>
              </p14:cNvPr>
              <p14:cNvContentPartPr/>
              <p14:nvPr/>
            </p14:nvContentPartPr>
            <p14:xfrm>
              <a:off x="3789085" y="2800816"/>
              <a:ext cx="880200" cy="1818720"/>
            </p14:xfrm>
          </p:contentPart>
        </mc:Choice>
        <mc:Fallback>
          <p:pic>
            <p:nvPicPr>
              <p:cNvPr id="218" name="Freihand 217">
                <a:extLst>
                  <a:ext uri="{FF2B5EF4-FFF2-40B4-BE49-F238E27FC236}">
                    <a16:creationId xmlns:a16="http://schemas.microsoft.com/office/drawing/2014/main" xmlns="" xmlns:p14="http://schemas.microsoft.com/office/powerpoint/2010/main" id="{D3C50477-3DFB-48C9-A7F1-D9A392694CCA}"/>
                  </a:ext>
                </a:extLst>
              </p:cNvPr>
              <p:cNvPicPr/>
              <p:nvPr/>
            </p:nvPicPr>
            <p:blipFill>
              <a:blip r:embed="rId178" cstate="print"/>
              <a:stretch>
                <a:fillRect/>
              </a:stretch>
            </p:blipFill>
            <p:spPr>
              <a:xfrm>
                <a:off x="3699445" y="2620816"/>
                <a:ext cx="1059840" cy="21783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9">
            <p14:nvContentPartPr>
              <p14:cNvPr id="219" name="Freihand 218">
                <a:extLst>
                  <a:ext uri="{FF2B5EF4-FFF2-40B4-BE49-F238E27FC236}">
                    <a16:creationId xmlns:a16="http://schemas.microsoft.com/office/drawing/2014/main" id="{7CEE6FA8-2204-4A40-A100-D0E6D0CA3B9E}"/>
                  </a:ext>
                </a:extLst>
              </p14:cNvPr>
              <p14:cNvContentPartPr/>
              <p14:nvPr/>
            </p14:nvContentPartPr>
            <p14:xfrm>
              <a:off x="3877285" y="2837896"/>
              <a:ext cx="969480" cy="1862640"/>
            </p14:xfrm>
          </p:contentPart>
        </mc:Choice>
        <mc:Fallback>
          <p:pic>
            <p:nvPicPr>
              <p:cNvPr id="219" name="Freihand 218">
                <a:extLst>
                  <a:ext uri="{FF2B5EF4-FFF2-40B4-BE49-F238E27FC236}">
                    <a16:creationId xmlns:a16="http://schemas.microsoft.com/office/drawing/2014/main" xmlns="" xmlns:p14="http://schemas.microsoft.com/office/powerpoint/2010/main" id="{7CEE6FA8-2204-4A40-A100-D0E6D0CA3B9E}"/>
                  </a:ext>
                </a:extLst>
              </p:cNvPr>
              <p:cNvPicPr/>
              <p:nvPr/>
            </p:nvPicPr>
            <p:blipFill>
              <a:blip r:embed="rId180" cstate="print"/>
              <a:stretch>
                <a:fillRect/>
              </a:stretch>
            </p:blipFill>
            <p:spPr>
              <a:xfrm>
                <a:off x="3787645" y="2657896"/>
                <a:ext cx="1149120" cy="22222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81">
            <p14:nvContentPartPr>
              <p14:cNvPr id="220" name="Freihand 219">
                <a:extLst>
                  <a:ext uri="{FF2B5EF4-FFF2-40B4-BE49-F238E27FC236}">
                    <a16:creationId xmlns:a16="http://schemas.microsoft.com/office/drawing/2014/main" id="{AB2209C0-D285-42F1-9917-95564A86541F}"/>
                  </a:ext>
                </a:extLst>
              </p14:cNvPr>
              <p14:cNvContentPartPr/>
              <p14:nvPr/>
            </p14:nvContentPartPr>
            <p14:xfrm>
              <a:off x="4087885" y="2944456"/>
              <a:ext cx="951840" cy="1901520"/>
            </p14:xfrm>
          </p:contentPart>
        </mc:Choice>
        <mc:Fallback>
          <p:pic>
            <p:nvPicPr>
              <p:cNvPr id="220" name="Freihand 219">
                <a:extLst>
                  <a:ext uri="{FF2B5EF4-FFF2-40B4-BE49-F238E27FC236}">
                    <a16:creationId xmlns:a16="http://schemas.microsoft.com/office/drawing/2014/main" xmlns="" xmlns:p14="http://schemas.microsoft.com/office/powerpoint/2010/main" id="{AB2209C0-D285-42F1-9917-95564A86541F}"/>
                  </a:ext>
                </a:extLst>
              </p:cNvPr>
              <p:cNvPicPr/>
              <p:nvPr/>
            </p:nvPicPr>
            <p:blipFill>
              <a:blip r:embed="rId182" cstate="print"/>
              <a:stretch>
                <a:fillRect/>
              </a:stretch>
            </p:blipFill>
            <p:spPr>
              <a:xfrm>
                <a:off x="3997885" y="2764456"/>
                <a:ext cx="1131480" cy="22611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83">
            <p14:nvContentPartPr>
              <p14:cNvPr id="221" name="Freihand 220">
                <a:extLst>
                  <a:ext uri="{FF2B5EF4-FFF2-40B4-BE49-F238E27FC236}">
                    <a16:creationId xmlns:a16="http://schemas.microsoft.com/office/drawing/2014/main" id="{1D551180-1D34-40FB-9839-190D89C35245}"/>
                  </a:ext>
                </a:extLst>
              </p14:cNvPr>
              <p14:cNvContentPartPr/>
              <p14:nvPr/>
            </p14:nvContentPartPr>
            <p14:xfrm>
              <a:off x="4014805" y="4594696"/>
              <a:ext cx="123120" cy="231120"/>
            </p14:xfrm>
          </p:contentPart>
        </mc:Choice>
        <mc:Fallback>
          <p:pic>
            <p:nvPicPr>
              <p:cNvPr id="221" name="Freihand 220">
                <a:extLst>
                  <a:ext uri="{FF2B5EF4-FFF2-40B4-BE49-F238E27FC236}">
                    <a16:creationId xmlns:a16="http://schemas.microsoft.com/office/drawing/2014/main" xmlns="" xmlns:p14="http://schemas.microsoft.com/office/powerpoint/2010/main" id="{1D551180-1D34-40FB-9839-190D89C35245}"/>
                  </a:ext>
                </a:extLst>
              </p:cNvPr>
              <p:cNvPicPr/>
              <p:nvPr/>
            </p:nvPicPr>
            <p:blipFill>
              <a:blip r:embed="rId184" cstate="print"/>
              <a:stretch>
                <a:fillRect/>
              </a:stretch>
            </p:blipFill>
            <p:spPr>
              <a:xfrm>
                <a:off x="3924805" y="4415056"/>
                <a:ext cx="302760" cy="5907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85">
            <p14:nvContentPartPr>
              <p14:cNvPr id="222" name="Freihand 221">
                <a:extLst>
                  <a:ext uri="{FF2B5EF4-FFF2-40B4-BE49-F238E27FC236}">
                    <a16:creationId xmlns:a16="http://schemas.microsoft.com/office/drawing/2014/main" id="{662EC674-4F5A-49C8-9A00-AAF762F5539D}"/>
                  </a:ext>
                </a:extLst>
              </p14:cNvPr>
              <p14:cNvContentPartPr/>
              <p14:nvPr/>
            </p14:nvContentPartPr>
            <p14:xfrm>
              <a:off x="4184725" y="3100336"/>
              <a:ext cx="1014840" cy="1919880"/>
            </p14:xfrm>
          </p:contentPart>
        </mc:Choice>
        <mc:Fallback>
          <p:pic>
            <p:nvPicPr>
              <p:cNvPr id="222" name="Freihand 221">
                <a:extLst>
                  <a:ext uri="{FF2B5EF4-FFF2-40B4-BE49-F238E27FC236}">
                    <a16:creationId xmlns:a16="http://schemas.microsoft.com/office/drawing/2014/main" xmlns="" xmlns:p14="http://schemas.microsoft.com/office/powerpoint/2010/main" id="{662EC674-4F5A-49C8-9A00-AAF762F5539D}"/>
                  </a:ext>
                </a:extLst>
              </p:cNvPr>
              <p:cNvPicPr/>
              <p:nvPr/>
            </p:nvPicPr>
            <p:blipFill>
              <a:blip r:embed="rId186" cstate="print"/>
              <a:stretch>
                <a:fillRect/>
              </a:stretch>
            </p:blipFill>
            <p:spPr>
              <a:xfrm>
                <a:off x="4094725" y="2920696"/>
                <a:ext cx="1194480" cy="22795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87">
            <p14:nvContentPartPr>
              <p14:cNvPr id="223" name="Freihand 222">
                <a:extLst>
                  <a:ext uri="{FF2B5EF4-FFF2-40B4-BE49-F238E27FC236}">
                    <a16:creationId xmlns:a16="http://schemas.microsoft.com/office/drawing/2014/main" id="{C817BB8E-C7D3-47FF-90BB-852C76BBBD5E}"/>
                  </a:ext>
                </a:extLst>
              </p14:cNvPr>
              <p14:cNvContentPartPr/>
              <p14:nvPr/>
            </p14:nvContentPartPr>
            <p14:xfrm>
              <a:off x="4311805" y="3215536"/>
              <a:ext cx="1611000" cy="2124000"/>
            </p14:xfrm>
          </p:contentPart>
        </mc:Choice>
        <mc:Fallback>
          <p:pic>
            <p:nvPicPr>
              <p:cNvPr id="223" name="Freihand 222">
                <a:extLst>
                  <a:ext uri="{FF2B5EF4-FFF2-40B4-BE49-F238E27FC236}">
                    <a16:creationId xmlns:a16="http://schemas.microsoft.com/office/drawing/2014/main" xmlns="" xmlns:p14="http://schemas.microsoft.com/office/powerpoint/2010/main" id="{C817BB8E-C7D3-47FF-90BB-852C76BBBD5E}"/>
                  </a:ext>
                </a:extLst>
              </p:cNvPr>
              <p:cNvPicPr/>
              <p:nvPr/>
            </p:nvPicPr>
            <p:blipFill>
              <a:blip r:embed="rId188" cstate="print"/>
              <a:stretch>
                <a:fillRect/>
              </a:stretch>
            </p:blipFill>
            <p:spPr>
              <a:xfrm>
                <a:off x="4221805" y="3035536"/>
                <a:ext cx="1790640" cy="24836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89">
            <p14:nvContentPartPr>
              <p14:cNvPr id="224" name="Freihand 223">
                <a:extLst>
                  <a:ext uri="{FF2B5EF4-FFF2-40B4-BE49-F238E27FC236}">
                    <a16:creationId xmlns:a16="http://schemas.microsoft.com/office/drawing/2014/main" id="{FA531813-9F9E-4A90-913D-55C2EEC78BD1}"/>
                  </a:ext>
                </a:extLst>
              </p14:cNvPr>
              <p14:cNvContentPartPr/>
              <p14:nvPr/>
            </p14:nvContentPartPr>
            <p14:xfrm>
              <a:off x="4649125" y="5528896"/>
              <a:ext cx="225720" cy="39600"/>
            </p14:xfrm>
          </p:contentPart>
        </mc:Choice>
        <mc:Fallback>
          <p:pic>
            <p:nvPicPr>
              <p:cNvPr id="224" name="Freihand 223">
                <a:extLst>
                  <a:ext uri="{FF2B5EF4-FFF2-40B4-BE49-F238E27FC236}">
                    <a16:creationId xmlns:a16="http://schemas.microsoft.com/office/drawing/2014/main" xmlns="" xmlns:p14="http://schemas.microsoft.com/office/powerpoint/2010/main" id="{FA531813-9F9E-4A90-913D-55C2EEC78BD1}"/>
                  </a:ext>
                </a:extLst>
              </p:cNvPr>
              <p:cNvPicPr/>
              <p:nvPr/>
            </p:nvPicPr>
            <p:blipFill>
              <a:blip r:embed="rId190" cstate="print"/>
              <a:stretch>
                <a:fillRect/>
              </a:stretch>
            </p:blipFill>
            <p:spPr>
              <a:xfrm>
                <a:off x="4559125" y="5349256"/>
                <a:ext cx="405360" cy="399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91">
            <p14:nvContentPartPr>
              <p14:cNvPr id="225" name="Freihand 224">
                <a:extLst>
                  <a:ext uri="{FF2B5EF4-FFF2-40B4-BE49-F238E27FC236}">
                    <a16:creationId xmlns:a16="http://schemas.microsoft.com/office/drawing/2014/main" id="{9B7D0F77-9A7B-44FE-A73F-EC712523A991}"/>
                  </a:ext>
                </a:extLst>
              </p14:cNvPr>
              <p14:cNvContentPartPr/>
              <p14:nvPr/>
            </p14:nvContentPartPr>
            <p14:xfrm>
              <a:off x="3614125" y="4794856"/>
              <a:ext cx="1111680" cy="773280"/>
            </p14:xfrm>
          </p:contentPart>
        </mc:Choice>
        <mc:Fallback>
          <p:pic>
            <p:nvPicPr>
              <p:cNvPr id="225" name="Freihand 224">
                <a:extLst>
                  <a:ext uri="{FF2B5EF4-FFF2-40B4-BE49-F238E27FC236}">
                    <a16:creationId xmlns:a16="http://schemas.microsoft.com/office/drawing/2014/main" xmlns="" xmlns:p14="http://schemas.microsoft.com/office/powerpoint/2010/main" id="{9B7D0F77-9A7B-44FE-A73F-EC712523A991}"/>
                  </a:ext>
                </a:extLst>
              </p:cNvPr>
              <p:cNvPicPr/>
              <p:nvPr/>
            </p:nvPicPr>
            <p:blipFill>
              <a:blip r:embed="rId192" cstate="print"/>
              <a:stretch>
                <a:fillRect/>
              </a:stretch>
            </p:blipFill>
            <p:spPr>
              <a:xfrm>
                <a:off x="3524125" y="4615216"/>
                <a:ext cx="1291320" cy="11329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93">
            <p14:nvContentPartPr>
              <p14:cNvPr id="226" name="Freihand 225">
                <a:extLst>
                  <a:ext uri="{FF2B5EF4-FFF2-40B4-BE49-F238E27FC236}">
                    <a16:creationId xmlns:a16="http://schemas.microsoft.com/office/drawing/2014/main" id="{FC510222-F916-40F4-8E9D-A6F633C513E3}"/>
                  </a:ext>
                </a:extLst>
              </p14:cNvPr>
              <p14:cNvContentPartPr/>
              <p14:nvPr/>
            </p14:nvContentPartPr>
            <p14:xfrm>
              <a:off x="2197525" y="4100056"/>
              <a:ext cx="1432800" cy="714600"/>
            </p14:xfrm>
          </p:contentPart>
        </mc:Choice>
        <mc:Fallback>
          <p:pic>
            <p:nvPicPr>
              <p:cNvPr id="226" name="Freihand 225">
                <a:extLst>
                  <a:ext uri="{FF2B5EF4-FFF2-40B4-BE49-F238E27FC236}">
                    <a16:creationId xmlns:a16="http://schemas.microsoft.com/office/drawing/2014/main" xmlns="" xmlns:p14="http://schemas.microsoft.com/office/powerpoint/2010/main" id="{FC510222-F916-40F4-8E9D-A6F633C513E3}"/>
                  </a:ext>
                </a:extLst>
              </p:cNvPr>
              <p:cNvPicPr/>
              <p:nvPr/>
            </p:nvPicPr>
            <p:blipFill>
              <a:blip r:embed="rId194" cstate="print"/>
              <a:stretch>
                <a:fillRect/>
              </a:stretch>
            </p:blipFill>
            <p:spPr>
              <a:xfrm>
                <a:off x="2107885" y="3920416"/>
                <a:ext cx="1612440" cy="1074240"/>
              </a:xfrm>
              <a:prstGeom prst="rect">
                <a:avLst/>
              </a:prstGeom>
            </p:spPr>
          </p:pic>
        </mc:Fallback>
      </mc:AlternateContent>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0">
                                            <p:txEl>
                                              <p:pRg st="0" end="0"/>
                                            </p:txEl>
                                          </p:spTgt>
                                        </p:tgtEl>
                                        <p:attrNameLst>
                                          <p:attrName>style.visibility</p:attrName>
                                        </p:attrNameLst>
                                      </p:cBhvr>
                                      <p:to>
                                        <p:strVal val="visible"/>
                                      </p:to>
                                    </p:set>
                                    <p:animEffect transition="in" filter="blinds(horizontal)">
                                      <p:cBhvr>
                                        <p:cTn id="12" dur="500"/>
                                        <p:tgtEl>
                                          <p:spTgt spid="130">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32">
                                            <p:txEl>
                                              <p:pRg st="0" end="0"/>
                                            </p:txEl>
                                          </p:spTgt>
                                        </p:tgtEl>
                                        <p:attrNameLst>
                                          <p:attrName>style.visibility</p:attrName>
                                        </p:attrNameLst>
                                      </p:cBhvr>
                                      <p:to>
                                        <p:strVal val="visible"/>
                                      </p:to>
                                    </p:set>
                                    <p:animEffect transition="in" filter="blinds(horizontal)">
                                      <p:cBhvr>
                                        <p:cTn id="17" dur="500"/>
                                        <p:tgtEl>
                                          <p:spTgt spid="132">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33">
                                            <p:txEl>
                                              <p:pRg st="0" end="0"/>
                                            </p:txEl>
                                          </p:spTgt>
                                        </p:tgtEl>
                                        <p:attrNameLst>
                                          <p:attrName>style.visibility</p:attrName>
                                        </p:attrNameLst>
                                      </p:cBhvr>
                                      <p:to>
                                        <p:strVal val="visible"/>
                                      </p:to>
                                    </p:set>
                                    <p:animEffect transition="in" filter="blinds(horizontal)">
                                      <p:cBhvr>
                                        <p:cTn id="22" dur="500"/>
                                        <p:tgtEl>
                                          <p:spTgt spid="133">
                                            <p:txEl>
                                              <p:pRg st="0" end="0"/>
                                            </p:txEl>
                                          </p:spTgt>
                                        </p:tgtEl>
                                      </p:cBhvr>
                                    </p:animEffect>
                                  </p:childTnLst>
                                </p:cTn>
                              </p:par>
                              <p:par>
                                <p:cTn id="23" presetID="3" presetClass="entr" presetSubtype="10" fill="hold" nodeType="withEffect">
                                  <p:stCondLst>
                                    <p:cond delay="0"/>
                                  </p:stCondLst>
                                  <p:childTnLst>
                                    <p:set>
                                      <p:cBhvr>
                                        <p:cTn id="24" dur="1" fill="hold">
                                          <p:stCondLst>
                                            <p:cond delay="0"/>
                                          </p:stCondLst>
                                        </p:cTn>
                                        <p:tgtEl>
                                          <p:spTgt spid="133">
                                            <p:txEl>
                                              <p:pRg st="1" end="1"/>
                                            </p:txEl>
                                          </p:spTgt>
                                        </p:tgtEl>
                                        <p:attrNameLst>
                                          <p:attrName>style.visibility</p:attrName>
                                        </p:attrNameLst>
                                      </p:cBhvr>
                                      <p:to>
                                        <p:strVal val="visible"/>
                                      </p:to>
                                    </p:set>
                                    <p:animEffect transition="in" filter="blinds(horizontal)">
                                      <p:cBhvr>
                                        <p:cTn id="25" dur="500"/>
                                        <p:tgtEl>
                                          <p:spTgt spid="133">
                                            <p:txEl>
                                              <p:pRg st="1" end="1"/>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31">
                                            <p:txEl>
                                              <p:pRg st="0" end="0"/>
                                            </p:txEl>
                                          </p:spTgt>
                                        </p:tgtEl>
                                        <p:attrNameLst>
                                          <p:attrName>style.visibility</p:attrName>
                                        </p:attrNameLst>
                                      </p:cBhvr>
                                      <p:to>
                                        <p:strVal val="visible"/>
                                      </p:to>
                                    </p:set>
                                    <p:animEffect transition="in" filter="blinds(horizontal)">
                                      <p:cBhvr>
                                        <p:cTn id="30" dur="500"/>
                                        <p:tgtEl>
                                          <p:spTgt spid="131">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nodeType="clickEffect">
                                  <p:stCondLst>
                                    <p:cond delay="0"/>
                                  </p:stCondLst>
                                  <p:childTnLst>
                                    <p:set>
                                      <p:cBhvr>
                                        <p:cTn id="34" dur="1" fill="hold">
                                          <p:stCondLst>
                                            <p:cond delay="0"/>
                                          </p:stCondLst>
                                        </p:cTn>
                                        <p:tgtEl>
                                          <p:spTgt spid="135">
                                            <p:txEl>
                                              <p:pRg st="0" end="0"/>
                                            </p:txEl>
                                          </p:spTgt>
                                        </p:tgtEl>
                                        <p:attrNameLst>
                                          <p:attrName>style.visibility</p:attrName>
                                        </p:attrNameLst>
                                      </p:cBhvr>
                                      <p:to>
                                        <p:strVal val="visible"/>
                                      </p:to>
                                    </p:set>
                                    <p:animEffect transition="in" filter="blinds(horizontal)">
                                      <p:cBhvr>
                                        <p:cTn id="35" dur="500"/>
                                        <p:tgtEl>
                                          <p:spTgt spid="135">
                                            <p:txEl>
                                              <p:pRg st="0" end="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136">
                                            <p:txEl>
                                              <p:pRg st="0" end="0"/>
                                            </p:txEl>
                                          </p:spTgt>
                                        </p:tgtEl>
                                        <p:attrNameLst>
                                          <p:attrName>style.visibility</p:attrName>
                                        </p:attrNameLst>
                                      </p:cBhvr>
                                      <p:to>
                                        <p:strVal val="visible"/>
                                      </p:to>
                                    </p:set>
                                    <p:animEffect transition="in" filter="blinds(horizontal)">
                                      <p:cBhvr>
                                        <p:cTn id="40" dur="500"/>
                                        <p:tgtEl>
                                          <p:spTgt spid="13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DEAA0D49-8C69-4440-A2C9-4A609846D656}"/>
              </a:ext>
            </a:extLst>
          </p:cNvPr>
          <p:cNvGraphicFramePr>
            <a:graphicFrameLocks noChangeAspect="1"/>
          </p:cNvGraphicFramePr>
          <p:nvPr>
            <p:extLst>
              <p:ext uri="{D42A27DB-BD31-4B8C-83A1-F6EECF244321}">
                <p14:modId xmlns:p14="http://schemas.microsoft.com/office/powerpoint/2010/main" xmlns="" val="2722985777"/>
              </p:ext>
            </p:extLst>
          </p:nvPr>
        </p:nvGraphicFramePr>
        <p:xfrm>
          <a:off x="1588" y="1588"/>
          <a:ext cx="1588" cy="1588"/>
        </p:xfrm>
        <a:graphic>
          <a:graphicData uri="http://schemas.openxmlformats.org/presentationml/2006/ole">
            <p:oleObj spid="_x0000_s26633" name="think-cell Folie" r:id="rId4" imgW="360" imgH="360" progId="">
              <p:embed/>
            </p:oleObj>
          </a:graphicData>
        </a:graphic>
      </p:graphicFrame>
      <p:sp>
        <p:nvSpPr>
          <p:cNvPr id="4" name="Rechteck 3" hidden="1">
            <a:extLst>
              <a:ext uri="{FF2B5EF4-FFF2-40B4-BE49-F238E27FC236}">
                <a16:creationId xmlns:a16="http://schemas.microsoft.com/office/drawing/2014/main" xmlns="" id="{3F06A72C-0C98-43F6-B714-94AF430DBE5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a:xfrm>
            <a:off x="323528" y="116632"/>
            <a:ext cx="8229600" cy="1728192"/>
          </a:xfrm>
        </p:spPr>
        <p:txBody>
          <a:bodyPr>
            <a:noAutofit/>
          </a:bodyPr>
          <a:lstStyle/>
          <a:p>
            <a:r>
              <a:rPr lang="de-AT" sz="2800" dirty="0" err="1"/>
              <a:t>Resilienztraining</a:t>
            </a:r>
            <a:r>
              <a:rPr lang="de-AT" sz="2800" dirty="0"/>
              <a:t> als</a:t>
            </a:r>
            <a:br>
              <a:rPr lang="de-AT" sz="2800" dirty="0"/>
            </a:br>
            <a:r>
              <a:rPr lang="de-AT" sz="2800" dirty="0"/>
              <a:t>Persönlichkeitstraining</a:t>
            </a:r>
            <a:br>
              <a:rPr lang="de-AT" sz="2800" dirty="0"/>
            </a:br>
            <a:r>
              <a:rPr lang="de-AT" sz="2800" dirty="0"/>
              <a:t>für Führungskräfte und MA (1)</a:t>
            </a:r>
            <a:br>
              <a:rPr lang="de-AT" sz="2800" dirty="0"/>
            </a:br>
            <a:endParaRPr lang="de-AT" sz="2800" dirty="0"/>
          </a:p>
        </p:txBody>
      </p:sp>
      <p:sp>
        <p:nvSpPr>
          <p:cNvPr id="3" name="Inhaltsplatzhalter 2"/>
          <p:cNvSpPr>
            <a:spLocks noGrp="1"/>
          </p:cNvSpPr>
          <p:nvPr>
            <p:ph idx="1"/>
          </p:nvPr>
        </p:nvSpPr>
        <p:spPr/>
        <p:txBody>
          <a:bodyPr>
            <a:normAutofit/>
          </a:bodyPr>
          <a:lstStyle/>
          <a:p>
            <a:pPr>
              <a:buNone/>
            </a:pPr>
            <a:endParaRPr lang="de-AT" sz="2400" dirty="0"/>
          </a:p>
          <a:p>
            <a:pPr>
              <a:buNone/>
            </a:pPr>
            <a:r>
              <a:rPr lang="de-AT" sz="2400" dirty="0"/>
              <a:t>Förderung über: </a:t>
            </a:r>
          </a:p>
          <a:p>
            <a:r>
              <a:rPr lang="de-AT" sz="2400" dirty="0"/>
              <a:t>stressreduziertes Verhalten,</a:t>
            </a:r>
          </a:p>
          <a:p>
            <a:r>
              <a:rPr lang="de-AT" sz="2400" dirty="0"/>
              <a:t>ausreichend Bewegung, </a:t>
            </a:r>
          </a:p>
          <a:p>
            <a:r>
              <a:rPr lang="de-AT" sz="2400" dirty="0"/>
              <a:t>achtsamen Genuss, </a:t>
            </a:r>
          </a:p>
          <a:p>
            <a:r>
              <a:rPr lang="de-AT" sz="2400" dirty="0"/>
              <a:t>Selbstmitgefühl, </a:t>
            </a:r>
          </a:p>
          <a:p>
            <a:r>
              <a:rPr lang="de-AT" sz="2400" dirty="0"/>
              <a:t>stärkenorientierte Perspektive (Stärke = regelmäßige Aktivität, die zu guter Leistung führt und die Person </a:t>
            </a:r>
            <a:r>
              <a:rPr lang="de-AT" sz="2400" dirty="0" err="1"/>
              <a:t>energetisiert</a:t>
            </a:r>
            <a:r>
              <a:rPr lang="de-AT" sz="2400" dirty="0"/>
              <a:t>)</a:t>
            </a:r>
          </a:p>
          <a:p>
            <a:pPr>
              <a:buNone/>
            </a:pPr>
            <a:r>
              <a:rPr lang="de-AT" sz="2400" dirty="0"/>
              <a:t>	</a:t>
            </a:r>
          </a:p>
        </p:txBody>
      </p:sp>
    </p:spTree>
  </p:cSld>
  <p:clrMapOvr>
    <a:masterClrMapping/>
  </p:clrMapOvr>
  <p:transition spd="slow">
    <p:pull di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C68406F2-A24E-427E-BF9B-5E711147B588}"/>
              </a:ext>
            </a:extLst>
          </p:cNvPr>
          <p:cNvGraphicFramePr>
            <a:graphicFrameLocks noChangeAspect="1"/>
          </p:cNvGraphicFramePr>
          <p:nvPr>
            <p:extLst>
              <p:ext uri="{D42A27DB-BD31-4B8C-83A1-F6EECF244321}">
                <p14:modId xmlns:p14="http://schemas.microsoft.com/office/powerpoint/2010/main" xmlns="" val="1983547841"/>
              </p:ext>
            </p:extLst>
          </p:nvPr>
        </p:nvGraphicFramePr>
        <p:xfrm>
          <a:off x="1588" y="1588"/>
          <a:ext cx="1588" cy="1588"/>
        </p:xfrm>
        <a:graphic>
          <a:graphicData uri="http://schemas.openxmlformats.org/presentationml/2006/ole">
            <p:oleObj spid="_x0000_s27657" name="think-cell Folie" r:id="rId4" imgW="360" imgH="360" progId="">
              <p:embed/>
            </p:oleObj>
          </a:graphicData>
        </a:graphic>
      </p:graphicFrame>
      <p:sp>
        <p:nvSpPr>
          <p:cNvPr id="5" name="Rechteck 4" hidden="1">
            <a:extLst>
              <a:ext uri="{FF2B5EF4-FFF2-40B4-BE49-F238E27FC236}">
                <a16:creationId xmlns:a16="http://schemas.microsoft.com/office/drawing/2014/main" xmlns="" id="{628E5189-3A3A-4E11-B828-CCD38F11C9E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3" name="Inhaltsplatzhalter 2"/>
          <p:cNvSpPr>
            <a:spLocks noGrp="1"/>
          </p:cNvSpPr>
          <p:nvPr>
            <p:ph idx="1"/>
          </p:nvPr>
        </p:nvSpPr>
        <p:spPr/>
        <p:txBody>
          <a:bodyPr>
            <a:normAutofit/>
          </a:bodyPr>
          <a:lstStyle/>
          <a:p>
            <a:r>
              <a:rPr lang="de-AT" sz="2400" dirty="0"/>
              <a:t>Ressourcen, Gefühlszustände und Grenzen kennen, erste Warnsignale erkennen, Erholung für Körper, GEIST und Seele</a:t>
            </a:r>
          </a:p>
          <a:p>
            <a:r>
              <a:rPr lang="de-AT" sz="2400" dirty="0" err="1"/>
              <a:t>resilienzfördernde</a:t>
            </a:r>
            <a:r>
              <a:rPr lang="de-AT" sz="2400" dirty="0"/>
              <a:t> Einstellungen und Fähigkeiten entwickeln:</a:t>
            </a:r>
          </a:p>
          <a:p>
            <a:pPr>
              <a:buNone/>
            </a:pPr>
            <a:r>
              <a:rPr lang="de-AT" sz="2400" dirty="0"/>
              <a:t>	</a:t>
            </a:r>
          </a:p>
        </p:txBody>
      </p:sp>
      <p:graphicFrame>
        <p:nvGraphicFramePr>
          <p:cNvPr id="4" name="Diagramm 3"/>
          <p:cNvGraphicFramePr>
            <a:graphicFrameLocks noChangeAspect="1"/>
          </p:cNvGraphicFramePr>
          <p:nvPr>
            <p:extLst>
              <p:ext uri="{D42A27DB-BD31-4B8C-83A1-F6EECF244321}">
                <p14:modId xmlns:p14="http://schemas.microsoft.com/office/powerpoint/2010/main" xmlns="" val="4278091873"/>
              </p:ext>
            </p:extLst>
          </p:nvPr>
        </p:nvGraphicFramePr>
        <p:xfrm>
          <a:off x="1666957" y="3420534"/>
          <a:ext cx="5726329" cy="307312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itel 1">
            <a:extLst>
              <a:ext uri="{FF2B5EF4-FFF2-40B4-BE49-F238E27FC236}">
                <a16:creationId xmlns:a16="http://schemas.microsoft.com/office/drawing/2014/main" xmlns="" id="{1E4343CF-CDE0-48FD-B5DF-18531D0C5F0A}"/>
              </a:ext>
            </a:extLst>
          </p:cNvPr>
          <p:cNvSpPr>
            <a:spLocks noGrp="1"/>
          </p:cNvSpPr>
          <p:nvPr>
            <p:ph type="title"/>
          </p:nvPr>
        </p:nvSpPr>
        <p:spPr>
          <a:xfrm>
            <a:off x="457200" y="63499"/>
            <a:ext cx="8229600" cy="668338"/>
          </a:xfrm>
        </p:spPr>
        <p:txBody>
          <a:bodyPr>
            <a:noAutofit/>
          </a:bodyPr>
          <a:lstStyle/>
          <a:p>
            <a:r>
              <a:rPr lang="de-AT" sz="2800" dirty="0" err="1"/>
              <a:t>Resilienztraining</a:t>
            </a:r>
            <a:r>
              <a:rPr lang="de-AT" sz="2800" dirty="0"/>
              <a:t> als</a:t>
            </a:r>
            <a:br>
              <a:rPr lang="de-AT" sz="2800" dirty="0"/>
            </a:br>
            <a:r>
              <a:rPr lang="de-AT" sz="2800" dirty="0"/>
              <a:t>Persönlichkeitstraining</a:t>
            </a:r>
            <a:br>
              <a:rPr lang="de-AT" sz="2800" dirty="0"/>
            </a:br>
            <a:r>
              <a:rPr lang="de-AT" sz="2800" dirty="0"/>
              <a:t>für Führungskräfte und MA (2)</a:t>
            </a:r>
            <a:br>
              <a:rPr lang="de-AT" sz="2800" dirty="0"/>
            </a:br>
            <a:endParaRPr lang="de-AT" sz="2800" dirty="0"/>
          </a:p>
        </p:txBody>
      </p:sp>
    </p:spTree>
  </p:cSld>
  <p:clrMapOvr>
    <a:masterClrMapping/>
  </p:clrMapOvr>
  <p:transition spd="slow">
    <p:pull dir="d"/>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5F1882EE-860B-4511-9AA7-8A070F3BCFDF}"/>
              </a:ext>
            </a:extLst>
          </p:cNvPr>
          <p:cNvGraphicFramePr>
            <a:graphicFrameLocks noChangeAspect="1"/>
          </p:cNvGraphicFramePr>
          <p:nvPr>
            <p:extLst>
              <p:ext uri="{D42A27DB-BD31-4B8C-83A1-F6EECF244321}">
                <p14:modId xmlns:p14="http://schemas.microsoft.com/office/powerpoint/2010/main" xmlns="" val="835490336"/>
              </p:ext>
            </p:extLst>
          </p:nvPr>
        </p:nvGraphicFramePr>
        <p:xfrm>
          <a:off x="1588" y="1588"/>
          <a:ext cx="1588" cy="1588"/>
        </p:xfrm>
        <a:graphic>
          <a:graphicData uri="http://schemas.openxmlformats.org/presentationml/2006/ole">
            <p:oleObj spid="_x0000_s28681" name="think-cell Folie" r:id="rId4" imgW="360" imgH="360" progId="">
              <p:embed/>
            </p:oleObj>
          </a:graphicData>
        </a:graphic>
      </p:graphicFrame>
      <p:sp>
        <p:nvSpPr>
          <p:cNvPr id="4" name="Rechteck 3" hidden="1">
            <a:extLst>
              <a:ext uri="{FF2B5EF4-FFF2-40B4-BE49-F238E27FC236}">
                <a16:creationId xmlns:a16="http://schemas.microsoft.com/office/drawing/2014/main" xmlns="" id="{7781A8A4-5CE1-45BF-9D12-82056CA37EAF}"/>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dirty="0" err="1"/>
              <a:t>Resilienzfördernde</a:t>
            </a:r>
            <a:r>
              <a:rPr lang="de-AT" dirty="0"/>
              <a:t> Führungsstile</a:t>
            </a:r>
          </a:p>
        </p:txBody>
      </p:sp>
      <p:sp>
        <p:nvSpPr>
          <p:cNvPr id="3" name="Inhaltsplatzhalter 2"/>
          <p:cNvSpPr>
            <a:spLocks noGrp="1"/>
          </p:cNvSpPr>
          <p:nvPr>
            <p:ph idx="1"/>
          </p:nvPr>
        </p:nvSpPr>
        <p:spPr>
          <a:xfrm>
            <a:off x="395536" y="1169985"/>
            <a:ext cx="8603569" cy="4968552"/>
          </a:xfrm>
        </p:spPr>
        <p:txBody>
          <a:bodyPr>
            <a:noAutofit/>
          </a:bodyPr>
          <a:lstStyle/>
          <a:p>
            <a:endParaRPr lang="de-AT" sz="2400" dirty="0"/>
          </a:p>
          <a:p>
            <a:r>
              <a:rPr lang="de-AT" sz="2400" dirty="0" err="1"/>
              <a:t>Partizipative</a:t>
            </a:r>
            <a:r>
              <a:rPr lang="de-AT" sz="2400" dirty="0"/>
              <a:t> Führung</a:t>
            </a:r>
          </a:p>
          <a:p>
            <a:r>
              <a:rPr lang="de-AT" sz="2400" dirty="0"/>
              <a:t>Systemische Führung</a:t>
            </a:r>
          </a:p>
          <a:p>
            <a:r>
              <a:rPr lang="de-AT" sz="2400" dirty="0"/>
              <a:t>Transformational Leadership</a:t>
            </a:r>
          </a:p>
          <a:p>
            <a:r>
              <a:rPr lang="de-AT" sz="2400" dirty="0"/>
              <a:t>Positive </a:t>
            </a:r>
            <a:r>
              <a:rPr lang="de-AT" sz="2400" dirty="0" err="1"/>
              <a:t>Leadership</a:t>
            </a:r>
            <a:endParaRPr lang="de-AT" sz="2400" dirty="0"/>
          </a:p>
          <a:p>
            <a:pPr>
              <a:buNone/>
            </a:pPr>
            <a:endParaRPr lang="de-AT" sz="2400" dirty="0"/>
          </a:p>
          <a:p>
            <a:r>
              <a:rPr lang="de-AT" sz="2400" dirty="0"/>
              <a:t>positive Führung: exzellente MA und Organisationen</a:t>
            </a:r>
          </a:p>
          <a:p>
            <a:r>
              <a:rPr lang="de-AT" sz="2400" dirty="0"/>
              <a:t>Wandel in den Köpfen jener Führungskräfte, welche </a:t>
            </a:r>
            <a:br>
              <a:rPr lang="de-AT" sz="2400" dirty="0"/>
            </a:br>
            <a:r>
              <a:rPr lang="de-AT" sz="2400" dirty="0"/>
              <a:t>jahrelang in hierarchischen Strukturen gearbeitet haben.</a:t>
            </a:r>
          </a:p>
          <a:p>
            <a:r>
              <a:rPr lang="de-AT" sz="2400" dirty="0"/>
              <a:t>Konstruktives Feedback als </a:t>
            </a:r>
            <a:r>
              <a:rPr lang="de-AT" sz="2400" dirty="0" err="1"/>
              <a:t>resilienzförderndes</a:t>
            </a:r>
            <a:r>
              <a:rPr lang="de-AT" sz="2400" dirty="0"/>
              <a:t> Instrument einsetzen, Wertschätzung in konkreten Situationen</a:t>
            </a:r>
          </a:p>
        </p:txBody>
      </p:sp>
    </p:spTree>
  </p:cSld>
  <p:clrMapOvr>
    <a:masterClrMapping/>
  </p:clrMapOvr>
  <p:transition spd="slow">
    <p:pull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C4A2E4F1-F982-497C-A886-95BB2BFC241B}"/>
              </a:ext>
            </a:extLst>
          </p:cNvPr>
          <p:cNvGraphicFramePr>
            <a:graphicFrameLocks noChangeAspect="1"/>
          </p:cNvGraphicFramePr>
          <p:nvPr>
            <p:extLst>
              <p:ext uri="{D42A27DB-BD31-4B8C-83A1-F6EECF244321}">
                <p14:modId xmlns:p14="http://schemas.microsoft.com/office/powerpoint/2010/main" xmlns="" val="1677207035"/>
              </p:ext>
            </p:extLst>
          </p:nvPr>
        </p:nvGraphicFramePr>
        <p:xfrm>
          <a:off x="1588" y="1588"/>
          <a:ext cx="1588" cy="1588"/>
        </p:xfrm>
        <a:graphic>
          <a:graphicData uri="http://schemas.openxmlformats.org/presentationml/2006/ole">
            <p:oleObj spid="_x0000_s29705" name="think-cell Folie" r:id="rId4" imgW="360" imgH="360" progId="">
              <p:embed/>
            </p:oleObj>
          </a:graphicData>
        </a:graphic>
      </p:graphicFrame>
      <p:sp>
        <p:nvSpPr>
          <p:cNvPr id="5" name="Rechteck 4" hidden="1">
            <a:extLst>
              <a:ext uri="{FF2B5EF4-FFF2-40B4-BE49-F238E27FC236}">
                <a16:creationId xmlns:a16="http://schemas.microsoft.com/office/drawing/2014/main" xmlns="" id="{5D2A4EBB-AB1A-4C13-8DFB-1EFDCF9B7974}"/>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i="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sz="3000" dirty="0"/>
              <a:t>Wie resilient war eigentlich </a:t>
            </a:r>
            <a:r>
              <a:rPr lang="de-AT" sz="3000" i="1" dirty="0">
                <a:solidFill>
                  <a:schemeClr val="bg1">
                    <a:lumMod val="50000"/>
                  </a:schemeClr>
                </a:solidFill>
              </a:rPr>
              <a:t>Steve Jobs </a:t>
            </a:r>
            <a:r>
              <a:rPr lang="de-AT" sz="3000" dirty="0"/>
              <a:t>?</a:t>
            </a:r>
          </a:p>
        </p:txBody>
      </p:sp>
      <p:sp>
        <p:nvSpPr>
          <p:cNvPr id="3" name="Inhaltsplatzhalter 2"/>
          <p:cNvSpPr>
            <a:spLocks noGrp="1"/>
          </p:cNvSpPr>
          <p:nvPr>
            <p:ph idx="1"/>
          </p:nvPr>
        </p:nvSpPr>
        <p:spPr>
          <a:xfrm>
            <a:off x="457200" y="1056322"/>
            <a:ext cx="8229600" cy="4525963"/>
          </a:xfrm>
        </p:spPr>
        <p:txBody>
          <a:bodyPr/>
          <a:lstStyle/>
          <a:p>
            <a:pPr lvl="0"/>
            <a:r>
              <a:rPr lang="de-AT" sz="2200" dirty="0">
                <a:solidFill>
                  <a:prstClr val="black"/>
                </a:solidFill>
              </a:rPr>
              <a:t>Extreme Persönlichkeit: Wutanfälle &amp; Bewunderung für andere, Kontrollwahn &amp; Perfektionismus, Streben nach etwas Besonderem</a:t>
            </a:r>
          </a:p>
          <a:p>
            <a:pPr lvl="0"/>
            <a:r>
              <a:rPr lang="de-AT" sz="2200" dirty="0">
                <a:solidFill>
                  <a:prstClr val="black"/>
                </a:solidFill>
              </a:rPr>
              <a:t>Micro-Management: Hauptgrund für Erfolg &amp; treibt MA in den Wahnsinn</a:t>
            </a:r>
          </a:p>
          <a:p>
            <a:pPr lvl="0">
              <a:buNone/>
            </a:pPr>
            <a:r>
              <a:rPr lang="de-AT" sz="2400" b="1" i="1" dirty="0">
                <a:solidFill>
                  <a:prstClr val="black"/>
                </a:solidFill>
              </a:rPr>
              <a:t>Stark ausgeprägte Faktoren:</a:t>
            </a:r>
          </a:p>
          <a:p>
            <a:pPr marL="0" indent="0">
              <a:buNone/>
            </a:pPr>
            <a:endParaRPr lang="de-AT" dirty="0"/>
          </a:p>
        </p:txBody>
      </p:sp>
      <p:sp>
        <p:nvSpPr>
          <p:cNvPr id="4" name="Ellipse 3"/>
          <p:cNvSpPr>
            <a:spLocks/>
          </p:cNvSpPr>
          <p:nvPr/>
        </p:nvSpPr>
        <p:spPr>
          <a:xfrm>
            <a:off x="179512" y="3501008"/>
            <a:ext cx="2194560" cy="219456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Optimismus</a:t>
            </a:r>
          </a:p>
        </p:txBody>
      </p:sp>
      <p:sp>
        <p:nvSpPr>
          <p:cNvPr id="9" name="Ellipse 3">
            <a:extLst>
              <a:ext uri="{FF2B5EF4-FFF2-40B4-BE49-F238E27FC236}">
                <a16:creationId xmlns:a16="http://schemas.microsoft.com/office/drawing/2014/main" xmlns="" id="{C81B46CA-56C3-4356-AC29-8BE484DE2FB8}"/>
              </a:ext>
            </a:extLst>
          </p:cNvPr>
          <p:cNvSpPr/>
          <p:nvPr/>
        </p:nvSpPr>
        <p:spPr>
          <a:xfrm>
            <a:off x="2555776" y="4221088"/>
            <a:ext cx="2194560" cy="219456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Lösungs-orientierung</a:t>
            </a:r>
          </a:p>
        </p:txBody>
      </p:sp>
      <p:sp>
        <p:nvSpPr>
          <p:cNvPr id="10" name="Ellipse 3">
            <a:extLst>
              <a:ext uri="{FF2B5EF4-FFF2-40B4-BE49-F238E27FC236}">
                <a16:creationId xmlns:a16="http://schemas.microsoft.com/office/drawing/2014/main" xmlns="" id="{DD3A6377-B6F6-4513-83A4-ACAA5903E177}"/>
              </a:ext>
            </a:extLst>
          </p:cNvPr>
          <p:cNvSpPr/>
          <p:nvPr/>
        </p:nvSpPr>
        <p:spPr>
          <a:xfrm>
            <a:off x="4644008" y="3068960"/>
            <a:ext cx="2194560" cy="219456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Opferrolle verlassen</a:t>
            </a:r>
          </a:p>
        </p:txBody>
      </p:sp>
      <p:sp>
        <p:nvSpPr>
          <p:cNvPr id="11" name="Ellipse 3">
            <a:extLst>
              <a:ext uri="{FF2B5EF4-FFF2-40B4-BE49-F238E27FC236}">
                <a16:creationId xmlns:a16="http://schemas.microsoft.com/office/drawing/2014/main" xmlns="" id="{2F8E42FD-1563-4E7A-8287-BB55D2C47121}"/>
              </a:ext>
            </a:extLst>
          </p:cNvPr>
          <p:cNvSpPr/>
          <p:nvPr/>
        </p:nvSpPr>
        <p:spPr>
          <a:xfrm>
            <a:off x="6804248" y="4005064"/>
            <a:ext cx="2194560" cy="219456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Zukunfts-</a:t>
            </a:r>
            <a:r>
              <a:rPr lang="de-AT" sz="2000" dirty="0" err="1">
                <a:latin typeface="Tahoma" panose="020B0604030504040204" pitchFamily="34" charset="0"/>
                <a:ea typeface="Tahoma" panose="020B0604030504040204" pitchFamily="34" charset="0"/>
                <a:cs typeface="Tahoma" panose="020B0604030504040204" pitchFamily="34" charset="0"/>
              </a:rPr>
              <a:t>orientierung</a:t>
            </a:r>
            <a:endParaRPr lang="de-AT"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xmlns="" val="1532246001"/>
      </p:ext>
    </p:extLst>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linds(horizont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blinds(horizontal)">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animEffect transition="in" filter="blinds(horizontal)">
                                      <p:cBhvr>
                                        <p:cTn id="17" dur="500"/>
                                        <p:tgtEl>
                                          <p:spTgt spid="10">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1">
                                            <p:txEl>
                                              <p:pRg st="0" end="0"/>
                                            </p:txEl>
                                          </p:spTgt>
                                        </p:tgtEl>
                                        <p:attrNameLst>
                                          <p:attrName>style.visibility</p:attrName>
                                        </p:attrNameLst>
                                      </p:cBhvr>
                                      <p:to>
                                        <p:strVal val="visible"/>
                                      </p:to>
                                    </p:set>
                                    <p:animEffect transition="in" filter="blinds(horizontal)">
                                      <p:cBhvr>
                                        <p:cTn id="22"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641B23CF-E86F-4041-A8B8-B9D3BE045DA6}"/>
              </a:ext>
            </a:extLst>
          </p:cNvPr>
          <p:cNvGraphicFramePr>
            <a:graphicFrameLocks noChangeAspect="1"/>
          </p:cNvGraphicFramePr>
          <p:nvPr>
            <p:extLst>
              <p:ext uri="{D42A27DB-BD31-4B8C-83A1-F6EECF244321}">
                <p14:modId xmlns:p14="http://schemas.microsoft.com/office/powerpoint/2010/main" xmlns="" val="698170342"/>
              </p:ext>
            </p:extLst>
          </p:nvPr>
        </p:nvGraphicFramePr>
        <p:xfrm>
          <a:off x="1588" y="1588"/>
          <a:ext cx="1588" cy="1588"/>
        </p:xfrm>
        <a:graphic>
          <a:graphicData uri="http://schemas.openxmlformats.org/presentationml/2006/ole">
            <p:oleObj spid="_x0000_s5129" name="think-cell Folie" r:id="rId4" imgW="360" imgH="360" progId="">
              <p:embed/>
            </p:oleObj>
          </a:graphicData>
        </a:graphic>
      </p:graphicFrame>
      <p:sp>
        <p:nvSpPr>
          <p:cNvPr id="4" name="Rechteck 3" hidden="1">
            <a:extLst>
              <a:ext uri="{FF2B5EF4-FFF2-40B4-BE49-F238E27FC236}">
                <a16:creationId xmlns:a16="http://schemas.microsoft.com/office/drawing/2014/main" xmlns="" id="{40D81510-F8AE-481F-BFBD-1CF89866BD3A}"/>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b="1" dirty="0">
                <a:solidFill>
                  <a:schemeClr val="accent1"/>
                </a:solidFill>
              </a:rPr>
              <a:t>Arbeit 4.0</a:t>
            </a:r>
          </a:p>
        </p:txBody>
      </p:sp>
      <p:sp>
        <p:nvSpPr>
          <p:cNvPr id="3" name="Inhaltsplatzhalter 2"/>
          <p:cNvSpPr>
            <a:spLocks noGrp="1"/>
          </p:cNvSpPr>
          <p:nvPr>
            <p:ph idx="1"/>
          </p:nvPr>
        </p:nvSpPr>
        <p:spPr/>
        <p:txBody>
          <a:bodyPr>
            <a:normAutofit/>
          </a:bodyPr>
          <a:lstStyle/>
          <a:p>
            <a:endParaRPr lang="de-AT" sz="2400" dirty="0"/>
          </a:p>
          <a:p>
            <a:r>
              <a:rPr lang="de-AT" sz="2400" dirty="0"/>
              <a:t>Arbeit 4.0 / Industrie 4.0 = vierte industrielle Revolution als digitale Revolution</a:t>
            </a:r>
          </a:p>
          <a:p>
            <a:r>
              <a:rPr lang="de-AT" sz="2400" dirty="0"/>
              <a:t>Digitalisierung als sozio-technisches System (Veränderung von Wertschöpfungsprozessen und Anforderungen menschlicher Arbeit)</a:t>
            </a:r>
          </a:p>
          <a:p>
            <a:r>
              <a:rPr lang="de-AT" sz="2400" dirty="0">
                <a:sym typeface="Wingdings" pitchFamily="2" charset="2"/>
              </a:rPr>
              <a:t>Höhere Intensität und Schnelllebigkeit des weltweiten Wettbewerbs, virtuelle Zusammenarbeit</a:t>
            </a:r>
            <a:endParaRPr lang="de-AT" sz="2400" dirty="0"/>
          </a:p>
        </p:txBody>
      </p:sp>
    </p:spTree>
  </p:cSld>
  <p:clrMapOvr>
    <a:masterClrMapping/>
  </p:clrMapOvr>
  <p:transition spd="slow">
    <p:pull dir="d"/>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EF5295D0-34F1-4A50-979E-748388EC3EEF}"/>
              </a:ext>
            </a:extLst>
          </p:cNvPr>
          <p:cNvGraphicFramePr>
            <a:graphicFrameLocks noChangeAspect="1"/>
          </p:cNvGraphicFramePr>
          <p:nvPr>
            <p:extLst>
              <p:ext uri="{D42A27DB-BD31-4B8C-83A1-F6EECF244321}">
                <p14:modId xmlns:p14="http://schemas.microsoft.com/office/powerpoint/2010/main" xmlns="" val="1495605837"/>
              </p:ext>
            </p:extLst>
          </p:nvPr>
        </p:nvGraphicFramePr>
        <p:xfrm>
          <a:off x="1588" y="1588"/>
          <a:ext cx="1588" cy="1588"/>
        </p:xfrm>
        <a:graphic>
          <a:graphicData uri="http://schemas.openxmlformats.org/presentationml/2006/ole">
            <p:oleObj spid="_x0000_s30729" name="think-cell Folie" r:id="rId4" imgW="360" imgH="360" progId="">
              <p:embed/>
            </p:oleObj>
          </a:graphicData>
        </a:graphic>
      </p:graphicFrame>
      <p:sp>
        <p:nvSpPr>
          <p:cNvPr id="5" name="Rechteck 4" hidden="1">
            <a:extLst>
              <a:ext uri="{FF2B5EF4-FFF2-40B4-BE49-F238E27FC236}">
                <a16:creationId xmlns:a16="http://schemas.microsoft.com/office/drawing/2014/main" xmlns="" id="{55E41F99-CC6A-4F48-853C-6FD87254E902}"/>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i="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000" dirty="0"/>
              <a:t>Wie resilient war eigentlich </a:t>
            </a:r>
            <a:r>
              <a:rPr lang="de-AT" sz="3000" i="1" dirty="0">
                <a:solidFill>
                  <a:schemeClr val="bg1">
                    <a:lumMod val="50000"/>
                  </a:schemeClr>
                </a:solidFill>
              </a:rPr>
              <a:t>Steve Jobs </a:t>
            </a:r>
            <a:r>
              <a:rPr lang="de-AT" sz="3000" dirty="0"/>
              <a:t>?</a:t>
            </a:r>
          </a:p>
        </p:txBody>
      </p:sp>
      <p:sp>
        <p:nvSpPr>
          <p:cNvPr id="3" name="Inhaltsplatzhalter 2"/>
          <p:cNvSpPr>
            <a:spLocks noGrp="1"/>
          </p:cNvSpPr>
          <p:nvPr>
            <p:ph idx="1"/>
          </p:nvPr>
        </p:nvSpPr>
        <p:spPr/>
        <p:txBody>
          <a:bodyPr/>
          <a:lstStyle/>
          <a:p>
            <a:pPr marL="0" indent="0">
              <a:buNone/>
            </a:pPr>
            <a:r>
              <a:rPr lang="de-AT" sz="2400" b="1" i="1" dirty="0"/>
              <a:t>Schwach ausgeprägte Faktoren:</a:t>
            </a:r>
          </a:p>
          <a:p>
            <a:pPr marL="0" indent="0">
              <a:buNone/>
            </a:pPr>
            <a:endParaRPr lang="de-AT" dirty="0"/>
          </a:p>
        </p:txBody>
      </p:sp>
      <p:sp>
        <p:nvSpPr>
          <p:cNvPr id="4" name="Rechteck 3"/>
          <p:cNvSpPr>
            <a:spLocks/>
          </p:cNvSpPr>
          <p:nvPr/>
        </p:nvSpPr>
        <p:spPr>
          <a:xfrm>
            <a:off x="539552" y="2564904"/>
            <a:ext cx="2743200" cy="15544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Akzeptanz</a:t>
            </a:r>
          </a:p>
        </p:txBody>
      </p:sp>
      <p:sp>
        <p:nvSpPr>
          <p:cNvPr id="7" name="Rechteck 3">
            <a:extLst>
              <a:ext uri="{FF2B5EF4-FFF2-40B4-BE49-F238E27FC236}">
                <a16:creationId xmlns:a16="http://schemas.microsoft.com/office/drawing/2014/main" xmlns="" id="{81E14556-C71E-46FC-9DB3-F27E58A761E5}"/>
              </a:ext>
            </a:extLst>
          </p:cNvPr>
          <p:cNvSpPr/>
          <p:nvPr/>
        </p:nvSpPr>
        <p:spPr>
          <a:xfrm>
            <a:off x="2843808" y="4365104"/>
            <a:ext cx="2743200" cy="15544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Verantwortung übernehmen</a:t>
            </a:r>
          </a:p>
        </p:txBody>
      </p:sp>
      <p:sp>
        <p:nvSpPr>
          <p:cNvPr id="8" name="Rechteck 3">
            <a:extLst>
              <a:ext uri="{FF2B5EF4-FFF2-40B4-BE49-F238E27FC236}">
                <a16:creationId xmlns:a16="http://schemas.microsoft.com/office/drawing/2014/main" xmlns="" id="{4123158B-551E-43A7-B1AF-B4CBB0D55E61}"/>
              </a:ext>
            </a:extLst>
          </p:cNvPr>
          <p:cNvSpPr/>
          <p:nvPr/>
        </p:nvSpPr>
        <p:spPr>
          <a:xfrm>
            <a:off x="5724128" y="2996952"/>
            <a:ext cx="2743200" cy="15544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AT" sz="2000" dirty="0">
                <a:latin typeface="Tahoma" panose="020B0604030504040204" pitchFamily="34" charset="0"/>
                <a:ea typeface="Tahoma" panose="020B0604030504040204" pitchFamily="34" charset="0"/>
                <a:cs typeface="Tahoma" panose="020B0604030504040204" pitchFamily="34" charset="0"/>
              </a:rPr>
              <a:t>Netzwerkorientierung</a:t>
            </a:r>
          </a:p>
        </p:txBody>
      </p:sp>
    </p:spTree>
    <p:extLst>
      <p:ext uri="{BB962C8B-B14F-4D97-AF65-F5344CB8AC3E}">
        <p14:creationId xmlns:p14="http://schemas.microsoft.com/office/powerpoint/2010/main" xmlns="" val="994822241"/>
      </p:ext>
    </p:extLst>
  </p:cSld>
  <p:clrMapOvr>
    <a:masterClrMapping/>
  </p:clrMapOvr>
  <p:transition spd="slow">
    <p:pull dir="d"/>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4811A806-D4CE-4500-B0E6-59E4E02DF1DE}"/>
              </a:ext>
            </a:extLst>
          </p:cNvPr>
          <p:cNvGraphicFramePr>
            <a:graphicFrameLocks noChangeAspect="1"/>
          </p:cNvGraphicFramePr>
          <p:nvPr>
            <p:extLst>
              <p:ext uri="{D42A27DB-BD31-4B8C-83A1-F6EECF244321}">
                <p14:modId xmlns:p14="http://schemas.microsoft.com/office/powerpoint/2010/main" xmlns="" val="2373815053"/>
              </p:ext>
            </p:extLst>
          </p:nvPr>
        </p:nvGraphicFramePr>
        <p:xfrm>
          <a:off x="1588" y="1588"/>
          <a:ext cx="1588" cy="1588"/>
        </p:xfrm>
        <a:graphic>
          <a:graphicData uri="http://schemas.openxmlformats.org/presentationml/2006/ole">
            <p:oleObj spid="_x0000_s31753" name="think-cell Folie" r:id="rId3" imgW="360" imgH="360" progId="">
              <p:embed/>
            </p:oleObj>
          </a:graphicData>
        </a:graphic>
      </p:graphicFrame>
      <p:sp>
        <p:nvSpPr>
          <p:cNvPr id="2" name="Titel 1"/>
          <p:cNvSpPr>
            <a:spLocks noGrp="1"/>
          </p:cNvSpPr>
          <p:nvPr>
            <p:ph type="title"/>
          </p:nvPr>
        </p:nvSpPr>
        <p:spPr/>
        <p:txBody>
          <a:bodyPr>
            <a:normAutofit/>
          </a:bodyPr>
          <a:lstStyle/>
          <a:p>
            <a:r>
              <a:rPr lang="de-AT" sz="3600" dirty="0"/>
              <a:t>Wie </a:t>
            </a:r>
            <a:r>
              <a:rPr lang="de-AT" sz="3600" dirty="0" err="1"/>
              <a:t>resilient</a:t>
            </a:r>
            <a:r>
              <a:rPr lang="de-AT" sz="3600" dirty="0"/>
              <a:t> bin ich?</a:t>
            </a:r>
          </a:p>
        </p:txBody>
      </p:sp>
      <p:sp>
        <p:nvSpPr>
          <p:cNvPr id="3" name="Inhaltsplatzhalter 2"/>
          <p:cNvSpPr>
            <a:spLocks noGrp="1"/>
          </p:cNvSpPr>
          <p:nvPr>
            <p:ph idx="1"/>
          </p:nvPr>
        </p:nvSpPr>
        <p:spPr/>
        <p:txBody>
          <a:bodyPr>
            <a:normAutofit/>
          </a:bodyPr>
          <a:lstStyle/>
          <a:p>
            <a:pPr>
              <a:buNone/>
            </a:pPr>
            <a:r>
              <a:rPr lang="de-AT" sz="1400" dirty="0"/>
              <a:t>		 </a:t>
            </a:r>
            <a:r>
              <a:rPr lang="de-AT" sz="1600" dirty="0"/>
              <a:t>Optimismus		Lösungsorientierung					Opferrolle verlassen</a:t>
            </a:r>
          </a:p>
          <a:p>
            <a:pPr>
              <a:buNone/>
            </a:pPr>
            <a:endParaRPr lang="de-AT" sz="1600" dirty="0"/>
          </a:p>
          <a:p>
            <a:pPr>
              <a:buNone/>
            </a:pPr>
            <a:r>
              <a:rPr lang="de-AT" sz="1600" dirty="0"/>
              <a:t>				</a:t>
            </a:r>
          </a:p>
          <a:p>
            <a:pPr>
              <a:buNone/>
            </a:pPr>
            <a:r>
              <a:rPr lang="de-AT" sz="1600" dirty="0"/>
              <a:t>			Zukunftsorientierung			           Verantwortung übernehmen</a:t>
            </a:r>
          </a:p>
          <a:p>
            <a:pPr>
              <a:buNone/>
            </a:pPr>
            <a:endParaRPr lang="de-AT" sz="1600" dirty="0"/>
          </a:p>
          <a:p>
            <a:pPr>
              <a:buNone/>
            </a:pPr>
            <a:endParaRPr lang="de-AT" sz="1600" dirty="0"/>
          </a:p>
          <a:p>
            <a:pPr>
              <a:buNone/>
            </a:pPr>
            <a:r>
              <a:rPr lang="de-AT" sz="1600" dirty="0"/>
              <a:t>					      Akzeptanz			Netzwerkorientierung</a:t>
            </a:r>
          </a:p>
          <a:p>
            <a:pPr algn="ctr">
              <a:buNone/>
            </a:pPr>
            <a:endParaRPr lang="de-AT" sz="3600" dirty="0"/>
          </a:p>
          <a:p>
            <a:pPr algn="ctr">
              <a:buNone/>
            </a:pPr>
            <a:r>
              <a:rPr lang="de-AT" sz="3200" b="1" i="1" dirty="0">
                <a:solidFill>
                  <a:schemeClr val="bg1">
                    <a:lumMod val="50000"/>
                  </a:schemeClr>
                </a:solidFill>
              </a:rPr>
              <a:t>Wie viel von Steve Jobs steckt in mir?</a:t>
            </a:r>
          </a:p>
          <a:p>
            <a:pPr>
              <a:buNone/>
            </a:pPr>
            <a:endParaRPr lang="de-AT" sz="1600" dirty="0"/>
          </a:p>
          <a:p>
            <a:pPr>
              <a:buNone/>
            </a:pPr>
            <a:r>
              <a:rPr lang="de-AT" sz="1600" dirty="0"/>
              <a:t>						</a:t>
            </a:r>
          </a:p>
          <a:p>
            <a:pPr>
              <a:buNone/>
            </a:pPr>
            <a:r>
              <a:rPr lang="de-AT" sz="1600" dirty="0"/>
              <a:t>						</a:t>
            </a:r>
          </a:p>
          <a:p>
            <a:pPr>
              <a:buNone/>
            </a:pPr>
            <a:endParaRPr lang="de-AT" sz="3600" dirty="0"/>
          </a:p>
        </p:txBody>
      </p:sp>
    </p:spTree>
  </p:cSld>
  <p:clrMapOvr>
    <a:masterClrMapping/>
  </p:clrMapOvr>
  <p:transition spd="slow">
    <p:pull dir="d"/>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E832083C-941A-4111-862A-87FCA8921E69}"/>
              </a:ext>
            </a:extLst>
          </p:cNvPr>
          <p:cNvGraphicFramePr>
            <a:graphicFrameLocks noChangeAspect="1"/>
          </p:cNvGraphicFramePr>
          <p:nvPr>
            <p:extLst>
              <p:ext uri="{D42A27DB-BD31-4B8C-83A1-F6EECF244321}">
                <p14:modId xmlns:p14="http://schemas.microsoft.com/office/powerpoint/2010/main" xmlns="" val="1241285461"/>
              </p:ext>
            </p:extLst>
          </p:nvPr>
        </p:nvGraphicFramePr>
        <p:xfrm>
          <a:off x="1588" y="1588"/>
          <a:ext cx="1588" cy="1588"/>
        </p:xfrm>
        <a:graphic>
          <a:graphicData uri="http://schemas.openxmlformats.org/presentationml/2006/ole">
            <p:oleObj spid="_x0000_s32777" name="think-cell Folie" r:id="rId4" imgW="360" imgH="360" progId="">
              <p:embed/>
            </p:oleObj>
          </a:graphicData>
        </a:graphic>
      </p:graphicFrame>
      <p:sp>
        <p:nvSpPr>
          <p:cNvPr id="5" name="Rechteck 4" hidden="1">
            <a:extLst>
              <a:ext uri="{FF2B5EF4-FFF2-40B4-BE49-F238E27FC236}">
                <a16:creationId xmlns:a16="http://schemas.microsoft.com/office/drawing/2014/main" xmlns="" id="{3FC083CA-9CB3-4B61-A443-6F5A0B5678DC}"/>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i="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600" dirty="0"/>
              <a:t>Was bedeutet </a:t>
            </a:r>
            <a:r>
              <a:rPr lang="de-AT" sz="3600" i="1" dirty="0">
                <a:solidFill>
                  <a:schemeClr val="bg1">
                    <a:lumMod val="50000"/>
                  </a:schemeClr>
                </a:solidFill>
              </a:rPr>
              <a:t>gelebte organisationale Resilienz </a:t>
            </a:r>
            <a:r>
              <a:rPr lang="de-AT" sz="3600" dirty="0"/>
              <a:t>?</a:t>
            </a:r>
            <a:r>
              <a:rPr lang="de-AT" dirty="0"/>
              <a:t/>
            </a:r>
            <a:br>
              <a:rPr lang="de-AT" dirty="0"/>
            </a:br>
            <a:endParaRPr lang="de-AT" dirty="0"/>
          </a:p>
        </p:txBody>
      </p:sp>
      <p:sp>
        <p:nvSpPr>
          <p:cNvPr id="3" name="Inhaltsplatzhalter 2"/>
          <p:cNvSpPr>
            <a:spLocks noGrp="1"/>
          </p:cNvSpPr>
          <p:nvPr>
            <p:ph idx="1"/>
          </p:nvPr>
        </p:nvSpPr>
        <p:spPr>
          <a:xfrm>
            <a:off x="451658" y="1600200"/>
            <a:ext cx="8296806" cy="4316725"/>
          </a:xfrm>
        </p:spPr>
        <p:txBody>
          <a:bodyPr>
            <a:normAutofit/>
          </a:bodyPr>
          <a:lstStyle/>
          <a:p>
            <a:r>
              <a:rPr lang="de-AT" sz="2400" dirty="0"/>
              <a:t>Wichtig: Achtsamkeit, und in guten Zeiten Resilienz stärken.</a:t>
            </a:r>
          </a:p>
          <a:p>
            <a:pPr marL="0" indent="0">
              <a:buNone/>
            </a:pPr>
            <a:endParaRPr lang="de-AT" dirty="0"/>
          </a:p>
        </p:txBody>
      </p:sp>
      <p:graphicFrame>
        <p:nvGraphicFramePr>
          <p:cNvPr id="4" name="Diagramm 3"/>
          <p:cNvGraphicFramePr/>
          <p:nvPr>
            <p:extLst>
              <p:ext uri="{D42A27DB-BD31-4B8C-83A1-F6EECF244321}">
                <p14:modId xmlns:p14="http://schemas.microsoft.com/office/powerpoint/2010/main" xmlns="" val="1886755393"/>
              </p:ext>
            </p:extLst>
          </p:nvPr>
        </p:nvGraphicFramePr>
        <p:xfrm>
          <a:off x="179512" y="2204864"/>
          <a:ext cx="8712968"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Sld>
  <p:clrMapOvr>
    <a:masterClrMapping/>
  </p:clrMapOvr>
  <p:transition spd="slow">
    <p:pull dir="d"/>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E0FF6A0C-B669-417F-A686-17DCB0198C6A}"/>
              </a:ext>
            </a:extLst>
          </p:cNvPr>
          <p:cNvGraphicFramePr>
            <a:graphicFrameLocks noChangeAspect="1"/>
          </p:cNvGraphicFramePr>
          <p:nvPr>
            <p:extLst>
              <p:ext uri="{D42A27DB-BD31-4B8C-83A1-F6EECF244321}">
                <p14:modId xmlns:p14="http://schemas.microsoft.com/office/powerpoint/2010/main" xmlns="" val="1039046202"/>
              </p:ext>
            </p:extLst>
          </p:nvPr>
        </p:nvGraphicFramePr>
        <p:xfrm>
          <a:off x="1588" y="1588"/>
          <a:ext cx="1588" cy="1588"/>
        </p:xfrm>
        <a:graphic>
          <a:graphicData uri="http://schemas.openxmlformats.org/presentationml/2006/ole">
            <p:oleObj spid="_x0000_s33801" name="think-cell Folie" r:id="rId4" imgW="360" imgH="360" progId="">
              <p:embed/>
            </p:oleObj>
          </a:graphicData>
        </a:graphic>
      </p:graphicFrame>
      <p:sp>
        <p:nvSpPr>
          <p:cNvPr id="4" name="Rechteck 3" hidden="1">
            <a:extLst>
              <a:ext uri="{FF2B5EF4-FFF2-40B4-BE49-F238E27FC236}">
                <a16:creationId xmlns:a16="http://schemas.microsoft.com/office/drawing/2014/main" xmlns="" id="{47D09AAC-65C0-4545-914F-58953E3E1BB7}"/>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600" dirty="0"/>
              <a:t>Merkmale </a:t>
            </a:r>
            <a:r>
              <a:rPr lang="de-AT" sz="3600" dirty="0" err="1"/>
              <a:t>resilienter</a:t>
            </a:r>
            <a:r>
              <a:rPr lang="de-AT" sz="3600" dirty="0"/>
              <a:t> Organisationen</a:t>
            </a:r>
            <a:r>
              <a:rPr lang="de-AT" dirty="0"/>
              <a:t/>
            </a:r>
            <a:br>
              <a:rPr lang="de-AT" dirty="0"/>
            </a:br>
            <a:endParaRPr lang="de-AT" dirty="0"/>
          </a:p>
        </p:txBody>
      </p:sp>
      <p:sp>
        <p:nvSpPr>
          <p:cNvPr id="3" name="Inhaltsplatzhalter 2"/>
          <p:cNvSpPr>
            <a:spLocks noGrp="1"/>
          </p:cNvSpPr>
          <p:nvPr>
            <p:ph idx="1"/>
          </p:nvPr>
        </p:nvSpPr>
        <p:spPr/>
        <p:txBody>
          <a:bodyPr>
            <a:normAutofit lnSpcReduction="10000"/>
          </a:bodyPr>
          <a:lstStyle/>
          <a:p>
            <a:pPr marL="514350" indent="-514350">
              <a:buAutoNum type="arabicPeriod"/>
            </a:pPr>
            <a:r>
              <a:rPr lang="de-AT" sz="2400" dirty="0"/>
              <a:t>Optimismus (positive konstruktive Haltung)</a:t>
            </a:r>
          </a:p>
          <a:p>
            <a:pPr marL="514350" indent="-514350">
              <a:buNone/>
            </a:pPr>
            <a:r>
              <a:rPr lang="de-AT" sz="2400" dirty="0"/>
              <a:t>2.   Akzeptanz (Vision, Einfallsreichtum)</a:t>
            </a:r>
          </a:p>
          <a:p>
            <a:pPr marL="514350" indent="-514350">
              <a:buAutoNum type="arabicPeriod" startAt="3"/>
            </a:pPr>
            <a:r>
              <a:rPr lang="de-AT" sz="2400" dirty="0"/>
              <a:t>Lösungsorientierung </a:t>
            </a:r>
          </a:p>
          <a:p>
            <a:pPr marL="514350" indent="-514350">
              <a:buAutoNum type="arabicPeriod" startAt="3"/>
            </a:pPr>
            <a:r>
              <a:rPr lang="de-AT" sz="2400" dirty="0"/>
              <a:t>die Opferrolle verlassen (schnelles Verarbeiten von Feedback)</a:t>
            </a:r>
          </a:p>
          <a:p>
            <a:pPr marL="514350" indent="-514350">
              <a:buAutoNum type="arabicPeriod" startAt="3"/>
            </a:pPr>
            <a:r>
              <a:rPr lang="de-AT" sz="2400" dirty="0"/>
              <a:t>Verantwortung übernehmen (Fehler als Lernchance, Risikobereitschaft)</a:t>
            </a:r>
          </a:p>
          <a:p>
            <a:pPr marL="514350" indent="-514350">
              <a:buAutoNum type="arabicPeriod" startAt="3"/>
            </a:pPr>
            <a:r>
              <a:rPr lang="de-AT" sz="2400" dirty="0"/>
              <a:t>Netzwerkorientierung </a:t>
            </a:r>
          </a:p>
          <a:p>
            <a:pPr marL="514350" indent="-514350">
              <a:buAutoNum type="arabicPeriod" startAt="3"/>
            </a:pPr>
            <a:r>
              <a:rPr lang="de-AT" sz="2400" dirty="0"/>
              <a:t>Zukunftsorientierung (stärkenbasierte </a:t>
            </a:r>
            <a:r>
              <a:rPr lang="de-AT" sz="2400" dirty="0" err="1"/>
              <a:t>Recruitingprozesse</a:t>
            </a:r>
            <a:r>
              <a:rPr lang="de-AT" sz="2400" dirty="0"/>
              <a:t>, starke Führungskräfte auf unterschiedlichen Ebenen)</a:t>
            </a:r>
          </a:p>
          <a:p>
            <a:pPr marL="514350" indent="-514350">
              <a:buAutoNum type="arabicPeriod" startAt="3"/>
            </a:pPr>
            <a:endParaRPr lang="de-AT" dirty="0"/>
          </a:p>
          <a:p>
            <a:endParaRPr lang="de-AT" dirty="0"/>
          </a:p>
          <a:p>
            <a:endParaRPr lang="de-AT" dirty="0"/>
          </a:p>
        </p:txBody>
      </p:sp>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linds(horizont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linds(horizontal)">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linds(horizont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linds(horizont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blinds(horizontal)">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blinds(horizontal)">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9F42FB5D-21E4-49E1-BD27-0238A700852F}"/>
              </a:ext>
            </a:extLst>
          </p:cNvPr>
          <p:cNvGraphicFramePr>
            <a:graphicFrameLocks noChangeAspect="1"/>
          </p:cNvGraphicFramePr>
          <p:nvPr>
            <p:extLst>
              <p:ext uri="{D42A27DB-BD31-4B8C-83A1-F6EECF244321}">
                <p14:modId xmlns:p14="http://schemas.microsoft.com/office/powerpoint/2010/main" xmlns="" val="2905873469"/>
              </p:ext>
            </p:extLst>
          </p:nvPr>
        </p:nvGraphicFramePr>
        <p:xfrm>
          <a:off x="1588" y="1588"/>
          <a:ext cx="1588" cy="1588"/>
        </p:xfrm>
        <a:graphic>
          <a:graphicData uri="http://schemas.openxmlformats.org/presentationml/2006/ole">
            <p:oleObj spid="_x0000_s34825" name="think-cell Folie" r:id="rId4" imgW="360" imgH="360" progId="">
              <p:embed/>
            </p:oleObj>
          </a:graphicData>
        </a:graphic>
      </p:graphicFrame>
      <p:sp>
        <p:nvSpPr>
          <p:cNvPr id="4" name="Rechteck 3" hidden="1">
            <a:extLst>
              <a:ext uri="{FF2B5EF4-FFF2-40B4-BE49-F238E27FC236}">
                <a16:creationId xmlns:a16="http://schemas.microsoft.com/office/drawing/2014/main" xmlns="" id="{7E31BDB5-035C-4092-8DCF-6B38533227E8}"/>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dirty="0"/>
              <a:t>Wann kommt es zu organisationalem Burnout?</a:t>
            </a:r>
          </a:p>
        </p:txBody>
      </p:sp>
      <p:sp>
        <p:nvSpPr>
          <p:cNvPr id="3" name="Inhaltsplatzhalter 2"/>
          <p:cNvSpPr>
            <a:spLocks noGrp="1"/>
          </p:cNvSpPr>
          <p:nvPr>
            <p:ph idx="1"/>
          </p:nvPr>
        </p:nvSpPr>
        <p:spPr/>
        <p:txBody>
          <a:bodyPr>
            <a:normAutofit/>
          </a:bodyPr>
          <a:lstStyle/>
          <a:p>
            <a:endParaRPr lang="de-AT" dirty="0"/>
          </a:p>
          <a:p>
            <a:r>
              <a:rPr lang="de-AT" sz="2400" dirty="0"/>
              <a:t>festhalten an bestehenden Lösungen</a:t>
            </a:r>
          </a:p>
          <a:p>
            <a:r>
              <a:rPr lang="de-AT" sz="2400" dirty="0"/>
              <a:t>kraftlose Führung</a:t>
            </a:r>
          </a:p>
          <a:p>
            <a:r>
              <a:rPr lang="de-AT" sz="2400" dirty="0"/>
              <a:t>Unausgewogenheit von Kreativität und Stabilität </a:t>
            </a:r>
          </a:p>
          <a:p>
            <a:r>
              <a:rPr lang="de-AT" sz="2400" dirty="0"/>
              <a:t>Verlust von Know-how und Engagement</a:t>
            </a:r>
          </a:p>
          <a:p>
            <a:endParaRPr lang="de-AT" sz="2400" dirty="0"/>
          </a:p>
        </p:txBody>
      </p:sp>
    </p:spTree>
  </p:cSld>
  <p:clrMapOvr>
    <a:masterClrMapping/>
  </p:clrMapOvr>
  <p:transition spd="slow">
    <p:pull dir="d"/>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EF5CC3FA-391E-47CB-B02A-9D9E10E97305}"/>
              </a:ext>
            </a:extLst>
          </p:cNvPr>
          <p:cNvGraphicFramePr>
            <a:graphicFrameLocks noChangeAspect="1"/>
          </p:cNvGraphicFramePr>
          <p:nvPr>
            <p:extLst>
              <p:ext uri="{D42A27DB-BD31-4B8C-83A1-F6EECF244321}">
                <p14:modId xmlns:p14="http://schemas.microsoft.com/office/powerpoint/2010/main" xmlns="" val="4075495893"/>
              </p:ext>
            </p:extLst>
          </p:nvPr>
        </p:nvGraphicFramePr>
        <p:xfrm>
          <a:off x="1588" y="1588"/>
          <a:ext cx="1588" cy="1588"/>
        </p:xfrm>
        <a:graphic>
          <a:graphicData uri="http://schemas.openxmlformats.org/presentationml/2006/ole">
            <p:oleObj spid="_x0000_s35849" name="think-cell Folie" r:id="rId4" imgW="360" imgH="360" progId="">
              <p:embed/>
            </p:oleObj>
          </a:graphicData>
        </a:graphic>
      </p:graphicFrame>
      <p:sp>
        <p:nvSpPr>
          <p:cNvPr id="3" name="Rechteck 2" hidden="1">
            <a:extLst>
              <a:ext uri="{FF2B5EF4-FFF2-40B4-BE49-F238E27FC236}">
                <a16:creationId xmlns:a16="http://schemas.microsoft.com/office/drawing/2014/main" xmlns="" id="{DE7FF0B2-D05E-4102-A8A1-8CC9212F15FF}"/>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a:xfrm>
            <a:off x="457200" y="457200"/>
            <a:ext cx="7931224" cy="667544"/>
          </a:xfrm>
        </p:spPr>
        <p:txBody>
          <a:bodyPr>
            <a:noAutofit/>
          </a:bodyPr>
          <a:lstStyle/>
          <a:p>
            <a:r>
              <a:rPr lang="de-AT" dirty="0"/>
              <a:t>Betriebliches </a:t>
            </a:r>
            <a:r>
              <a:rPr lang="de-AT" dirty="0" err="1"/>
              <a:t>Resilienzmanagement</a:t>
            </a:r>
            <a:r>
              <a:rPr lang="de-AT" dirty="0"/>
              <a:t> –</a:t>
            </a:r>
            <a:br>
              <a:rPr lang="de-AT" dirty="0"/>
            </a:br>
            <a:r>
              <a:rPr lang="de-AT" dirty="0"/>
              <a:t>Wie?</a:t>
            </a:r>
          </a:p>
        </p:txBody>
      </p:sp>
      <p:graphicFrame>
        <p:nvGraphicFramePr>
          <p:cNvPr id="4" name="Inhaltsplatzhalter 3"/>
          <p:cNvGraphicFramePr>
            <a:graphicFrameLocks noGrp="1"/>
          </p:cNvGraphicFramePr>
          <p:nvPr>
            <p:ph idx="1"/>
            <p:extLst>
              <p:ext uri="{D42A27DB-BD31-4B8C-83A1-F6EECF244321}">
                <p14:modId xmlns:p14="http://schemas.microsoft.com/office/powerpoint/2010/main" xmlns="" val="1773835014"/>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4111151980"/>
      </p:ext>
    </p:extLst>
  </p:cSld>
  <p:clrMapOvr>
    <a:masterClrMapping/>
  </p:clrMapOvr>
  <p:transition spd="slow">
    <p:pull dir="d"/>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5921F3D4-E2F0-4081-9D98-31AC55A547B2}"/>
              </a:ext>
            </a:extLst>
          </p:cNvPr>
          <p:cNvGraphicFramePr>
            <a:graphicFrameLocks noChangeAspect="1"/>
          </p:cNvGraphicFramePr>
          <p:nvPr>
            <p:extLst>
              <p:ext uri="{D42A27DB-BD31-4B8C-83A1-F6EECF244321}">
                <p14:modId xmlns:p14="http://schemas.microsoft.com/office/powerpoint/2010/main" xmlns="" val="3958517974"/>
              </p:ext>
            </p:extLst>
          </p:nvPr>
        </p:nvGraphicFramePr>
        <p:xfrm>
          <a:off x="1588" y="1588"/>
          <a:ext cx="1588" cy="1588"/>
        </p:xfrm>
        <a:graphic>
          <a:graphicData uri="http://schemas.openxmlformats.org/presentationml/2006/ole">
            <p:oleObj spid="_x0000_s36873" name="think-cell Folie" r:id="rId4" imgW="360" imgH="360" progId="">
              <p:embed/>
            </p:oleObj>
          </a:graphicData>
        </a:graphic>
      </p:graphicFrame>
      <p:sp>
        <p:nvSpPr>
          <p:cNvPr id="4" name="Rechteck 3" hidden="1">
            <a:extLst>
              <a:ext uri="{FF2B5EF4-FFF2-40B4-BE49-F238E27FC236}">
                <a16:creationId xmlns:a16="http://schemas.microsoft.com/office/drawing/2014/main" xmlns="" id="{7D043DF2-9542-4E47-BA75-DF18E247B067}"/>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dirty="0"/>
              <a:t>Vielen Dank…</a:t>
            </a:r>
          </a:p>
        </p:txBody>
      </p:sp>
      <p:sp>
        <p:nvSpPr>
          <p:cNvPr id="3" name="Inhaltsplatzhalter 2"/>
          <p:cNvSpPr>
            <a:spLocks noGrp="1"/>
          </p:cNvSpPr>
          <p:nvPr>
            <p:ph idx="1"/>
          </p:nvPr>
        </p:nvSpPr>
        <p:spPr/>
        <p:txBody>
          <a:bodyPr>
            <a:normAutofit/>
          </a:bodyPr>
          <a:lstStyle/>
          <a:p>
            <a:pPr algn="ctr">
              <a:buNone/>
            </a:pPr>
            <a:r>
              <a:rPr lang="de-AT" sz="1800" dirty="0">
                <a:solidFill>
                  <a:schemeClr val="bg1">
                    <a:lumMod val="50000"/>
                  </a:schemeClr>
                </a:solidFill>
              </a:rPr>
              <a:t>Der menschliche Kräftehaushalt funktioniert wie eine Speisekammer: </a:t>
            </a:r>
          </a:p>
          <a:p>
            <a:pPr algn="ctr">
              <a:buNone/>
            </a:pPr>
            <a:r>
              <a:rPr lang="de-AT" sz="1800" dirty="0">
                <a:solidFill>
                  <a:schemeClr val="bg1">
                    <a:lumMod val="50000"/>
                  </a:schemeClr>
                </a:solidFill>
              </a:rPr>
              <a:t>Man muss erst etwas hineinlegen, bevor man etwas herausnehmen kann.</a:t>
            </a:r>
          </a:p>
          <a:p>
            <a:pPr>
              <a:buNone/>
            </a:pPr>
            <a:endParaRPr lang="de-AT" sz="1800" dirty="0">
              <a:solidFill>
                <a:schemeClr val="bg1">
                  <a:lumMod val="50000"/>
                </a:schemeClr>
              </a:solidFill>
            </a:endParaRPr>
          </a:p>
          <a:p>
            <a:pPr algn="ctr">
              <a:buNone/>
            </a:pPr>
            <a:r>
              <a:rPr lang="de-AT" sz="1800" dirty="0">
                <a:solidFill>
                  <a:schemeClr val="bg1">
                    <a:lumMod val="50000"/>
                  </a:schemeClr>
                </a:solidFill>
              </a:rPr>
              <a:t>	Probleme sind versteckte Ziele.</a:t>
            </a:r>
            <a:endParaRPr lang="de-AT" sz="1800" dirty="0"/>
          </a:p>
          <a:p>
            <a:pPr algn="ctr">
              <a:buNone/>
            </a:pPr>
            <a:endParaRPr lang="de-AT" sz="1800" dirty="0"/>
          </a:p>
          <a:p>
            <a:pPr algn="ctr">
              <a:buNone/>
            </a:pPr>
            <a:r>
              <a:rPr lang="de-AT" sz="3200" b="1" dirty="0">
                <a:solidFill>
                  <a:schemeClr val="accent1"/>
                </a:solidFill>
              </a:rPr>
              <a:t>für Ihre Aufmerksamkeit!</a:t>
            </a:r>
          </a:p>
          <a:p>
            <a:pPr algn="ctr">
              <a:buNone/>
            </a:pPr>
            <a:endParaRPr lang="de-AT" sz="1800" dirty="0">
              <a:solidFill>
                <a:schemeClr val="bg1">
                  <a:lumMod val="50000"/>
                </a:schemeClr>
              </a:solidFill>
            </a:endParaRPr>
          </a:p>
          <a:p>
            <a:pPr algn="ctr">
              <a:buNone/>
            </a:pPr>
            <a:r>
              <a:rPr lang="de-AT" sz="1800" dirty="0">
                <a:solidFill>
                  <a:schemeClr val="bg1">
                    <a:lumMod val="50000"/>
                  </a:schemeClr>
                </a:solidFill>
              </a:rPr>
              <a:t>Probleme kann man niemals mit derselben Denkweise lösen, </a:t>
            </a:r>
          </a:p>
          <a:p>
            <a:pPr algn="ctr">
              <a:buNone/>
            </a:pPr>
            <a:r>
              <a:rPr lang="de-AT" sz="1800" dirty="0">
                <a:solidFill>
                  <a:schemeClr val="bg1">
                    <a:lumMod val="50000"/>
                  </a:schemeClr>
                </a:solidFill>
              </a:rPr>
              <a:t>durch die sie entstanden sind.</a:t>
            </a:r>
          </a:p>
          <a:p>
            <a:pPr algn="ctr">
              <a:buNone/>
            </a:pPr>
            <a:endParaRPr lang="de-AT" sz="1800" dirty="0">
              <a:solidFill>
                <a:schemeClr val="bg1">
                  <a:lumMod val="50000"/>
                </a:schemeClr>
              </a:solidFill>
            </a:endParaRPr>
          </a:p>
          <a:p>
            <a:pPr algn="ctr">
              <a:buNone/>
            </a:pPr>
            <a:r>
              <a:rPr lang="de-AT" sz="1800" dirty="0">
                <a:solidFill>
                  <a:schemeClr val="bg1">
                    <a:lumMod val="50000"/>
                  </a:schemeClr>
                </a:solidFill>
              </a:rPr>
              <a:t>Wer das Alte noch nicht losgelassen hat, </a:t>
            </a:r>
          </a:p>
          <a:p>
            <a:pPr algn="ctr">
              <a:buNone/>
            </a:pPr>
            <a:r>
              <a:rPr lang="de-AT" sz="1800" dirty="0">
                <a:solidFill>
                  <a:schemeClr val="bg1">
                    <a:lumMod val="50000"/>
                  </a:schemeClr>
                </a:solidFill>
              </a:rPr>
              <a:t>hat noch keine Hand frei für das Neue.</a:t>
            </a:r>
          </a:p>
          <a:p>
            <a:pPr>
              <a:buNone/>
            </a:pPr>
            <a:endParaRPr lang="de-AT" sz="3200" dirty="0"/>
          </a:p>
        </p:txBody>
      </p:sp>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3">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1" end="1"/>
                                            </p:txEl>
                                          </p:spTgt>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 calcmode="lin" valueType="num">
                                      <p:cBhvr additive="base">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6" dur="1000" fill="hold"/>
                                        <p:tgtEl>
                                          <p:spTgt spid="3">
                                            <p:txEl>
                                              <p:pRg st="3" end="3"/>
                                            </p:txEl>
                                          </p:spTgt>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anim calcmode="lin" valueType="num">
                                      <p:cBhvr additive="base">
                                        <p:cTn id="21"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22" dur="1000" fill="hold"/>
                                        <p:tgtEl>
                                          <p:spTgt spid="3">
                                            <p:txEl>
                                              <p:pRg st="7" end="7"/>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anim calcmode="lin" valueType="num">
                                      <p:cBhvr additive="base">
                                        <p:cTn id="25"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26" dur="1000" fill="hold"/>
                                        <p:tgtEl>
                                          <p:spTgt spid="3">
                                            <p:txEl>
                                              <p:pRg st="8" end="8"/>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anim calcmode="lin" valueType="num">
                                      <p:cBhvr additive="base">
                                        <p:cTn id="29"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30" dur="1000" fill="hold"/>
                                        <p:tgtEl>
                                          <p:spTgt spid="3">
                                            <p:txEl>
                                              <p:pRg st="10" end="10"/>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anim calcmode="lin" valueType="num">
                                      <p:cBhvr additive="base">
                                        <p:cTn id="33"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34" dur="10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xmlns="" id="{66F4EB9D-304C-45A8-A90C-60C0A4D18D1D}"/>
              </a:ext>
            </a:extLst>
          </p:cNvPr>
          <p:cNvGraphicFramePr>
            <a:graphicFrameLocks noChangeAspect="1"/>
          </p:cNvGraphicFramePr>
          <p:nvPr>
            <p:extLst>
              <p:ext uri="{D42A27DB-BD31-4B8C-83A1-F6EECF244321}">
                <p14:modId xmlns:p14="http://schemas.microsoft.com/office/powerpoint/2010/main" xmlns="" val="3066293882"/>
              </p:ext>
            </p:extLst>
          </p:nvPr>
        </p:nvGraphicFramePr>
        <p:xfrm>
          <a:off x="1588" y="1588"/>
          <a:ext cx="1588" cy="1588"/>
        </p:xfrm>
        <a:graphic>
          <a:graphicData uri="http://schemas.openxmlformats.org/presentationml/2006/ole">
            <p:oleObj spid="_x0000_s37897" name="think-cell Folie" r:id="rId3" imgW="360" imgH="360" progId="">
              <p:embed/>
            </p:oleObj>
          </a:graphicData>
        </a:graphic>
      </p:graphicFrame>
      <p:sp>
        <p:nvSpPr>
          <p:cNvPr id="2" name="Titel 1"/>
          <p:cNvSpPr>
            <a:spLocks noGrp="1"/>
          </p:cNvSpPr>
          <p:nvPr>
            <p:ph type="title"/>
          </p:nvPr>
        </p:nvSpPr>
        <p:spPr/>
        <p:txBody>
          <a:bodyPr>
            <a:normAutofit/>
          </a:bodyPr>
          <a:lstStyle/>
          <a:p>
            <a:r>
              <a:rPr lang="de-AT" sz="3600" dirty="0"/>
              <a:t>Literatur</a:t>
            </a:r>
          </a:p>
        </p:txBody>
      </p:sp>
      <p:sp>
        <p:nvSpPr>
          <p:cNvPr id="3" name="Inhaltsplatzhalter 2"/>
          <p:cNvSpPr>
            <a:spLocks noGrp="1"/>
          </p:cNvSpPr>
          <p:nvPr>
            <p:ph idx="1"/>
          </p:nvPr>
        </p:nvSpPr>
        <p:spPr/>
        <p:txBody>
          <a:bodyPr>
            <a:normAutofit fontScale="92500" lnSpcReduction="10000"/>
          </a:bodyPr>
          <a:lstStyle/>
          <a:p>
            <a:r>
              <a:rPr lang="de-AT" sz="1600" dirty="0" err="1"/>
              <a:t>Gildhoff</a:t>
            </a:r>
            <a:r>
              <a:rPr lang="de-AT" sz="1600" dirty="0"/>
              <a:t>-Fröhlich, K. &amp; </a:t>
            </a:r>
            <a:r>
              <a:rPr lang="de-AT" sz="1600" dirty="0" err="1"/>
              <a:t>Rönnau</a:t>
            </a:r>
            <a:r>
              <a:rPr lang="de-AT" sz="1600" dirty="0"/>
              <a:t>-Böse, M. (2015): </a:t>
            </a:r>
            <a:r>
              <a:rPr lang="de-AT" sz="1600" dirty="0" err="1"/>
              <a:t>Resilienz</a:t>
            </a:r>
            <a:r>
              <a:rPr lang="de-AT" sz="1600" dirty="0"/>
              <a:t>. Ernst Reinhardt: München.</a:t>
            </a:r>
          </a:p>
          <a:p>
            <a:r>
              <a:rPr lang="de-AT" sz="1600" dirty="0"/>
              <a:t>Götze, U. (2013): </a:t>
            </a:r>
            <a:r>
              <a:rPr lang="de-AT" sz="1600" dirty="0" err="1"/>
              <a:t>Resilienzentwicklung</a:t>
            </a:r>
            <a:r>
              <a:rPr lang="de-AT" sz="1600" dirty="0"/>
              <a:t> im Personalmanagement. Angebote zur Steigerung psychischer Widerstandsfähigkeit von </a:t>
            </a:r>
            <a:r>
              <a:rPr lang="de-AT" sz="1600" dirty="0" err="1"/>
              <a:t>MitarbeiterInnen</a:t>
            </a:r>
            <a:r>
              <a:rPr lang="de-AT" sz="1600" dirty="0"/>
              <a:t>. Springer: Wiesbaden.</a:t>
            </a:r>
          </a:p>
          <a:p>
            <a:r>
              <a:rPr lang="de-AT" sz="1600" dirty="0"/>
              <a:t>Klumpp, M., Hagemann, V., </a:t>
            </a:r>
            <a:r>
              <a:rPr lang="de-AT" sz="1600" dirty="0" err="1"/>
              <a:t>Ruiner</a:t>
            </a:r>
            <a:r>
              <a:rPr lang="de-AT" sz="1600" dirty="0"/>
              <a:t>, C., Neukirchen, T. &amp; Hesenius, M. (2019): Arbeitswelten der Logistik im Wandel – Gestaltung digitalisierter Arbeit im Kontext des Internet der Dinge und von Industrie 4.0, In:  </a:t>
            </a:r>
            <a:r>
              <a:rPr lang="de-AT" sz="1600" dirty="0" err="1"/>
              <a:t>Hermeier</a:t>
            </a:r>
            <a:r>
              <a:rPr lang="de-AT" sz="1600" dirty="0"/>
              <a:t>, B., </a:t>
            </a:r>
            <a:r>
              <a:rPr lang="de-AT" sz="1600" dirty="0" err="1"/>
              <a:t>Heupel</a:t>
            </a:r>
            <a:r>
              <a:rPr lang="de-AT" sz="1600" dirty="0"/>
              <a:t>, T. &amp; Fichtner-</a:t>
            </a:r>
            <a:r>
              <a:rPr lang="de-AT" sz="1600" dirty="0" err="1"/>
              <a:t>Rosada</a:t>
            </a:r>
            <a:r>
              <a:rPr lang="de-AT" sz="1600" dirty="0"/>
              <a:t>, S. (</a:t>
            </a:r>
            <a:r>
              <a:rPr lang="de-AT" sz="1600" dirty="0" err="1"/>
              <a:t>Hg</a:t>
            </a:r>
            <a:r>
              <a:rPr lang="de-AT" sz="1600" dirty="0"/>
              <a:t>.), Arbeitswelten der Zukunft. Wie die Digitalisierung unsere Arbeitsplätze und Arbeitsweisen verändert. Springer: Wiesbaden, S. 67-87.</a:t>
            </a:r>
          </a:p>
          <a:p>
            <a:r>
              <a:rPr lang="de-AT" sz="1600" dirty="0" err="1"/>
              <a:t>Kreizberg</a:t>
            </a:r>
            <a:r>
              <a:rPr lang="de-AT" sz="1600" dirty="0"/>
              <a:t>, K. (2019): Arbeitsschutz im Wandel – Kompetenzen im Kampf gegen psychische Belastungen, In:  </a:t>
            </a:r>
            <a:r>
              <a:rPr lang="de-AT" sz="1600" dirty="0" err="1"/>
              <a:t>Hermeier</a:t>
            </a:r>
            <a:r>
              <a:rPr lang="de-AT" sz="1600" dirty="0"/>
              <a:t>, B., </a:t>
            </a:r>
            <a:r>
              <a:rPr lang="de-AT" sz="1600" dirty="0" err="1"/>
              <a:t>Heupel</a:t>
            </a:r>
            <a:r>
              <a:rPr lang="de-AT" sz="1600" dirty="0"/>
              <a:t>, T. &amp; Fichtner-</a:t>
            </a:r>
            <a:r>
              <a:rPr lang="de-AT" sz="1600" dirty="0" err="1"/>
              <a:t>Rosada</a:t>
            </a:r>
            <a:r>
              <a:rPr lang="de-AT" sz="1600" dirty="0"/>
              <a:t>, S. (</a:t>
            </a:r>
            <a:r>
              <a:rPr lang="de-AT" sz="1600" dirty="0" err="1"/>
              <a:t>Hg</a:t>
            </a:r>
            <a:r>
              <a:rPr lang="de-AT" sz="1600" dirty="0"/>
              <a:t>.), Arbeitswelten der Zukunft. Wie die Digitalisierung unsere Arbeitsplätze und Arbeitsweisen verändert. Springer: Wiesbaden, S. 223-248.</a:t>
            </a:r>
          </a:p>
          <a:p>
            <a:r>
              <a:rPr lang="de-AT" sz="1600" dirty="0"/>
              <a:t>Lang, F. (2019): Quo </a:t>
            </a:r>
            <a:r>
              <a:rPr lang="de-AT" sz="1600" dirty="0" err="1"/>
              <a:t>Vadis</a:t>
            </a:r>
            <a:r>
              <a:rPr lang="de-AT" sz="1600" dirty="0"/>
              <a:t> digitale Revolution?, In: </a:t>
            </a:r>
            <a:r>
              <a:rPr lang="de-AT" sz="1600" dirty="0" err="1"/>
              <a:t>Hermeier</a:t>
            </a:r>
            <a:r>
              <a:rPr lang="de-AT" sz="1600" dirty="0"/>
              <a:t>, B., </a:t>
            </a:r>
            <a:r>
              <a:rPr lang="de-AT" sz="1600" dirty="0" err="1"/>
              <a:t>Heupel</a:t>
            </a:r>
            <a:r>
              <a:rPr lang="de-AT" sz="1600" dirty="0"/>
              <a:t>, T. &amp; Fichtner-</a:t>
            </a:r>
            <a:r>
              <a:rPr lang="de-AT" sz="1600" dirty="0" err="1"/>
              <a:t>Rosada</a:t>
            </a:r>
            <a:r>
              <a:rPr lang="de-AT" sz="1600" dirty="0"/>
              <a:t>, S. (</a:t>
            </a:r>
            <a:r>
              <a:rPr lang="de-AT" sz="1600" dirty="0" err="1"/>
              <a:t>Hg</a:t>
            </a:r>
            <a:r>
              <a:rPr lang="de-AT" sz="1600" dirty="0"/>
              <a:t>.), Arbeitswelten der Zukunft. Wie die Digitalisierung unsere Arbeitsplätze und Arbeitsweisen verändert. Springer: Wiesbaden, S. 2-18.</a:t>
            </a:r>
          </a:p>
          <a:p>
            <a:r>
              <a:rPr lang="de-AT" sz="1600" dirty="0" err="1"/>
              <a:t>Matusiewicz</a:t>
            </a:r>
            <a:r>
              <a:rPr lang="de-AT" sz="1600" dirty="0"/>
              <a:t>, D. (2019): Gesunde Arbeitswelt der Zukunft, In:  </a:t>
            </a:r>
            <a:r>
              <a:rPr lang="de-AT" sz="1600" dirty="0" err="1"/>
              <a:t>Hermeier</a:t>
            </a:r>
            <a:r>
              <a:rPr lang="de-AT" sz="1600" dirty="0"/>
              <a:t>, B., </a:t>
            </a:r>
            <a:r>
              <a:rPr lang="de-AT" sz="1600" dirty="0" err="1"/>
              <a:t>Heupel</a:t>
            </a:r>
            <a:r>
              <a:rPr lang="de-AT" sz="1600" dirty="0"/>
              <a:t>, T. &amp; Fichtner-</a:t>
            </a:r>
            <a:r>
              <a:rPr lang="de-AT" sz="1600" dirty="0" err="1"/>
              <a:t>Rosada</a:t>
            </a:r>
            <a:r>
              <a:rPr lang="de-AT" sz="1600" dirty="0"/>
              <a:t>, S. (</a:t>
            </a:r>
            <a:r>
              <a:rPr lang="de-AT" sz="1600" dirty="0" err="1"/>
              <a:t>Hg</a:t>
            </a:r>
            <a:r>
              <a:rPr lang="de-AT" sz="1600" dirty="0"/>
              <a:t>.), Arbeitswelten der Zukunft. Wie die Digitalisierung unsere Arbeitsplätze und Arbeitsweisen verändert. Springer: Wiesbaden, S. 289-302.</a:t>
            </a:r>
          </a:p>
          <a:p>
            <a:r>
              <a:rPr lang="de-AT" sz="1600" dirty="0" err="1"/>
              <a:t>Mourlane</a:t>
            </a:r>
            <a:r>
              <a:rPr lang="de-AT" sz="1600" dirty="0"/>
              <a:t>, D. (2017): </a:t>
            </a:r>
            <a:r>
              <a:rPr lang="de-AT" sz="1600" dirty="0" err="1"/>
              <a:t>Resilienz</a:t>
            </a:r>
            <a:r>
              <a:rPr lang="de-AT" sz="1600" dirty="0"/>
              <a:t>. Die unentdeckte Fähigkeit der wirklich Erfolgreichen. Business </a:t>
            </a:r>
            <a:r>
              <a:rPr lang="de-AT" sz="1600" dirty="0" err="1"/>
              <a:t>Village</a:t>
            </a:r>
            <a:r>
              <a:rPr lang="de-AT" sz="1600" dirty="0"/>
              <a:t>: Göttingen.</a:t>
            </a:r>
          </a:p>
          <a:p>
            <a:pPr>
              <a:buNone/>
            </a:pPr>
            <a:endParaRPr lang="de-AT" sz="2000" dirty="0"/>
          </a:p>
        </p:txBody>
      </p:sp>
    </p:spTree>
    <p:extLst>
      <p:ext uri="{BB962C8B-B14F-4D97-AF65-F5344CB8AC3E}">
        <p14:creationId xmlns:p14="http://schemas.microsoft.com/office/powerpoint/2010/main" xmlns="" val="2460119650"/>
      </p:ext>
    </p:extLst>
  </p:cSld>
  <p:clrMapOvr>
    <a:masterClrMapping/>
  </p:clrMapOvr>
  <p:transition spd="slow">
    <p:pull dir="d"/>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AT" sz="3600" dirty="0"/>
              <a:t>Literatur</a:t>
            </a:r>
          </a:p>
        </p:txBody>
      </p:sp>
      <p:sp>
        <p:nvSpPr>
          <p:cNvPr id="3" name="Inhaltsplatzhalter 2"/>
          <p:cNvSpPr>
            <a:spLocks noGrp="1"/>
          </p:cNvSpPr>
          <p:nvPr>
            <p:ph idx="1"/>
          </p:nvPr>
        </p:nvSpPr>
        <p:spPr/>
        <p:txBody>
          <a:bodyPr>
            <a:normAutofit fontScale="55000" lnSpcReduction="20000"/>
          </a:bodyPr>
          <a:lstStyle/>
          <a:p>
            <a:r>
              <a:rPr lang="de-AT" dirty="0"/>
              <a:t>Rolfe, M. (2019): Positive Psychologie und organisationale </a:t>
            </a:r>
            <a:r>
              <a:rPr lang="de-AT" dirty="0" err="1"/>
              <a:t>Resilienz</a:t>
            </a:r>
            <a:r>
              <a:rPr lang="de-AT" dirty="0"/>
              <a:t>. Stürmische Zeiten besser meistern. Springer: Berlin.</a:t>
            </a:r>
          </a:p>
          <a:p>
            <a:r>
              <a:rPr lang="de-AT" dirty="0"/>
              <a:t>Ruckriegel, K., </a:t>
            </a:r>
            <a:r>
              <a:rPr lang="de-AT" dirty="0" err="1"/>
              <a:t>Niklewski</a:t>
            </a:r>
            <a:r>
              <a:rPr lang="de-AT" dirty="0"/>
              <a:t>, G. &amp; Haupt, A. (2015): Gesundes Führen mit Erkenntnissen der Glücksforschung. Haufe: Freiburg.</a:t>
            </a:r>
          </a:p>
          <a:p>
            <a:r>
              <a:rPr lang="de-AT" dirty="0"/>
              <a:t>Runge, F. (2014): Unternehmenskultur: Gemeinsam erfolgreich – Warum Menschlichkeit Unternehmen zukunftsfähig macht. In: </a:t>
            </a:r>
            <a:r>
              <a:rPr lang="de-AT" dirty="0" err="1"/>
              <a:t>change</a:t>
            </a:r>
            <a:r>
              <a:rPr lang="de-AT" dirty="0"/>
              <a:t> – Das Magazin der Bertelsmann Stiftung 1/2014, S. 46.</a:t>
            </a:r>
          </a:p>
          <a:p>
            <a:r>
              <a:rPr lang="de-AT" dirty="0"/>
              <a:t>Rüttgers, C. &amp; Hochgürtel, K. (2019): Digitalisierung der Arbeit und des HR-Managements – Eine empirische Analyse der Einstellungen von beschäftigten, In:  </a:t>
            </a:r>
            <a:r>
              <a:rPr lang="de-AT" dirty="0" err="1"/>
              <a:t>Hermeier</a:t>
            </a:r>
            <a:r>
              <a:rPr lang="de-AT" dirty="0"/>
              <a:t>, B., </a:t>
            </a:r>
            <a:r>
              <a:rPr lang="de-AT" dirty="0" err="1"/>
              <a:t>Heupel</a:t>
            </a:r>
            <a:r>
              <a:rPr lang="de-AT" dirty="0"/>
              <a:t>, T. &amp; Fichtner-</a:t>
            </a:r>
            <a:r>
              <a:rPr lang="de-AT" dirty="0" err="1"/>
              <a:t>Rosada</a:t>
            </a:r>
            <a:r>
              <a:rPr lang="de-AT" dirty="0"/>
              <a:t>, S. (</a:t>
            </a:r>
            <a:r>
              <a:rPr lang="de-AT" dirty="0" err="1"/>
              <a:t>Hg</a:t>
            </a:r>
            <a:r>
              <a:rPr lang="de-AT" dirty="0"/>
              <a:t>.), Arbeitswelten der Zukunft. Wie die Digitalisierung unsere Arbeitsplätze und Arbeitsweisen verändert. Springer: Wiesbaden, S. 223-248.</a:t>
            </a:r>
          </a:p>
          <a:p>
            <a:r>
              <a:rPr lang="de-AT" dirty="0"/>
              <a:t>Schaff, A. (2019): Arbeit 4.0: Risiken für die psychische Gesundheit, In:  </a:t>
            </a:r>
            <a:r>
              <a:rPr lang="de-AT" dirty="0" err="1"/>
              <a:t>Hermeier</a:t>
            </a:r>
            <a:r>
              <a:rPr lang="de-AT" dirty="0"/>
              <a:t>, B., </a:t>
            </a:r>
            <a:r>
              <a:rPr lang="de-AT" dirty="0" err="1"/>
              <a:t>Heupel</a:t>
            </a:r>
            <a:r>
              <a:rPr lang="de-AT" dirty="0"/>
              <a:t>, T. &amp; Fichtner-</a:t>
            </a:r>
            <a:r>
              <a:rPr lang="de-AT" dirty="0" err="1"/>
              <a:t>Rosada</a:t>
            </a:r>
            <a:r>
              <a:rPr lang="de-AT" dirty="0"/>
              <a:t>, S. (</a:t>
            </a:r>
            <a:r>
              <a:rPr lang="de-AT" dirty="0" err="1"/>
              <a:t>Hg</a:t>
            </a:r>
            <a:r>
              <a:rPr lang="de-AT" dirty="0"/>
              <a:t>.), Arbeitswelten der Zukunft. Wie die Digitalisierung unsere Arbeitsplätze und Arbeitsweisen verändert. Springer: Wiesbaden, S. 303-322.</a:t>
            </a:r>
          </a:p>
          <a:p>
            <a:r>
              <a:rPr lang="de-AT" dirty="0"/>
              <a:t>Wellensiek, S. (2017): </a:t>
            </a:r>
            <a:r>
              <a:rPr lang="de-AT" dirty="0" err="1"/>
              <a:t>Resilienztraining</a:t>
            </a:r>
            <a:r>
              <a:rPr lang="de-AT" dirty="0"/>
              <a:t> für Führende. So stärken Sie Ihre Widerstandskraft und die Ihrer Mitarbeiter. Beltz: Weinheim, Basel.</a:t>
            </a:r>
          </a:p>
          <a:p>
            <a:r>
              <a:rPr lang="de-AT" dirty="0"/>
              <a:t>Zimmer, M. &amp; </a:t>
            </a:r>
            <a:r>
              <a:rPr lang="de-AT" dirty="0" err="1"/>
              <a:t>Ziehmer</a:t>
            </a:r>
            <a:r>
              <a:rPr lang="de-AT" dirty="0"/>
              <a:t>, H. (2019): Produktiver durch Digitalisierung? – Produktivitätsparadox und </a:t>
            </a:r>
            <a:r>
              <a:rPr lang="de-AT" dirty="0" err="1"/>
              <a:t>Entgrenzung</a:t>
            </a:r>
            <a:r>
              <a:rPr lang="de-AT" dirty="0"/>
              <a:t> von Arbeit. In:  </a:t>
            </a:r>
            <a:r>
              <a:rPr lang="de-AT" dirty="0" err="1"/>
              <a:t>Hermeier</a:t>
            </a:r>
            <a:r>
              <a:rPr lang="de-AT" dirty="0"/>
              <a:t>, B., </a:t>
            </a:r>
            <a:r>
              <a:rPr lang="de-AT" dirty="0" err="1"/>
              <a:t>Heupel</a:t>
            </a:r>
            <a:r>
              <a:rPr lang="de-AT" dirty="0"/>
              <a:t>, T. &amp; Fichtner-</a:t>
            </a:r>
            <a:r>
              <a:rPr lang="de-AT" dirty="0" err="1"/>
              <a:t>Rosada</a:t>
            </a:r>
            <a:r>
              <a:rPr lang="de-AT" dirty="0"/>
              <a:t>, S. (</a:t>
            </a:r>
            <a:r>
              <a:rPr lang="de-AT" dirty="0" err="1"/>
              <a:t>Hg</a:t>
            </a:r>
            <a:r>
              <a:rPr lang="de-AT" dirty="0"/>
              <a:t>.), Arbeitswelten der Zukunft. Wie die Digitalisierung unsere Arbeitsplätze und Arbeitsweisen verändert. Springer: Wiesbaden, S. 88-107.</a:t>
            </a:r>
          </a:p>
          <a:p>
            <a:r>
              <a:rPr lang="de-AT" dirty="0"/>
              <a:t>https://</a:t>
            </a:r>
            <a:r>
              <a:rPr lang="de-AT"/>
              <a:t>fit2work.at/artikel/downloads-materialien-3 Zugriff: 17.8.2019 </a:t>
            </a:r>
            <a:endParaRPr lang="de-AT" dirty="0"/>
          </a:p>
          <a:p>
            <a:endParaRPr lang="de-AT" dirty="0"/>
          </a:p>
        </p:txBody>
      </p:sp>
    </p:spTree>
  </p:cSld>
  <p:clrMapOvr>
    <a:masterClrMapping/>
  </p:clrMapOvr>
  <p:transition spd="slow">
    <p:pull dir="d"/>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0" y="3140968"/>
            <a:ext cx="9144002" cy="2592288"/>
          </a:xfrm>
        </p:spPr>
        <p:txBody>
          <a:bodyPr>
            <a:noAutofit/>
          </a:bodyPr>
          <a:lstStyle/>
          <a:p>
            <a:r>
              <a:rPr lang="de-AT" sz="1600" b="1" dirty="0">
                <a:latin typeface="Tahoma" charset="0"/>
                <a:ea typeface="ＭＳ Ｐゴシック" charset="0"/>
                <a:cs typeface="ＭＳ Ｐゴシック" charset="0"/>
              </a:rPr>
              <a:t>KOMUNARIKO KG</a:t>
            </a:r>
          </a:p>
          <a:p>
            <a:r>
              <a:rPr lang="en-GB" sz="1600" dirty="0"/>
              <a:t>Mag. </a:t>
            </a:r>
            <a:r>
              <a:rPr lang="en-GB" sz="1600" dirty="0" err="1"/>
              <a:t>Marlies</a:t>
            </a:r>
            <a:r>
              <a:rPr lang="en-GB" sz="1600" dirty="0"/>
              <a:t> </a:t>
            </a:r>
            <a:r>
              <a:rPr lang="en-GB" sz="1600" dirty="0" err="1"/>
              <a:t>Böck</a:t>
            </a:r>
            <a:r>
              <a:rPr lang="en-GB" sz="1600" dirty="0"/>
              <a:t>, MA</a:t>
            </a:r>
          </a:p>
          <a:p>
            <a:r>
              <a:rPr lang="en-GB" sz="1600" dirty="0">
                <a:hlinkClick r:id="rId2"/>
              </a:rPr>
              <a:t>marliesboeck@gmx.at</a:t>
            </a:r>
            <a:endParaRPr lang="en-GB" sz="1600" dirty="0"/>
          </a:p>
          <a:p>
            <a:r>
              <a:rPr lang="en-GB" sz="1600" dirty="0"/>
              <a:t>0699 19278011</a:t>
            </a:r>
          </a:p>
          <a:p>
            <a:endParaRPr lang="en-GB" sz="1600" dirty="0"/>
          </a:p>
          <a:p>
            <a:r>
              <a:rPr lang="en-GB" sz="1600" dirty="0"/>
              <a:t>Dr. Maria </a:t>
            </a:r>
            <a:r>
              <a:rPr lang="en-GB" sz="1600" dirty="0" err="1"/>
              <a:t>Bogensperger</a:t>
            </a:r>
            <a:endParaRPr lang="en-GB" sz="1600" dirty="0"/>
          </a:p>
          <a:p>
            <a:r>
              <a:rPr lang="en-GB" sz="1600" dirty="0">
                <a:hlinkClick r:id="rId3"/>
              </a:rPr>
              <a:t>maria.bogensperger@komunariko.at</a:t>
            </a:r>
            <a:r>
              <a:rPr lang="en-GB" sz="1600" dirty="0"/>
              <a:t> </a:t>
            </a:r>
          </a:p>
          <a:p>
            <a:r>
              <a:rPr lang="en-GB" sz="1600" dirty="0"/>
              <a:t>0664 4109975</a:t>
            </a:r>
          </a:p>
          <a:p>
            <a:r>
              <a:rPr lang="en-GB" sz="1600" dirty="0" err="1"/>
              <a:t>Bayerhamerstraße</a:t>
            </a:r>
            <a:r>
              <a:rPr lang="en-GB" sz="1600" dirty="0"/>
              <a:t> 18, 5020 Salzburg | www.komunariko.at</a:t>
            </a:r>
          </a:p>
          <a:p>
            <a:endParaRPr lang="en-GB" sz="1600" dirty="0"/>
          </a:p>
        </p:txBody>
      </p:sp>
    </p:spTree>
    <p:extLst>
      <p:ext uri="{BB962C8B-B14F-4D97-AF65-F5344CB8AC3E}">
        <p14:creationId xmlns:p14="http://schemas.microsoft.com/office/powerpoint/2010/main" xmlns="" val="303901988"/>
      </p:ext>
    </p:extLst>
  </p:cSld>
  <p:clrMapOvr>
    <a:masterClrMapping/>
  </p:clrMapOvr>
  <p:transition spd="slow">
    <p:pull di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9031674B-3751-40CF-BE71-D894D30078F0}"/>
              </a:ext>
            </a:extLst>
          </p:cNvPr>
          <p:cNvGraphicFramePr>
            <a:graphicFrameLocks noChangeAspect="1"/>
          </p:cNvGraphicFramePr>
          <p:nvPr>
            <p:extLst>
              <p:ext uri="{D42A27DB-BD31-4B8C-83A1-F6EECF244321}">
                <p14:modId xmlns:p14="http://schemas.microsoft.com/office/powerpoint/2010/main" xmlns="" val="59365727"/>
              </p:ext>
            </p:extLst>
          </p:nvPr>
        </p:nvGraphicFramePr>
        <p:xfrm>
          <a:off x="1588" y="1588"/>
          <a:ext cx="1588" cy="1588"/>
        </p:xfrm>
        <a:graphic>
          <a:graphicData uri="http://schemas.openxmlformats.org/presentationml/2006/ole">
            <p:oleObj spid="_x0000_s6153" name="think-cell Folie" r:id="rId4" imgW="360" imgH="360" progId="">
              <p:embed/>
            </p:oleObj>
          </a:graphicData>
        </a:graphic>
      </p:graphicFrame>
      <p:sp>
        <p:nvSpPr>
          <p:cNvPr id="4" name="Rechteck 3" hidden="1">
            <a:extLst>
              <a:ext uri="{FF2B5EF4-FFF2-40B4-BE49-F238E27FC236}">
                <a16:creationId xmlns:a16="http://schemas.microsoft.com/office/drawing/2014/main" xmlns="" id="{C91D377F-F159-4A3E-AA7E-8B0309485DB0}"/>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6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a:bodyPr>
          <a:lstStyle/>
          <a:p>
            <a:r>
              <a:rPr lang="de-AT" sz="3600" b="1" dirty="0">
                <a:solidFill>
                  <a:schemeClr val="accent1"/>
                </a:solidFill>
              </a:rPr>
              <a:t>Arbeit 4.0</a:t>
            </a:r>
          </a:p>
        </p:txBody>
      </p:sp>
      <p:graphicFrame>
        <p:nvGraphicFramePr>
          <p:cNvPr id="3" name="Diagram 2">
            <a:extLst>
              <a:ext uri="{FF2B5EF4-FFF2-40B4-BE49-F238E27FC236}">
                <a16:creationId xmlns:a16="http://schemas.microsoft.com/office/drawing/2014/main" xmlns="" id="{4A76A39D-9736-4EBF-8EAD-0E4F6CA854B7}"/>
              </a:ext>
            </a:extLst>
          </p:cNvPr>
          <p:cNvGraphicFramePr>
            <a:graphicFrameLocks noChangeAspect="1"/>
          </p:cNvGraphicFramePr>
          <p:nvPr>
            <p:extLst>
              <p:ext uri="{D42A27DB-BD31-4B8C-83A1-F6EECF244321}">
                <p14:modId xmlns:p14="http://schemas.microsoft.com/office/powerpoint/2010/main" xmlns="" val="621742271"/>
              </p:ext>
            </p:extLst>
          </p:nvPr>
        </p:nvGraphicFramePr>
        <p:xfrm>
          <a:off x="539552" y="1124744"/>
          <a:ext cx="8010409" cy="53402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xmlns="" val="3351140446"/>
      </p:ext>
    </p:extLst>
  </p:cSld>
  <p:clrMapOvr>
    <a:masterClrMapping/>
  </p:clrMapOvr>
  <p:transition spd="slow">
    <p:pull di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8714141E-FBC2-42DC-BA16-32754950BD76}"/>
              </a:ext>
            </a:extLst>
          </p:cNvPr>
          <p:cNvGraphicFramePr>
            <a:graphicFrameLocks noChangeAspect="1"/>
          </p:cNvGraphicFramePr>
          <p:nvPr>
            <p:extLst>
              <p:ext uri="{D42A27DB-BD31-4B8C-83A1-F6EECF244321}">
                <p14:modId xmlns:p14="http://schemas.microsoft.com/office/powerpoint/2010/main" xmlns="" val="4069513710"/>
              </p:ext>
            </p:extLst>
          </p:nvPr>
        </p:nvGraphicFramePr>
        <p:xfrm>
          <a:off x="1588" y="1588"/>
          <a:ext cx="1588" cy="1588"/>
        </p:xfrm>
        <a:graphic>
          <a:graphicData uri="http://schemas.openxmlformats.org/presentationml/2006/ole">
            <p:oleObj spid="_x0000_s7177" name="think-cell Folie" r:id="rId4" imgW="360" imgH="360" progId="">
              <p:embed/>
            </p:oleObj>
          </a:graphicData>
        </a:graphic>
      </p:graphicFrame>
      <p:sp>
        <p:nvSpPr>
          <p:cNvPr id="5" name="Rechteck 4" hidden="1">
            <a:extLst>
              <a:ext uri="{FF2B5EF4-FFF2-40B4-BE49-F238E27FC236}">
                <a16:creationId xmlns:a16="http://schemas.microsoft.com/office/drawing/2014/main" xmlns="" id="{A4C47D0A-1933-4390-914D-FF021E45FBB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32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rmAutofit fontScale="90000"/>
          </a:bodyPr>
          <a:lstStyle/>
          <a:p>
            <a:r>
              <a:rPr lang="de-AT" sz="3600" b="1" dirty="0">
                <a:solidFill>
                  <a:schemeClr val="accent1"/>
                </a:solidFill>
              </a:rPr>
              <a:t>Arbeit 4.0</a:t>
            </a:r>
            <a:r>
              <a:rPr lang="de-AT" sz="3600" dirty="0"/>
              <a:t/>
            </a:r>
            <a:br>
              <a:rPr lang="de-AT" sz="3600" dirty="0"/>
            </a:br>
            <a:r>
              <a:rPr lang="de-AT" sz="3600" dirty="0"/>
              <a:t>Veränderungen für Unternehmen </a:t>
            </a:r>
            <a:br>
              <a:rPr lang="de-AT" sz="3600" dirty="0"/>
            </a:br>
            <a:r>
              <a:rPr lang="de-AT" sz="3600" dirty="0"/>
              <a:t>und MA</a:t>
            </a:r>
            <a:r>
              <a:rPr lang="de-AT" dirty="0"/>
              <a:t/>
            </a:r>
            <a:br>
              <a:rPr lang="de-AT" dirty="0"/>
            </a:br>
            <a:endParaRPr lang="de-AT" dirty="0"/>
          </a:p>
        </p:txBody>
      </p:sp>
      <p:sp>
        <p:nvSpPr>
          <p:cNvPr id="3" name="Inhaltsplatzhalter 2"/>
          <p:cNvSpPr>
            <a:spLocks noGrp="1"/>
          </p:cNvSpPr>
          <p:nvPr>
            <p:ph idx="1"/>
          </p:nvPr>
        </p:nvSpPr>
        <p:spPr>
          <a:xfrm>
            <a:off x="384903" y="2472373"/>
            <a:ext cx="8229600" cy="4525963"/>
          </a:xfrm>
        </p:spPr>
        <p:txBody>
          <a:bodyPr>
            <a:normAutofit/>
          </a:bodyPr>
          <a:lstStyle/>
          <a:p>
            <a:endParaRPr lang="de-AT" sz="2400" dirty="0"/>
          </a:p>
          <a:p>
            <a:r>
              <a:rPr lang="de-AT" sz="2400" dirty="0"/>
              <a:t>strukturell</a:t>
            </a:r>
          </a:p>
          <a:p>
            <a:r>
              <a:rPr lang="de-AT" sz="2400" dirty="0"/>
              <a:t>örtlich</a:t>
            </a:r>
          </a:p>
          <a:p>
            <a:r>
              <a:rPr lang="de-AT" sz="2400" dirty="0"/>
              <a:t>zeitlich</a:t>
            </a:r>
          </a:p>
          <a:p>
            <a:r>
              <a:rPr lang="de-AT" sz="2400" dirty="0"/>
              <a:t>neue Arbeitsprozesse</a:t>
            </a:r>
          </a:p>
          <a:p>
            <a:r>
              <a:rPr lang="de-AT" sz="2400" dirty="0"/>
              <a:t>inner- und überbetriebliche Interaktion</a:t>
            </a:r>
          </a:p>
          <a:p>
            <a:r>
              <a:rPr lang="de-AT" sz="2400" dirty="0"/>
              <a:t>Change-Prozesse als Normalfall</a:t>
            </a:r>
          </a:p>
          <a:p>
            <a:pPr>
              <a:buNone/>
            </a:pPr>
            <a:endParaRPr lang="de-AT" sz="2400" dirty="0"/>
          </a:p>
        </p:txBody>
      </p:sp>
      <p:grpSp>
        <p:nvGrpSpPr>
          <p:cNvPr id="55" name="Gruppieren 54">
            <a:extLst>
              <a:ext uri="{FF2B5EF4-FFF2-40B4-BE49-F238E27FC236}">
                <a16:creationId xmlns:a16="http://schemas.microsoft.com/office/drawing/2014/main" xmlns="" id="{9E6F74AB-514B-412E-AE30-96D155707CAB}"/>
              </a:ext>
            </a:extLst>
          </p:cNvPr>
          <p:cNvGrpSpPr/>
          <p:nvPr/>
        </p:nvGrpSpPr>
        <p:grpSpPr>
          <a:xfrm>
            <a:off x="4572752" y="1421784"/>
            <a:ext cx="4678920" cy="3332880"/>
            <a:chOff x="4622551" y="2081252"/>
            <a:chExt cx="4678920" cy="3332880"/>
          </a:xfrm>
        </p:grpSpPr>
        <mc:AlternateContent xmlns:mc="http://schemas.openxmlformats.org/markup-compatibility/2006">
          <mc:Choice xmlns:p14="http://schemas.microsoft.com/office/powerpoint/2010/main" xmlns="" Requires="p14">
            <p:contentPart p14:bwMode="auto" r:id="rId7">
              <p14:nvContentPartPr>
                <p14:cNvPr id="21" name="Freihand 20">
                  <a:extLst>
                    <a:ext uri="{FF2B5EF4-FFF2-40B4-BE49-F238E27FC236}">
                      <a16:creationId xmlns:a16="http://schemas.microsoft.com/office/drawing/2014/main" id="{0AB06C2B-6B75-4EDF-B3B2-CD3D0508A11A}"/>
                    </a:ext>
                  </a:extLst>
                </p14:cNvPr>
                <p14:cNvContentPartPr/>
                <p14:nvPr/>
              </p14:nvContentPartPr>
              <p14:xfrm>
                <a:off x="6974431" y="3824732"/>
                <a:ext cx="252360" cy="396360"/>
              </p14:xfrm>
            </p:contentPart>
          </mc:Choice>
          <mc:Fallback>
            <p:pic>
              <p:nvPicPr>
                <p:cNvPr id="21" name="Freihand 20">
                  <a:extLst>
                    <a:ext uri="{FF2B5EF4-FFF2-40B4-BE49-F238E27FC236}">
                      <a16:creationId xmlns:a16="http://schemas.microsoft.com/office/drawing/2014/main" xmlns="" xmlns:p14="http://schemas.microsoft.com/office/powerpoint/2010/main" id="{0AB06C2B-6B75-4EDF-B3B2-CD3D0508A11A}"/>
                    </a:ext>
                  </a:extLst>
                </p:cNvPr>
                <p:cNvPicPr/>
                <p:nvPr/>
              </p:nvPicPr>
              <p:blipFill>
                <a:blip r:embed="rId8" cstate="print"/>
                <a:stretch>
                  <a:fillRect/>
                </a:stretch>
              </p:blipFill>
              <p:spPr>
                <a:xfrm>
                  <a:off x="6956431" y="3807092"/>
                  <a:ext cx="288000" cy="432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9">
              <p14:nvContentPartPr>
                <p14:cNvPr id="23" name="Freihand 22">
                  <a:extLst>
                    <a:ext uri="{FF2B5EF4-FFF2-40B4-BE49-F238E27FC236}">
                      <a16:creationId xmlns:a16="http://schemas.microsoft.com/office/drawing/2014/main" id="{6721D8E3-6FCE-4181-8CA9-351209AE8762}"/>
                    </a:ext>
                  </a:extLst>
                </p14:cNvPr>
                <p14:cNvContentPartPr/>
                <p14:nvPr/>
              </p14:nvContentPartPr>
              <p14:xfrm>
                <a:off x="6081631" y="2617292"/>
                <a:ext cx="1383480" cy="1205640"/>
              </p14:xfrm>
            </p:contentPart>
          </mc:Choice>
          <mc:Fallback>
            <p:pic>
              <p:nvPicPr>
                <p:cNvPr id="23" name="Freihand 22">
                  <a:extLst>
                    <a:ext uri="{FF2B5EF4-FFF2-40B4-BE49-F238E27FC236}">
                      <a16:creationId xmlns:a16="http://schemas.microsoft.com/office/drawing/2014/main" xmlns="" xmlns:p14="http://schemas.microsoft.com/office/powerpoint/2010/main" id="{6721D8E3-6FCE-4181-8CA9-351209AE8762}"/>
                    </a:ext>
                  </a:extLst>
                </p:cNvPr>
                <p:cNvPicPr/>
                <p:nvPr/>
              </p:nvPicPr>
              <p:blipFill>
                <a:blip r:embed="rId10" cstate="print"/>
                <a:stretch>
                  <a:fillRect/>
                </a:stretch>
              </p:blipFill>
              <p:spPr>
                <a:xfrm>
                  <a:off x="6063986" y="2599292"/>
                  <a:ext cx="1419129" cy="12412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1">
              <p14:nvContentPartPr>
                <p14:cNvPr id="25" name="Freihand 24">
                  <a:extLst>
                    <a:ext uri="{FF2B5EF4-FFF2-40B4-BE49-F238E27FC236}">
                      <a16:creationId xmlns:a16="http://schemas.microsoft.com/office/drawing/2014/main" id="{7900642C-79BB-48B8-A25A-FD7722E3A786}"/>
                    </a:ext>
                  </a:extLst>
                </p14:cNvPr>
                <p14:cNvContentPartPr/>
                <p14:nvPr/>
              </p14:nvContentPartPr>
              <p14:xfrm>
                <a:off x="6793351" y="3125252"/>
                <a:ext cx="981720" cy="489960"/>
              </p14:xfrm>
            </p:contentPart>
          </mc:Choice>
          <mc:Fallback>
            <p:pic>
              <p:nvPicPr>
                <p:cNvPr id="25" name="Freihand 24">
                  <a:extLst>
                    <a:ext uri="{FF2B5EF4-FFF2-40B4-BE49-F238E27FC236}">
                      <a16:creationId xmlns:a16="http://schemas.microsoft.com/office/drawing/2014/main" xmlns="" xmlns:p14="http://schemas.microsoft.com/office/powerpoint/2010/main" id="{7900642C-79BB-48B8-A25A-FD7722E3A786}"/>
                    </a:ext>
                  </a:extLst>
                </p:cNvPr>
                <p:cNvPicPr/>
                <p:nvPr/>
              </p:nvPicPr>
              <p:blipFill>
                <a:blip r:embed="rId12" cstate="print"/>
                <a:stretch>
                  <a:fillRect/>
                </a:stretch>
              </p:blipFill>
              <p:spPr>
                <a:xfrm>
                  <a:off x="6775351" y="3107612"/>
                  <a:ext cx="1017360" cy="5256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3">
              <p14:nvContentPartPr>
                <p14:cNvPr id="26" name="Freihand 25">
                  <a:extLst>
                    <a:ext uri="{FF2B5EF4-FFF2-40B4-BE49-F238E27FC236}">
                      <a16:creationId xmlns:a16="http://schemas.microsoft.com/office/drawing/2014/main" id="{AF55FFE3-FEA1-4E6D-926C-4DBB96C03F4E}"/>
                    </a:ext>
                  </a:extLst>
                </p14:cNvPr>
                <p14:cNvContentPartPr/>
                <p14:nvPr/>
              </p14:nvContentPartPr>
              <p14:xfrm>
                <a:off x="6695071" y="3514772"/>
                <a:ext cx="530640" cy="185400"/>
              </p14:xfrm>
            </p:contentPart>
          </mc:Choice>
          <mc:Fallback>
            <p:pic>
              <p:nvPicPr>
                <p:cNvPr id="26" name="Freihand 25">
                  <a:extLst>
                    <a:ext uri="{FF2B5EF4-FFF2-40B4-BE49-F238E27FC236}">
                      <a16:creationId xmlns:a16="http://schemas.microsoft.com/office/drawing/2014/main" xmlns="" xmlns:p14="http://schemas.microsoft.com/office/powerpoint/2010/main" id="{AF55FFE3-FEA1-4E6D-926C-4DBB96C03F4E}"/>
                    </a:ext>
                  </a:extLst>
                </p:cNvPr>
                <p:cNvPicPr/>
                <p:nvPr/>
              </p:nvPicPr>
              <p:blipFill>
                <a:blip r:embed="rId14" cstate="print"/>
                <a:stretch>
                  <a:fillRect/>
                </a:stretch>
              </p:blipFill>
              <p:spPr>
                <a:xfrm>
                  <a:off x="6677071" y="3496772"/>
                  <a:ext cx="566280" cy="2210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5">
              <p14:nvContentPartPr>
                <p14:cNvPr id="27" name="Freihand 26">
                  <a:extLst>
                    <a:ext uri="{FF2B5EF4-FFF2-40B4-BE49-F238E27FC236}">
                      <a16:creationId xmlns:a16="http://schemas.microsoft.com/office/drawing/2014/main" id="{CE356D65-8F46-419D-A7D4-BAE090967D8E}"/>
                    </a:ext>
                  </a:extLst>
                </p14:cNvPr>
                <p14:cNvContentPartPr/>
                <p14:nvPr/>
              </p14:nvContentPartPr>
              <p14:xfrm>
                <a:off x="7254151" y="2648612"/>
                <a:ext cx="150120" cy="165600"/>
              </p14:xfrm>
            </p:contentPart>
          </mc:Choice>
          <mc:Fallback>
            <p:pic>
              <p:nvPicPr>
                <p:cNvPr id="27" name="Freihand 26">
                  <a:extLst>
                    <a:ext uri="{FF2B5EF4-FFF2-40B4-BE49-F238E27FC236}">
                      <a16:creationId xmlns:a16="http://schemas.microsoft.com/office/drawing/2014/main" xmlns="" xmlns:p14="http://schemas.microsoft.com/office/powerpoint/2010/main" id="{CE356D65-8F46-419D-A7D4-BAE090967D8E}"/>
                    </a:ext>
                  </a:extLst>
                </p:cNvPr>
                <p:cNvPicPr/>
                <p:nvPr/>
              </p:nvPicPr>
              <p:blipFill>
                <a:blip r:embed="rId16" cstate="print"/>
                <a:stretch>
                  <a:fillRect/>
                </a:stretch>
              </p:blipFill>
              <p:spPr>
                <a:xfrm>
                  <a:off x="7245151" y="2639972"/>
                  <a:ext cx="167760" cy="183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7">
              <p14:nvContentPartPr>
                <p14:cNvPr id="28" name="Freihand 27">
                  <a:extLst>
                    <a:ext uri="{FF2B5EF4-FFF2-40B4-BE49-F238E27FC236}">
                      <a16:creationId xmlns:a16="http://schemas.microsoft.com/office/drawing/2014/main" id="{B5176866-74FD-43F2-9569-D1803B8AB964}"/>
                    </a:ext>
                  </a:extLst>
                </p14:cNvPr>
                <p14:cNvContentPartPr/>
                <p14:nvPr/>
              </p14:nvContentPartPr>
              <p14:xfrm>
                <a:off x="7516951" y="3408572"/>
                <a:ext cx="194760" cy="167760"/>
              </p14:xfrm>
            </p:contentPart>
          </mc:Choice>
          <mc:Fallback>
            <p:pic>
              <p:nvPicPr>
                <p:cNvPr id="28" name="Freihand 27">
                  <a:extLst>
                    <a:ext uri="{FF2B5EF4-FFF2-40B4-BE49-F238E27FC236}">
                      <a16:creationId xmlns:a16="http://schemas.microsoft.com/office/drawing/2014/main" xmlns="" xmlns:p14="http://schemas.microsoft.com/office/powerpoint/2010/main" id="{B5176866-74FD-43F2-9569-D1803B8AB964}"/>
                    </a:ext>
                  </a:extLst>
                </p:cNvPr>
                <p:cNvPicPr/>
                <p:nvPr/>
              </p:nvPicPr>
              <p:blipFill>
                <a:blip r:embed="rId18" cstate="print"/>
                <a:stretch>
                  <a:fillRect/>
                </a:stretch>
              </p:blipFill>
              <p:spPr>
                <a:xfrm>
                  <a:off x="7507951" y="3399932"/>
                  <a:ext cx="212400" cy="185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9">
              <p14:nvContentPartPr>
                <p14:cNvPr id="29" name="Freihand 28">
                  <a:extLst>
                    <a:ext uri="{FF2B5EF4-FFF2-40B4-BE49-F238E27FC236}">
                      <a16:creationId xmlns:a16="http://schemas.microsoft.com/office/drawing/2014/main" id="{C08A71FF-2B1D-4C01-930B-26C3FDBFFEBA}"/>
                    </a:ext>
                  </a:extLst>
                </p14:cNvPr>
                <p14:cNvContentPartPr/>
                <p14:nvPr/>
              </p14:nvContentPartPr>
              <p14:xfrm>
                <a:off x="7010431" y="3998612"/>
                <a:ext cx="164520" cy="198360"/>
              </p14:xfrm>
            </p:contentPart>
          </mc:Choice>
          <mc:Fallback>
            <p:pic>
              <p:nvPicPr>
                <p:cNvPr id="29" name="Freihand 28">
                  <a:extLst>
                    <a:ext uri="{FF2B5EF4-FFF2-40B4-BE49-F238E27FC236}">
                      <a16:creationId xmlns:a16="http://schemas.microsoft.com/office/drawing/2014/main" xmlns="" xmlns:p14="http://schemas.microsoft.com/office/powerpoint/2010/main" id="{C08A71FF-2B1D-4C01-930B-26C3FDBFFEBA}"/>
                    </a:ext>
                  </a:extLst>
                </p:cNvPr>
                <p:cNvPicPr/>
                <p:nvPr/>
              </p:nvPicPr>
              <p:blipFill>
                <a:blip r:embed="rId20" cstate="print"/>
                <a:stretch>
                  <a:fillRect/>
                </a:stretch>
              </p:blipFill>
              <p:spPr>
                <a:xfrm>
                  <a:off x="6992431" y="3980612"/>
                  <a:ext cx="200160" cy="2340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1">
              <p14:nvContentPartPr>
                <p14:cNvPr id="30" name="Freihand 29">
                  <a:extLst>
                    <a:ext uri="{FF2B5EF4-FFF2-40B4-BE49-F238E27FC236}">
                      <a16:creationId xmlns:a16="http://schemas.microsoft.com/office/drawing/2014/main" id="{50906F9B-B03A-4CF0-8B2A-BAED32DA7E30}"/>
                    </a:ext>
                  </a:extLst>
                </p14:cNvPr>
                <p14:cNvContentPartPr/>
                <p14:nvPr/>
              </p14:nvContentPartPr>
              <p14:xfrm>
                <a:off x="6107191" y="3563732"/>
                <a:ext cx="185400" cy="185760"/>
              </p14:xfrm>
            </p:contentPart>
          </mc:Choice>
          <mc:Fallback>
            <p:pic>
              <p:nvPicPr>
                <p:cNvPr id="30" name="Freihand 29">
                  <a:extLst>
                    <a:ext uri="{FF2B5EF4-FFF2-40B4-BE49-F238E27FC236}">
                      <a16:creationId xmlns:a16="http://schemas.microsoft.com/office/drawing/2014/main" xmlns="" xmlns:p14="http://schemas.microsoft.com/office/powerpoint/2010/main" id="{50906F9B-B03A-4CF0-8B2A-BAED32DA7E30}"/>
                    </a:ext>
                  </a:extLst>
                </p:cNvPr>
                <p:cNvPicPr/>
                <p:nvPr/>
              </p:nvPicPr>
              <p:blipFill>
                <a:blip r:embed="rId22" cstate="print"/>
                <a:stretch>
                  <a:fillRect/>
                </a:stretch>
              </p:blipFill>
              <p:spPr>
                <a:xfrm>
                  <a:off x="6089191" y="3546092"/>
                  <a:ext cx="221040" cy="22140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3">
              <p14:nvContentPartPr>
                <p14:cNvPr id="31" name="Freihand 30">
                  <a:extLst>
                    <a:ext uri="{FF2B5EF4-FFF2-40B4-BE49-F238E27FC236}">
                      <a16:creationId xmlns:a16="http://schemas.microsoft.com/office/drawing/2014/main" id="{7B40B095-2C31-4BC1-A663-059CBF832F8E}"/>
                    </a:ext>
                  </a:extLst>
                </p14:cNvPr>
                <p14:cNvContentPartPr/>
                <p14:nvPr/>
              </p14:nvContentPartPr>
              <p14:xfrm>
                <a:off x="6385111" y="2870012"/>
                <a:ext cx="171000" cy="180000"/>
              </p14:xfrm>
            </p:contentPart>
          </mc:Choice>
          <mc:Fallback>
            <p:pic>
              <p:nvPicPr>
                <p:cNvPr id="31" name="Freihand 30">
                  <a:extLst>
                    <a:ext uri="{FF2B5EF4-FFF2-40B4-BE49-F238E27FC236}">
                      <a16:creationId xmlns:a16="http://schemas.microsoft.com/office/drawing/2014/main" xmlns="" xmlns:p14="http://schemas.microsoft.com/office/powerpoint/2010/main" id="{7B40B095-2C31-4BC1-A663-059CBF832F8E}"/>
                    </a:ext>
                  </a:extLst>
                </p:cNvPr>
                <p:cNvPicPr/>
                <p:nvPr/>
              </p:nvPicPr>
              <p:blipFill>
                <a:blip r:embed="rId24" cstate="print"/>
                <a:stretch>
                  <a:fillRect/>
                </a:stretch>
              </p:blipFill>
              <p:spPr>
                <a:xfrm>
                  <a:off x="6367471" y="2852012"/>
                  <a:ext cx="206640" cy="21564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5">
              <p14:nvContentPartPr>
                <p14:cNvPr id="32" name="Freihand 31">
                  <a:extLst>
                    <a:ext uri="{FF2B5EF4-FFF2-40B4-BE49-F238E27FC236}">
                      <a16:creationId xmlns:a16="http://schemas.microsoft.com/office/drawing/2014/main" id="{8A528E4C-6A66-4741-8F7D-5AB453FEC11E}"/>
                    </a:ext>
                  </a:extLst>
                </p14:cNvPr>
                <p14:cNvContentPartPr/>
                <p14:nvPr/>
              </p14:nvContentPartPr>
              <p14:xfrm>
                <a:off x="5101351" y="2548532"/>
                <a:ext cx="3918240" cy="2513520"/>
              </p14:xfrm>
            </p:contentPart>
          </mc:Choice>
          <mc:Fallback>
            <p:pic>
              <p:nvPicPr>
                <p:cNvPr id="32" name="Freihand 31">
                  <a:extLst>
                    <a:ext uri="{FF2B5EF4-FFF2-40B4-BE49-F238E27FC236}">
                      <a16:creationId xmlns:a16="http://schemas.microsoft.com/office/drawing/2014/main" xmlns="" xmlns:aink="http://schemas.microsoft.com/office/drawing/2016/ink" xmlns:p14="http://schemas.microsoft.com/office/powerpoint/2010/main" id="{8A528E4C-6A66-4741-8F7D-5AB453FEC11E}"/>
                    </a:ext>
                  </a:extLst>
                </p:cNvPr>
                <p:cNvPicPr/>
                <p:nvPr/>
              </p:nvPicPr>
              <p:blipFill>
                <a:blip r:embed="rId26" cstate="print"/>
                <a:stretch>
                  <a:fillRect/>
                </a:stretch>
              </p:blipFill>
              <p:spPr>
                <a:xfrm>
                  <a:off x="4819471" y="2196452"/>
                  <a:ext cx="4482000" cy="321768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27">
              <p14:nvContentPartPr>
                <p14:cNvPr id="33" name="Freihand 32">
                  <a:extLst>
                    <a:ext uri="{FF2B5EF4-FFF2-40B4-BE49-F238E27FC236}">
                      <a16:creationId xmlns:a16="http://schemas.microsoft.com/office/drawing/2014/main" id="{FC144FE4-583B-4116-BA52-A92600F28037}"/>
                    </a:ext>
                  </a:extLst>
                </p14:cNvPr>
                <p14:cNvContentPartPr/>
                <p14:nvPr/>
              </p14:nvContentPartPr>
              <p14:xfrm>
                <a:off x="4909831" y="3324332"/>
                <a:ext cx="1444320" cy="1634040"/>
              </p14:xfrm>
            </p:contentPart>
          </mc:Choice>
          <mc:Fallback>
            <p:pic>
              <p:nvPicPr>
                <p:cNvPr id="33" name="Freihand 32">
                  <a:extLst>
                    <a:ext uri="{FF2B5EF4-FFF2-40B4-BE49-F238E27FC236}">
                      <a16:creationId xmlns:a16="http://schemas.microsoft.com/office/drawing/2014/main" xmlns="" xmlns:aink="http://schemas.microsoft.com/office/drawing/2016/ink" xmlns:p14="http://schemas.microsoft.com/office/powerpoint/2010/main" id="{FC144FE4-583B-4116-BA52-A92600F28037}"/>
                    </a:ext>
                  </a:extLst>
                </p:cNvPr>
                <p:cNvPicPr/>
                <p:nvPr/>
              </p:nvPicPr>
              <p:blipFill>
                <a:blip r:embed="rId28" cstate="print"/>
                <a:stretch>
                  <a:fillRect/>
                </a:stretch>
              </p:blipFill>
              <p:spPr>
                <a:xfrm>
                  <a:off x="4622551" y="2991692"/>
                  <a:ext cx="2018520" cy="23000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29">
              <p14:nvContentPartPr>
                <p14:cNvPr id="34" name="Freihand 33">
                  <a:extLst>
                    <a:ext uri="{FF2B5EF4-FFF2-40B4-BE49-F238E27FC236}">
                      <a16:creationId xmlns:a16="http://schemas.microsoft.com/office/drawing/2014/main" id="{67422D17-2130-4FD1-8C59-0797CFDB934A}"/>
                    </a:ext>
                  </a:extLst>
                </p14:cNvPr>
                <p14:cNvContentPartPr/>
                <p14:nvPr/>
              </p14:nvContentPartPr>
              <p14:xfrm>
                <a:off x="5079751" y="3238292"/>
                <a:ext cx="1277280" cy="1681920"/>
              </p14:xfrm>
            </p:contentPart>
          </mc:Choice>
          <mc:Fallback>
            <p:pic>
              <p:nvPicPr>
                <p:cNvPr id="34" name="Freihand 33">
                  <a:extLst>
                    <a:ext uri="{FF2B5EF4-FFF2-40B4-BE49-F238E27FC236}">
                      <a16:creationId xmlns:a16="http://schemas.microsoft.com/office/drawing/2014/main" xmlns="" xmlns:p14="http://schemas.microsoft.com/office/powerpoint/2010/main" id="{67422D17-2130-4FD1-8C59-0797CFDB934A}"/>
                    </a:ext>
                  </a:extLst>
                </p:cNvPr>
                <p:cNvPicPr/>
                <p:nvPr/>
              </p:nvPicPr>
              <p:blipFill>
                <a:blip r:embed="rId30" cstate="print"/>
                <a:stretch>
                  <a:fillRect/>
                </a:stretch>
              </p:blipFill>
              <p:spPr>
                <a:xfrm>
                  <a:off x="5062111" y="3202292"/>
                  <a:ext cx="1312920" cy="17535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1">
              <p14:nvContentPartPr>
                <p14:cNvPr id="35" name="Freihand 34">
                  <a:extLst>
                    <a:ext uri="{FF2B5EF4-FFF2-40B4-BE49-F238E27FC236}">
                      <a16:creationId xmlns:a16="http://schemas.microsoft.com/office/drawing/2014/main" id="{60925045-CB83-4311-9349-AA8B4ABC3127}"/>
                    </a:ext>
                  </a:extLst>
                </p14:cNvPr>
                <p14:cNvContentPartPr/>
                <p14:nvPr/>
              </p14:nvContentPartPr>
              <p14:xfrm>
                <a:off x="7772191" y="2544572"/>
                <a:ext cx="1056240" cy="564840"/>
              </p14:xfrm>
            </p:contentPart>
          </mc:Choice>
          <mc:Fallback>
            <p:pic>
              <p:nvPicPr>
                <p:cNvPr id="35" name="Freihand 34">
                  <a:extLst>
                    <a:ext uri="{FF2B5EF4-FFF2-40B4-BE49-F238E27FC236}">
                      <a16:creationId xmlns:a16="http://schemas.microsoft.com/office/drawing/2014/main" xmlns="" xmlns:p14="http://schemas.microsoft.com/office/powerpoint/2010/main" id="{60925045-CB83-4311-9349-AA8B4ABC3127}"/>
                    </a:ext>
                  </a:extLst>
                </p:cNvPr>
                <p:cNvPicPr/>
                <p:nvPr/>
              </p:nvPicPr>
              <p:blipFill>
                <a:blip r:embed="rId32" cstate="print"/>
                <a:stretch>
                  <a:fillRect/>
                </a:stretch>
              </p:blipFill>
              <p:spPr>
                <a:xfrm>
                  <a:off x="7682551" y="2364572"/>
                  <a:ext cx="1235880" cy="9244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3">
              <p14:nvContentPartPr>
                <p14:cNvPr id="36" name="Freihand 35">
                  <a:extLst>
                    <a:ext uri="{FF2B5EF4-FFF2-40B4-BE49-F238E27FC236}">
                      <a16:creationId xmlns:a16="http://schemas.microsoft.com/office/drawing/2014/main" id="{D78057BE-4B36-4303-8BF0-E46802A3B939}"/>
                    </a:ext>
                  </a:extLst>
                </p14:cNvPr>
                <p14:cNvContentPartPr/>
                <p14:nvPr/>
              </p14:nvContentPartPr>
              <p14:xfrm>
                <a:off x="7711351" y="3457532"/>
                <a:ext cx="1055160" cy="340920"/>
              </p14:xfrm>
            </p:contentPart>
          </mc:Choice>
          <mc:Fallback>
            <p:pic>
              <p:nvPicPr>
                <p:cNvPr id="36" name="Freihand 35">
                  <a:extLst>
                    <a:ext uri="{FF2B5EF4-FFF2-40B4-BE49-F238E27FC236}">
                      <a16:creationId xmlns:a16="http://schemas.microsoft.com/office/drawing/2014/main" xmlns="" xmlns:p14="http://schemas.microsoft.com/office/powerpoint/2010/main" id="{D78057BE-4B36-4303-8BF0-E46802A3B939}"/>
                    </a:ext>
                  </a:extLst>
                </p:cNvPr>
                <p:cNvPicPr/>
                <p:nvPr/>
              </p:nvPicPr>
              <p:blipFill>
                <a:blip r:embed="rId34" cstate="print"/>
                <a:stretch>
                  <a:fillRect/>
                </a:stretch>
              </p:blipFill>
              <p:spPr>
                <a:xfrm>
                  <a:off x="7621351" y="3277892"/>
                  <a:ext cx="1234800" cy="70056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5">
              <p14:nvContentPartPr>
                <p14:cNvPr id="37" name="Freihand 36">
                  <a:extLst>
                    <a:ext uri="{FF2B5EF4-FFF2-40B4-BE49-F238E27FC236}">
                      <a16:creationId xmlns:a16="http://schemas.microsoft.com/office/drawing/2014/main" id="{D446AFEA-51A5-4289-9118-397E303CF0D8}"/>
                    </a:ext>
                  </a:extLst>
                </p14:cNvPr>
                <p14:cNvContentPartPr/>
                <p14:nvPr/>
              </p14:nvContentPartPr>
              <p14:xfrm>
                <a:off x="5029711" y="3186092"/>
                <a:ext cx="1277640" cy="1823400"/>
              </p14:xfrm>
            </p:contentPart>
          </mc:Choice>
          <mc:Fallback>
            <p:pic>
              <p:nvPicPr>
                <p:cNvPr id="37" name="Freihand 36">
                  <a:extLst>
                    <a:ext uri="{FF2B5EF4-FFF2-40B4-BE49-F238E27FC236}">
                      <a16:creationId xmlns:a16="http://schemas.microsoft.com/office/drawing/2014/main" xmlns="" xmlns:p14="http://schemas.microsoft.com/office/powerpoint/2010/main" id="{D446AFEA-51A5-4289-9118-397E303CF0D8}"/>
                    </a:ext>
                  </a:extLst>
                </p:cNvPr>
                <p:cNvPicPr/>
                <p:nvPr/>
              </p:nvPicPr>
              <p:blipFill>
                <a:blip r:embed="rId36" cstate="print"/>
                <a:stretch>
                  <a:fillRect/>
                </a:stretch>
              </p:blipFill>
              <p:spPr>
                <a:xfrm>
                  <a:off x="4939711" y="3006092"/>
                  <a:ext cx="1457280" cy="21830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7">
              <p14:nvContentPartPr>
                <p14:cNvPr id="38" name="Freihand 37">
                  <a:extLst>
                    <a:ext uri="{FF2B5EF4-FFF2-40B4-BE49-F238E27FC236}">
                      <a16:creationId xmlns:a16="http://schemas.microsoft.com/office/drawing/2014/main" id="{B6441026-1CCF-43BA-AFAB-99DC0647206B}"/>
                    </a:ext>
                  </a:extLst>
                </p14:cNvPr>
                <p14:cNvContentPartPr/>
                <p14:nvPr/>
              </p14:nvContentPartPr>
              <p14:xfrm>
                <a:off x="6224191" y="4157372"/>
                <a:ext cx="587880" cy="771840"/>
              </p14:xfrm>
            </p:contentPart>
          </mc:Choice>
          <mc:Fallback>
            <p:pic>
              <p:nvPicPr>
                <p:cNvPr id="38" name="Freihand 37">
                  <a:extLst>
                    <a:ext uri="{FF2B5EF4-FFF2-40B4-BE49-F238E27FC236}">
                      <a16:creationId xmlns:a16="http://schemas.microsoft.com/office/drawing/2014/main" xmlns="" xmlns:p14="http://schemas.microsoft.com/office/powerpoint/2010/main" id="{B6441026-1CCF-43BA-AFAB-99DC0647206B}"/>
                    </a:ext>
                  </a:extLst>
                </p:cNvPr>
                <p:cNvPicPr/>
                <p:nvPr/>
              </p:nvPicPr>
              <p:blipFill>
                <a:blip r:embed="rId38" cstate="print"/>
                <a:stretch>
                  <a:fillRect/>
                </a:stretch>
              </p:blipFill>
              <p:spPr>
                <a:xfrm>
                  <a:off x="6134191" y="3977732"/>
                  <a:ext cx="767520" cy="1131480"/>
                </a:xfrm>
                <a:prstGeom prst="rect">
                  <a:avLst/>
                </a:prstGeom>
              </p:spPr>
            </p:pic>
          </mc:Fallback>
        </mc:AlternateContent>
        <mc:AlternateContent xmlns:mc="http://schemas.openxmlformats.org/markup-compatibility/2006">
          <mc:Choice xmlns:p14="http://schemas.microsoft.com/office/powerpoint/2010/main" xmlns="" Requires="p14">
            <p:contentPart p14:bwMode="auto" r:id="rId39">
              <p14:nvContentPartPr>
                <p14:cNvPr id="39" name="Freihand 38">
                  <a:extLst>
                    <a:ext uri="{FF2B5EF4-FFF2-40B4-BE49-F238E27FC236}">
                      <a16:creationId xmlns:a16="http://schemas.microsoft.com/office/drawing/2014/main" id="{277F1D9A-1041-4FA5-8697-8671687C7277}"/>
                    </a:ext>
                  </a:extLst>
                </p14:cNvPr>
                <p14:cNvContentPartPr/>
                <p14:nvPr/>
              </p14:nvContentPartPr>
              <p14:xfrm>
                <a:off x="7179271" y="3686132"/>
                <a:ext cx="1014120" cy="264600"/>
              </p14:xfrm>
            </p:contentPart>
          </mc:Choice>
          <mc:Fallback>
            <p:pic>
              <p:nvPicPr>
                <p:cNvPr id="39" name="Freihand 38">
                  <a:extLst>
                    <a:ext uri="{FF2B5EF4-FFF2-40B4-BE49-F238E27FC236}">
                      <a16:creationId xmlns:a16="http://schemas.microsoft.com/office/drawing/2014/main" xmlns="" xmlns:p14="http://schemas.microsoft.com/office/powerpoint/2010/main" id="{277F1D9A-1041-4FA5-8697-8671687C7277}"/>
                    </a:ext>
                  </a:extLst>
                </p:cNvPr>
                <p:cNvPicPr/>
                <p:nvPr/>
              </p:nvPicPr>
              <p:blipFill>
                <a:blip r:embed="rId40" cstate="print"/>
                <a:stretch>
                  <a:fillRect/>
                </a:stretch>
              </p:blipFill>
              <p:spPr>
                <a:xfrm>
                  <a:off x="7089631" y="3506132"/>
                  <a:ext cx="1193760" cy="624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1">
              <p14:nvContentPartPr>
                <p14:cNvPr id="40" name="Freihand 39">
                  <a:extLst>
                    <a:ext uri="{FF2B5EF4-FFF2-40B4-BE49-F238E27FC236}">
                      <a16:creationId xmlns:a16="http://schemas.microsoft.com/office/drawing/2014/main" id="{48C259A3-0ED9-48DE-9608-15FE7A8FF0D1}"/>
                    </a:ext>
                  </a:extLst>
                </p14:cNvPr>
                <p14:cNvContentPartPr/>
                <p14:nvPr/>
              </p14:nvContentPartPr>
              <p14:xfrm>
                <a:off x="5104231" y="3228212"/>
                <a:ext cx="1776960" cy="1713600"/>
              </p14:xfrm>
            </p:contentPart>
          </mc:Choice>
          <mc:Fallback>
            <p:pic>
              <p:nvPicPr>
                <p:cNvPr id="40" name="Freihand 39">
                  <a:extLst>
                    <a:ext uri="{FF2B5EF4-FFF2-40B4-BE49-F238E27FC236}">
                      <a16:creationId xmlns:a16="http://schemas.microsoft.com/office/drawing/2014/main" xmlns="" xmlns:p14="http://schemas.microsoft.com/office/powerpoint/2010/main" id="{48C259A3-0ED9-48DE-9608-15FE7A8FF0D1}"/>
                    </a:ext>
                  </a:extLst>
                </p:cNvPr>
                <p:cNvPicPr/>
                <p:nvPr/>
              </p:nvPicPr>
              <p:blipFill>
                <a:blip r:embed="rId42" cstate="print"/>
                <a:stretch>
                  <a:fillRect/>
                </a:stretch>
              </p:blipFill>
              <p:spPr>
                <a:xfrm>
                  <a:off x="5050231" y="3120572"/>
                  <a:ext cx="1884600" cy="192924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3">
              <p14:nvContentPartPr>
                <p14:cNvPr id="41" name="Freihand 40">
                  <a:extLst>
                    <a:ext uri="{FF2B5EF4-FFF2-40B4-BE49-F238E27FC236}">
                      <a16:creationId xmlns:a16="http://schemas.microsoft.com/office/drawing/2014/main" id="{4685A29D-5E1D-49E4-9B05-8D690F309859}"/>
                    </a:ext>
                  </a:extLst>
                </p14:cNvPr>
                <p14:cNvContentPartPr/>
                <p14:nvPr/>
              </p14:nvContentPartPr>
              <p14:xfrm>
                <a:off x="7354591" y="3251612"/>
                <a:ext cx="1390680" cy="589680"/>
              </p14:xfrm>
            </p:contentPart>
          </mc:Choice>
          <mc:Fallback>
            <p:pic>
              <p:nvPicPr>
                <p:cNvPr id="41" name="Freihand 40">
                  <a:extLst>
                    <a:ext uri="{FF2B5EF4-FFF2-40B4-BE49-F238E27FC236}">
                      <a16:creationId xmlns:a16="http://schemas.microsoft.com/office/drawing/2014/main" xmlns="" xmlns:p14="http://schemas.microsoft.com/office/powerpoint/2010/main" id="{4685A29D-5E1D-49E4-9B05-8D690F309859}"/>
                    </a:ext>
                  </a:extLst>
                </p:cNvPr>
                <p:cNvPicPr/>
                <p:nvPr/>
              </p:nvPicPr>
              <p:blipFill>
                <a:blip r:embed="rId44" cstate="print"/>
                <a:stretch>
                  <a:fillRect/>
                </a:stretch>
              </p:blipFill>
              <p:spPr>
                <a:xfrm>
                  <a:off x="7300951" y="3143612"/>
                  <a:ext cx="1498320" cy="805320"/>
                </a:xfrm>
                <a:prstGeom prst="rect">
                  <a:avLst/>
                </a:prstGeom>
              </p:spPr>
            </p:pic>
          </mc:Fallback>
        </mc:AlternateContent>
        <mc:AlternateContent xmlns:mc="http://schemas.openxmlformats.org/markup-compatibility/2006">
          <mc:Choice xmlns:p14="http://schemas.microsoft.com/office/powerpoint/2010/main" xmlns="" Requires="p14">
            <p:contentPart p14:bwMode="auto" r:id="rId45">
              <p14:nvContentPartPr>
                <p14:cNvPr id="42" name="Freihand 41">
                  <a:extLst>
                    <a:ext uri="{FF2B5EF4-FFF2-40B4-BE49-F238E27FC236}">
                      <a16:creationId xmlns:a16="http://schemas.microsoft.com/office/drawing/2014/main" id="{97FB17C1-0AFA-4BEC-9E29-0B123B702D9D}"/>
                    </a:ext>
                  </a:extLst>
                </p14:cNvPr>
                <p14:cNvContentPartPr/>
                <p14:nvPr/>
              </p14:nvContentPartPr>
              <p14:xfrm>
                <a:off x="7529911" y="2562932"/>
                <a:ext cx="1329840" cy="686160"/>
              </p14:xfrm>
            </p:contentPart>
          </mc:Choice>
          <mc:Fallback>
            <p:pic>
              <p:nvPicPr>
                <p:cNvPr id="42" name="Freihand 41">
                  <a:extLst>
                    <a:ext uri="{FF2B5EF4-FFF2-40B4-BE49-F238E27FC236}">
                      <a16:creationId xmlns:a16="http://schemas.microsoft.com/office/drawing/2014/main" xmlns="" xmlns:p14="http://schemas.microsoft.com/office/powerpoint/2010/main" id="{97FB17C1-0AFA-4BEC-9E29-0B123B702D9D}"/>
                    </a:ext>
                  </a:extLst>
                </p:cNvPr>
                <p:cNvPicPr/>
                <p:nvPr/>
              </p:nvPicPr>
              <p:blipFill>
                <a:blip r:embed="rId46" cstate="print"/>
                <a:stretch>
                  <a:fillRect/>
                </a:stretch>
              </p:blipFill>
              <p:spPr>
                <a:xfrm>
                  <a:off x="7475911" y="2455292"/>
                  <a:ext cx="1437480" cy="9018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xmlns="" Requires="p14 aink">
            <p:contentPart p14:bwMode="auto" r:id="rId47">
              <p14:nvContentPartPr>
                <p14:cNvPr id="54" name="Freihand 53">
                  <a:extLst>
                    <a:ext uri="{FF2B5EF4-FFF2-40B4-BE49-F238E27FC236}">
                      <a16:creationId xmlns:a16="http://schemas.microsoft.com/office/drawing/2014/main" id="{22690955-7E99-4371-B65A-B1CEECE97806}"/>
                    </a:ext>
                  </a:extLst>
                </p14:cNvPr>
                <p14:cNvContentPartPr/>
                <p14:nvPr/>
              </p14:nvContentPartPr>
              <p14:xfrm>
                <a:off x="5111431" y="2144252"/>
                <a:ext cx="3819960" cy="2757600"/>
              </p14:xfrm>
            </p:contentPart>
          </mc:Choice>
          <mc:Fallback>
            <p:pic>
              <p:nvPicPr>
                <p:cNvPr id="54" name="Freihand 53">
                  <a:extLst>
                    <a:ext uri="{FF2B5EF4-FFF2-40B4-BE49-F238E27FC236}">
                      <a16:creationId xmlns:a16="http://schemas.microsoft.com/office/drawing/2014/main" xmlns="" xmlns:aink="http://schemas.microsoft.com/office/drawing/2016/ink" xmlns:p14="http://schemas.microsoft.com/office/powerpoint/2010/main" id="{22690955-7E99-4371-B65A-B1CEECE97806}"/>
                    </a:ext>
                  </a:extLst>
                </p:cNvPr>
                <p:cNvPicPr/>
                <p:nvPr/>
              </p:nvPicPr>
              <p:blipFill>
                <a:blip r:embed="rId48" cstate="print"/>
                <a:stretch>
                  <a:fillRect/>
                </a:stretch>
              </p:blipFill>
              <p:spPr>
                <a:xfrm>
                  <a:off x="5048437" y="2081252"/>
                  <a:ext cx="3945588" cy="2883240"/>
                </a:xfrm>
                <a:prstGeom prst="rect">
                  <a:avLst/>
                </a:prstGeom>
              </p:spPr>
            </p:pic>
          </mc:Fallback>
        </mc:AlternateContent>
      </p:grpSp>
    </p:spTree>
  </p:cSld>
  <p:clrMapOvr>
    <a:masterClrMapping/>
  </p:clrMapOvr>
  <p:transition spd="slow">
    <p:pull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ADCF8EE3-A0DD-4986-AE77-A6E2686DFD11}"/>
              </a:ext>
            </a:extLst>
          </p:cNvPr>
          <p:cNvGraphicFramePr>
            <a:graphicFrameLocks noChangeAspect="1"/>
          </p:cNvGraphicFramePr>
          <p:nvPr>
            <p:extLst>
              <p:ext uri="{D42A27DB-BD31-4B8C-83A1-F6EECF244321}">
                <p14:modId xmlns:p14="http://schemas.microsoft.com/office/powerpoint/2010/main" xmlns="" val="2851489019"/>
              </p:ext>
            </p:extLst>
          </p:nvPr>
        </p:nvGraphicFramePr>
        <p:xfrm>
          <a:off x="1588" y="1588"/>
          <a:ext cx="1588" cy="1588"/>
        </p:xfrm>
        <a:graphic>
          <a:graphicData uri="http://schemas.openxmlformats.org/presentationml/2006/ole">
            <p:oleObj spid="_x0000_s8201" name="think-cell Folie" r:id="rId4" imgW="360" imgH="360" progId="">
              <p:embed/>
            </p:oleObj>
          </a:graphicData>
        </a:graphic>
      </p:graphicFrame>
      <p:sp>
        <p:nvSpPr>
          <p:cNvPr id="4" name="Rechteck 3" hidden="1">
            <a:extLst>
              <a:ext uri="{FF2B5EF4-FFF2-40B4-BE49-F238E27FC236}">
                <a16:creationId xmlns:a16="http://schemas.microsoft.com/office/drawing/2014/main" xmlns="" id="{4A62A3E7-6DDA-4E20-B113-76AEECAB1B84}"/>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b="1" dirty="0">
                <a:solidFill>
                  <a:schemeClr val="accent1"/>
                </a:solidFill>
              </a:rPr>
              <a:t>Arbeit 4.0</a:t>
            </a:r>
            <a:r>
              <a:rPr lang="de-AT" dirty="0"/>
              <a:t/>
            </a:r>
            <a:br>
              <a:rPr lang="de-AT" dirty="0"/>
            </a:br>
            <a:r>
              <a:rPr lang="de-AT" dirty="0"/>
              <a:t>Kompetenzen der MA</a:t>
            </a:r>
            <a:r>
              <a:rPr lang="de-AT" sz="2900" dirty="0"/>
              <a:t> </a:t>
            </a:r>
            <a:r>
              <a:rPr lang="de-AT" sz="2900" b="1" dirty="0"/>
              <a:t/>
            </a:r>
            <a:br>
              <a:rPr lang="de-AT" sz="2900" b="1" dirty="0"/>
            </a:br>
            <a:endParaRPr lang="de-AT" sz="2900" dirty="0"/>
          </a:p>
        </p:txBody>
      </p:sp>
      <p:sp>
        <p:nvSpPr>
          <p:cNvPr id="3" name="Inhaltsplatzhalter 2"/>
          <p:cNvSpPr>
            <a:spLocks noGrp="1"/>
          </p:cNvSpPr>
          <p:nvPr>
            <p:ph idx="1"/>
          </p:nvPr>
        </p:nvSpPr>
        <p:spPr/>
        <p:txBody>
          <a:bodyPr>
            <a:normAutofit/>
          </a:bodyPr>
          <a:lstStyle/>
          <a:p>
            <a:pPr>
              <a:buNone/>
            </a:pPr>
            <a:r>
              <a:rPr lang="de-AT" dirty="0"/>
              <a:t>	</a:t>
            </a:r>
          </a:p>
        </p:txBody>
      </p:sp>
      <p:graphicFrame>
        <p:nvGraphicFramePr>
          <p:cNvPr id="6" name="Diagramm 5"/>
          <p:cNvGraphicFramePr/>
          <p:nvPr>
            <p:extLst>
              <p:ext uri="{D42A27DB-BD31-4B8C-83A1-F6EECF244321}">
                <p14:modId xmlns:p14="http://schemas.microsoft.com/office/powerpoint/2010/main" xmlns="" val="1065911889"/>
              </p:ext>
            </p:extLst>
          </p:nvPr>
        </p:nvGraphicFramePr>
        <p:xfrm>
          <a:off x="1524000" y="2074481"/>
          <a:ext cx="7008440"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Sld>
  <p:clrMapOvr>
    <a:masterClrMapping/>
  </p:clrMapOvr>
  <p:transition spd="slow">
    <p:pull dir="d"/>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55F7DFC0-65BC-4FEE-BF7B-FB237D8C4C5F}"/>
              </a:ext>
            </a:extLst>
          </p:cNvPr>
          <p:cNvGraphicFramePr>
            <a:graphicFrameLocks noChangeAspect="1"/>
          </p:cNvGraphicFramePr>
          <p:nvPr>
            <p:extLst>
              <p:ext uri="{D42A27DB-BD31-4B8C-83A1-F6EECF244321}">
                <p14:modId xmlns:p14="http://schemas.microsoft.com/office/powerpoint/2010/main" xmlns="" val="140027362"/>
              </p:ext>
            </p:extLst>
          </p:nvPr>
        </p:nvGraphicFramePr>
        <p:xfrm>
          <a:off x="1588" y="1588"/>
          <a:ext cx="1588" cy="1588"/>
        </p:xfrm>
        <a:graphic>
          <a:graphicData uri="http://schemas.openxmlformats.org/presentationml/2006/ole">
            <p:oleObj spid="_x0000_s9225" name="think-cell Folie" r:id="rId4" imgW="360" imgH="360" progId="">
              <p:embed/>
            </p:oleObj>
          </a:graphicData>
        </a:graphic>
      </p:graphicFrame>
      <p:sp>
        <p:nvSpPr>
          <p:cNvPr id="4" name="Rechteck 3" hidden="1">
            <a:extLst>
              <a:ext uri="{FF2B5EF4-FFF2-40B4-BE49-F238E27FC236}">
                <a16:creationId xmlns:a16="http://schemas.microsoft.com/office/drawing/2014/main" xmlns="" id="{CF534E6C-620B-48C0-826E-B00E4724F12F}"/>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b="1" dirty="0">
                <a:solidFill>
                  <a:schemeClr val="accent1"/>
                </a:solidFill>
              </a:rPr>
              <a:t>Arbeit 4.0</a:t>
            </a:r>
            <a:r>
              <a:rPr lang="de-AT" dirty="0"/>
              <a:t/>
            </a:r>
            <a:br>
              <a:rPr lang="de-AT" dirty="0"/>
            </a:br>
            <a:r>
              <a:rPr lang="de-AT" dirty="0"/>
              <a:t>Anforderungen an die Führungskräfte</a:t>
            </a:r>
          </a:p>
        </p:txBody>
      </p:sp>
      <p:sp>
        <p:nvSpPr>
          <p:cNvPr id="3" name="Inhaltsplatzhalter 2"/>
          <p:cNvSpPr>
            <a:spLocks noGrp="1"/>
          </p:cNvSpPr>
          <p:nvPr>
            <p:ph idx="1"/>
          </p:nvPr>
        </p:nvSpPr>
        <p:spPr/>
        <p:txBody>
          <a:bodyPr>
            <a:noAutofit/>
          </a:bodyPr>
          <a:lstStyle/>
          <a:p>
            <a:pPr>
              <a:buNone/>
            </a:pPr>
            <a:r>
              <a:rPr lang="de-AT" sz="2400" dirty="0"/>
              <a:t>Aus unternehmerischer und gesellschaftlicher Sicht:</a:t>
            </a:r>
          </a:p>
          <a:p>
            <a:r>
              <a:rPr lang="de-AT" sz="2400" dirty="0"/>
              <a:t>zentrale Grundbedürfnisse nach </a:t>
            </a:r>
            <a:r>
              <a:rPr lang="de-AT" sz="2400" b="1" dirty="0"/>
              <a:t>Autonomie, Kompetenz</a:t>
            </a:r>
            <a:r>
              <a:rPr lang="de-AT" sz="2400" dirty="0"/>
              <a:t>, </a:t>
            </a:r>
            <a:r>
              <a:rPr lang="de-AT" sz="2400" b="1" dirty="0"/>
              <a:t>Anerkennung und Verbundenheit </a:t>
            </a:r>
            <a:r>
              <a:rPr lang="de-AT" sz="2400" dirty="0"/>
              <a:t>befriedigen </a:t>
            </a:r>
            <a:r>
              <a:rPr lang="de-AT" sz="2400" dirty="0">
                <a:sym typeface="Wingdings" panose="05000000000000000000" pitchFamily="2" charset="2"/>
              </a:rPr>
              <a:t> innovative, kreative, effiziente MA</a:t>
            </a:r>
            <a:endParaRPr lang="de-AT" sz="2400" dirty="0"/>
          </a:p>
          <a:p>
            <a:r>
              <a:rPr lang="de-AT" sz="2400" dirty="0"/>
              <a:t>Rahmenbedingungen schaffen, die die Entstehung von Belastungen und Krankheiten verhindern </a:t>
            </a:r>
          </a:p>
          <a:p>
            <a:r>
              <a:rPr lang="de-AT" sz="2400" dirty="0" err="1"/>
              <a:t>Entstigmatisierung</a:t>
            </a:r>
            <a:r>
              <a:rPr lang="de-AT" sz="2400" dirty="0"/>
              <a:t> psychischer Erkrankungen</a:t>
            </a:r>
          </a:p>
          <a:p>
            <a:r>
              <a:rPr lang="de-AT" sz="2400" dirty="0"/>
              <a:t>Lösungen zur Gesundheitsverbesserung anbieten</a:t>
            </a:r>
          </a:p>
          <a:p>
            <a:r>
              <a:rPr lang="de-AT" sz="2400" dirty="0"/>
              <a:t>Trend der Architektur und Raumausstattung: „New York“</a:t>
            </a:r>
          </a:p>
          <a:p>
            <a:r>
              <a:rPr lang="de-AT" sz="2400" dirty="0"/>
              <a:t>Vertrauen in die MA</a:t>
            </a:r>
          </a:p>
        </p:txBody>
      </p:sp>
    </p:spTree>
  </p:cSld>
  <p:clrMapOvr>
    <a:masterClrMapping/>
  </p:clrMapOvr>
  <p:transition spd="slow">
    <p:pull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blinds(horizont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blinds(horizontal)">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blinds(horizontal)">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blinds(horizontal)">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blinds(horizontal)">
                                      <p:cBhvr>
                                        <p:cTn id="3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E08C46B8-D577-4208-A2B8-98AB52F6932B}"/>
              </a:ext>
            </a:extLst>
          </p:cNvPr>
          <p:cNvGraphicFramePr>
            <a:graphicFrameLocks noChangeAspect="1"/>
          </p:cNvGraphicFramePr>
          <p:nvPr>
            <p:extLst>
              <p:ext uri="{D42A27DB-BD31-4B8C-83A1-F6EECF244321}">
                <p14:modId xmlns:p14="http://schemas.microsoft.com/office/powerpoint/2010/main" xmlns="" val="2612718505"/>
              </p:ext>
            </p:extLst>
          </p:nvPr>
        </p:nvGraphicFramePr>
        <p:xfrm>
          <a:off x="1588" y="1588"/>
          <a:ext cx="1588" cy="1588"/>
        </p:xfrm>
        <a:graphic>
          <a:graphicData uri="http://schemas.openxmlformats.org/presentationml/2006/ole">
            <p:oleObj spid="_x0000_s10249" name="think-cell Folie" r:id="rId4" imgW="360" imgH="360" progId="">
              <p:embed/>
            </p:oleObj>
          </a:graphicData>
        </a:graphic>
      </p:graphicFrame>
      <p:sp>
        <p:nvSpPr>
          <p:cNvPr id="4" name="Rechteck 3" hidden="1">
            <a:extLst>
              <a:ext uri="{FF2B5EF4-FFF2-40B4-BE49-F238E27FC236}">
                <a16:creationId xmlns:a16="http://schemas.microsoft.com/office/drawing/2014/main" xmlns="" id="{5E9788C7-BD66-4343-BA34-E2A4DFC37FA9}"/>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AT" sz="29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p:txBody>
          <a:bodyPr>
            <a:noAutofit/>
          </a:bodyPr>
          <a:lstStyle/>
          <a:p>
            <a:r>
              <a:rPr lang="de-AT" b="1" dirty="0">
                <a:solidFill>
                  <a:schemeClr val="accent1"/>
                </a:solidFill>
              </a:rPr>
              <a:t>Arbeit 4.0</a:t>
            </a:r>
            <a:r>
              <a:rPr lang="de-AT" dirty="0"/>
              <a:t/>
            </a:r>
            <a:br>
              <a:rPr lang="de-AT" dirty="0"/>
            </a:br>
            <a:r>
              <a:rPr lang="de-AT" dirty="0"/>
              <a:t>Kompetenzen der Führungskräfte</a:t>
            </a:r>
          </a:p>
        </p:txBody>
      </p:sp>
      <p:sp>
        <p:nvSpPr>
          <p:cNvPr id="3" name="Inhaltsplatzhalter 2"/>
          <p:cNvSpPr>
            <a:spLocks noGrp="1"/>
          </p:cNvSpPr>
          <p:nvPr>
            <p:ph idx="1"/>
          </p:nvPr>
        </p:nvSpPr>
        <p:spPr/>
        <p:txBody>
          <a:bodyPr>
            <a:noAutofit/>
          </a:bodyPr>
          <a:lstStyle/>
          <a:p>
            <a:r>
              <a:rPr lang="de-AT" sz="2400" dirty="0"/>
              <a:t>Umgang mit Geschwindigkeit, hohe Problemlösekompetenz</a:t>
            </a:r>
          </a:p>
          <a:p>
            <a:r>
              <a:rPr lang="de-AT" sz="2400" dirty="0"/>
              <a:t>Risikobereitschaft</a:t>
            </a:r>
          </a:p>
          <a:p>
            <a:r>
              <a:rPr lang="de-AT" sz="2400" dirty="0"/>
              <a:t>Ambiguitätstoleranz</a:t>
            </a:r>
          </a:p>
          <a:p>
            <a:r>
              <a:rPr lang="de-AT" sz="2400" dirty="0"/>
              <a:t>Sozialkompetenz</a:t>
            </a:r>
          </a:p>
          <a:p>
            <a:r>
              <a:rPr lang="de-AT" sz="2400" dirty="0"/>
              <a:t>fürsorglicher Umgang mit sich und anderen</a:t>
            </a:r>
          </a:p>
          <a:p>
            <a:r>
              <a:rPr lang="de-AT" sz="2400" dirty="0"/>
              <a:t>Einsatz der MA nach Neigungen und Eignungen</a:t>
            </a:r>
          </a:p>
          <a:p>
            <a:pPr marL="0" indent="0">
              <a:buNone/>
            </a:pPr>
            <a:endParaRPr lang="de-AT" sz="2400" dirty="0"/>
          </a:p>
          <a:p>
            <a:pPr>
              <a:buFont typeface="Wingdings"/>
              <a:buChar char="à"/>
            </a:pPr>
            <a:r>
              <a:rPr lang="de-AT" sz="2400" dirty="0">
                <a:sym typeface="Wingdings" pitchFamily="2" charset="2"/>
              </a:rPr>
              <a:t>regelmäßige Zeiten für Reflexion</a:t>
            </a:r>
          </a:p>
          <a:p>
            <a:pPr>
              <a:buFont typeface="Wingdings"/>
              <a:buChar char="à"/>
            </a:pPr>
            <a:r>
              <a:rPr lang="de-AT" sz="2400" dirty="0" err="1">
                <a:sym typeface="Wingdings" pitchFamily="2" charset="2"/>
              </a:rPr>
              <a:t>resiliente</a:t>
            </a:r>
            <a:r>
              <a:rPr lang="de-AT" sz="2400" dirty="0">
                <a:sym typeface="Wingdings" pitchFamily="2" charset="2"/>
              </a:rPr>
              <a:t> Persönlichkeiten (höherer </a:t>
            </a:r>
            <a:r>
              <a:rPr lang="de-AT" sz="2400" dirty="0" err="1">
                <a:sym typeface="Wingdings" pitchFamily="2" charset="2"/>
              </a:rPr>
              <a:t>Resilienzquotient</a:t>
            </a:r>
            <a:r>
              <a:rPr lang="de-AT" sz="2400" dirty="0">
                <a:sym typeface="Wingdings" pitchFamily="2" charset="2"/>
              </a:rPr>
              <a:t>)</a:t>
            </a:r>
          </a:p>
          <a:p>
            <a:pPr>
              <a:buNone/>
            </a:pPr>
            <a:endParaRPr lang="de-AT" sz="1800" dirty="0"/>
          </a:p>
        </p:txBody>
      </p:sp>
    </p:spTree>
  </p:cSld>
  <p:clrMapOvr>
    <a:masterClrMapping/>
  </p:clrMapOvr>
  <p:transition spd="slow">
    <p:pull dir="d"/>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834496E3-491C-45FF-BC2B-2C8677D64082}"/>
              </a:ext>
            </a:extLst>
          </p:cNvPr>
          <p:cNvGraphicFramePr>
            <a:graphicFrameLocks noChangeAspect="1"/>
          </p:cNvGraphicFramePr>
          <p:nvPr>
            <p:extLst>
              <p:ext uri="{D42A27DB-BD31-4B8C-83A1-F6EECF244321}">
                <p14:modId xmlns:p14="http://schemas.microsoft.com/office/powerpoint/2010/main" xmlns="" val="2897175342"/>
              </p:ext>
            </p:extLst>
          </p:nvPr>
        </p:nvGraphicFramePr>
        <p:xfrm>
          <a:off x="1588" y="1588"/>
          <a:ext cx="1588" cy="1588"/>
        </p:xfrm>
        <a:graphic>
          <a:graphicData uri="http://schemas.openxmlformats.org/presentationml/2006/ole">
            <p:oleObj spid="_x0000_s54280" name="think-cell Folie" r:id="rId3" imgW="360" imgH="360" progId="">
              <p:embed/>
            </p:oleObj>
          </a:graphicData>
        </a:graphic>
      </p:graphicFrame>
      <p:sp>
        <p:nvSpPr>
          <p:cNvPr id="2" name="Titel 1"/>
          <p:cNvSpPr>
            <a:spLocks noGrp="1"/>
          </p:cNvSpPr>
          <p:nvPr>
            <p:ph type="title"/>
          </p:nvPr>
        </p:nvSpPr>
        <p:spPr/>
        <p:txBody>
          <a:bodyPr>
            <a:normAutofit fontScale="90000"/>
          </a:bodyPr>
          <a:lstStyle/>
          <a:p>
            <a:r>
              <a:rPr lang="de-AT" sz="4000" dirty="0"/>
              <a:t>Digitalisierung</a:t>
            </a:r>
            <a:r>
              <a:rPr lang="de-AT" sz="3200" b="1" dirty="0"/>
              <a:t/>
            </a:r>
            <a:br>
              <a:rPr lang="de-AT" sz="3200" b="1" dirty="0"/>
            </a:br>
            <a:endParaRPr lang="de-AT" sz="3200" dirty="0"/>
          </a:p>
        </p:txBody>
      </p:sp>
      <p:sp>
        <p:nvSpPr>
          <p:cNvPr id="3" name="Inhaltsplatzhalter 2"/>
          <p:cNvSpPr>
            <a:spLocks noGrp="1"/>
          </p:cNvSpPr>
          <p:nvPr>
            <p:ph idx="1"/>
          </p:nvPr>
        </p:nvSpPr>
        <p:spPr>
          <a:xfrm>
            <a:off x="323528" y="836712"/>
            <a:ext cx="4258816" cy="4525963"/>
          </a:xfrm>
        </p:spPr>
        <p:txBody>
          <a:bodyPr>
            <a:noAutofit/>
          </a:bodyPr>
          <a:lstStyle/>
          <a:p>
            <a:pPr marL="0" indent="0" algn="ctr">
              <a:buNone/>
            </a:pPr>
            <a:endParaRPr lang="de-AT" sz="2200" dirty="0"/>
          </a:p>
          <a:p>
            <a:pPr marL="0" indent="0" algn="ctr">
              <a:buNone/>
            </a:pPr>
            <a:r>
              <a:rPr lang="de-AT" dirty="0">
                <a:solidFill>
                  <a:schemeClr val="accent6"/>
                </a:solidFill>
              </a:rPr>
              <a:t>Vorteile</a:t>
            </a:r>
            <a:endParaRPr lang="de-AT" sz="2200" dirty="0"/>
          </a:p>
          <a:p>
            <a:r>
              <a:rPr lang="de-AT" sz="2200" dirty="0"/>
              <a:t>Langsame Steigerung der Produktivität</a:t>
            </a:r>
          </a:p>
          <a:p>
            <a:r>
              <a:rPr lang="de-AT" sz="2200" dirty="0"/>
              <a:t>Subjektivierung von Arbeit als Chance: </a:t>
            </a:r>
            <a:r>
              <a:rPr lang="de-AT" sz="2200" dirty="0" err="1"/>
              <a:t>Entgrenzung</a:t>
            </a:r>
            <a:r>
              <a:rPr lang="de-AT" sz="2200" dirty="0"/>
              <a:t> von Arbeit</a:t>
            </a:r>
          </a:p>
          <a:p>
            <a:r>
              <a:rPr lang="de-AT" sz="2200" dirty="0"/>
              <a:t>Räumliche Dimension: Effizienz, Wegfallen langer Anfahrtszeiten, Autonomieempfinden</a:t>
            </a:r>
          </a:p>
          <a:p>
            <a:r>
              <a:rPr lang="de-AT" sz="2200" dirty="0"/>
              <a:t>Zeitliche Dimension: Effizienz, Arbeitszufriedenheit</a:t>
            </a:r>
          </a:p>
        </p:txBody>
      </p:sp>
      <p:sp>
        <p:nvSpPr>
          <p:cNvPr id="4" name="Inhaltsplatzhalter 3"/>
          <p:cNvSpPr>
            <a:spLocks noGrp="1"/>
          </p:cNvSpPr>
          <p:nvPr>
            <p:ph idx="4294967295"/>
          </p:nvPr>
        </p:nvSpPr>
        <p:spPr>
          <a:xfrm>
            <a:off x="4788024" y="1268760"/>
            <a:ext cx="3960440" cy="5001418"/>
          </a:xfrm>
        </p:spPr>
        <p:txBody>
          <a:bodyPr>
            <a:normAutofit/>
          </a:bodyPr>
          <a:lstStyle/>
          <a:p>
            <a:pPr marL="0" indent="0" algn="ctr">
              <a:buNone/>
            </a:pPr>
            <a:r>
              <a:rPr lang="de-AT" dirty="0">
                <a:solidFill>
                  <a:schemeClr val="accent6"/>
                </a:solidFill>
              </a:rPr>
              <a:t>Nachteile</a:t>
            </a:r>
            <a:endParaRPr lang="de-AT" sz="2200" dirty="0"/>
          </a:p>
          <a:p>
            <a:r>
              <a:rPr lang="de-AT" sz="2200" dirty="0" err="1"/>
              <a:t>Entgrenzung</a:t>
            </a:r>
            <a:r>
              <a:rPr lang="de-AT" sz="2200" dirty="0"/>
              <a:t> als Folge </a:t>
            </a:r>
          </a:p>
          <a:p>
            <a:r>
              <a:rPr lang="de-AT" sz="2200" dirty="0"/>
              <a:t>Räumliche Dimension: Work-Life-Konflikt </a:t>
            </a:r>
          </a:p>
          <a:p>
            <a:r>
              <a:rPr lang="de-AT" sz="2200" dirty="0"/>
              <a:t>Zeitliche Dimension „</a:t>
            </a:r>
            <a:r>
              <a:rPr lang="de-AT" sz="2200" dirty="0" err="1"/>
              <a:t>Always</a:t>
            </a:r>
            <a:r>
              <a:rPr lang="de-AT" sz="2200" dirty="0"/>
              <a:t> on“, mentaler Spillover</a:t>
            </a:r>
          </a:p>
          <a:p>
            <a:r>
              <a:rPr lang="de-AT" sz="2200" dirty="0"/>
              <a:t>Konstante Unterbrechungen, Ablenkungen </a:t>
            </a:r>
            <a:r>
              <a:rPr lang="de-AT" sz="2200" dirty="0">
                <a:sym typeface="Wingdings" pitchFamily="2" charset="2"/>
              </a:rPr>
              <a:t> Stress</a:t>
            </a:r>
          </a:p>
          <a:p>
            <a:r>
              <a:rPr lang="de-AT" sz="2200" dirty="0">
                <a:sym typeface="Wingdings" pitchFamily="2" charset="2"/>
              </a:rPr>
              <a:t>Vereinsamung durch </a:t>
            </a:r>
            <a:r>
              <a:rPr lang="de-AT" sz="2200" dirty="0" err="1">
                <a:sym typeface="Wingdings" pitchFamily="2" charset="2"/>
              </a:rPr>
              <a:t>Virtualisierung</a:t>
            </a:r>
            <a:endParaRPr lang="de-AT" sz="2200" dirty="0">
              <a:sym typeface="Wingdings" pitchFamily="2" charset="2"/>
            </a:endParaRPr>
          </a:p>
          <a:p>
            <a:r>
              <a:rPr lang="de-AT" sz="2200" dirty="0">
                <a:sym typeface="Wingdings" pitchFamily="2" charset="2"/>
              </a:rPr>
              <a:t>Ängste vor Jobverlust</a:t>
            </a:r>
            <a:endParaRPr lang="de-AT" sz="2000" dirty="0"/>
          </a:p>
        </p:txBody>
      </p:sp>
    </p:spTree>
  </p:cSld>
  <p:clrMapOvr>
    <a:masterClrMapping/>
  </p:clrMapOvr>
  <p:transition spd="slow">
    <p:pull dir="d"/>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vg7_Um7F42kOmNaA7AO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dPXuLUYoIQ5iBgcvTuE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oG6oqdE9UxJi82DBuy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fHRzID5unMGO_snOKtp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iWbu6udE2p.g0tR.MVn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YjYUAf2JFZcIOjNLTCS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0te01QW2oYQkpjYRiE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Fig7pzdXx_6IRWzM.li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exizXSEKH4y96Mjr_n7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eQP3WfMLooK4WZV6LF2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CV5xnjNukK.uZaAfFJx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9r.EX2rhsZJR24Vn8nz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qGOToujj1bVMJbakC.J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u8KU7nmslkUEibV4RJF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a2uB_qPht4v.sy36ue0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gJwB5RMrKgjrjE5udAL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nR45E7dTdG1N9cIOQRU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WKXB3lR6kuAVgE.icLo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4P2Km1L9_h6xplnaUIc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QZSO4tr4OLrYmKM0YJw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MZgd3aN7EazyyV9vfHa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WskYdi9QADuHlb3Si30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kyruXs3UWLltP5UzBd8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GALJzsABSCQ26YniQWa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beeU7I7BSzwkq.ogv7O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r3PgCsbg6Njl4gU0nKc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cyOFqFQY.dQ4vFoqtk0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1qFHonKw4Pp93Sl4aIC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Y4mODeqshc.J6iajO9i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PYyWdbrOA7OG.IPm7eS_A"/>
</p:tagLst>
</file>

<file path=ppt/theme/theme1.xml><?xml version="1.0" encoding="utf-8"?>
<a:theme xmlns:a="http://schemas.openxmlformats.org/drawingml/2006/main" name="komunariko white v2012 02 10">
  <a:themeElements>
    <a:clrScheme name="Custom 2">
      <a:dk1>
        <a:sysClr val="windowText" lastClr="000000"/>
      </a:dk1>
      <a:lt1>
        <a:sysClr val="window" lastClr="FFFFFF"/>
      </a:lt1>
      <a:dk2>
        <a:srgbClr val="4E6063"/>
      </a:dk2>
      <a:lt2>
        <a:srgbClr val="EEECE1"/>
      </a:lt2>
      <a:accent1>
        <a:srgbClr val="CF8A1F"/>
      </a:accent1>
      <a:accent2>
        <a:srgbClr val="D9D9B4"/>
      </a:accent2>
      <a:accent3>
        <a:srgbClr val="C7B898"/>
      </a:accent3>
      <a:accent4>
        <a:srgbClr val="94907E"/>
      </a:accent4>
      <a:accent5>
        <a:srgbClr val="AABFBD"/>
      </a:accent5>
      <a:accent6>
        <a:srgbClr val="83898D"/>
      </a:accent6>
      <a:hlink>
        <a:srgbClr val="CF8A1F"/>
      </a:hlink>
      <a:folHlink>
        <a:srgbClr val="A5A6A5"/>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7748C9C308BC94E9C721D228590CA20" ma:contentTypeVersion="13" ma:contentTypeDescription="Create a new document." ma:contentTypeScope="" ma:versionID="83e73cd051d95201f00b451d4c48e93e">
  <xsd:schema xmlns:xsd="http://www.w3.org/2001/XMLSchema" xmlns:xs="http://www.w3.org/2001/XMLSchema" xmlns:p="http://schemas.microsoft.com/office/2006/metadata/properties" xmlns:ns3="051ebf14-f7db-4167-b70f-37e74bd0a6ba" xmlns:ns4="7956a83d-b80a-4c52-b42b-4f85b04edae6" targetNamespace="http://schemas.microsoft.com/office/2006/metadata/properties" ma:root="true" ma:fieldsID="cf7aad336cc3239b74ed040bedf64795" ns3:_="" ns4:_="">
    <xsd:import namespace="051ebf14-f7db-4167-b70f-37e74bd0a6ba"/>
    <xsd:import namespace="7956a83d-b80a-4c52-b42b-4f85b04edae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ebf14-f7db-4167-b70f-37e74bd0a6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56a83d-b80a-4c52-b42b-4f85b04edae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7DA72A-6F21-4DA7-B049-B566B9D3968C}">
  <ds:schemaRefs>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051ebf14-f7db-4167-b70f-37e74bd0a6ba"/>
    <ds:schemaRef ds:uri="7956a83d-b80a-4c52-b42b-4f85b04edae6"/>
    <ds:schemaRef ds:uri="http://www.w3.org/XML/1998/namespace"/>
    <ds:schemaRef ds:uri="http://purl.org/dc/dcmitype/"/>
  </ds:schemaRefs>
</ds:datastoreItem>
</file>

<file path=customXml/itemProps2.xml><?xml version="1.0" encoding="utf-8"?>
<ds:datastoreItem xmlns:ds="http://schemas.openxmlformats.org/officeDocument/2006/customXml" ds:itemID="{41FC5F02-0D5B-4C8D-9AFE-70CB01A67C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1ebf14-f7db-4167-b70f-37e74bd0a6ba"/>
    <ds:schemaRef ds:uri="7956a83d-b80a-4c52-b42b-4f85b04eda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918EC6-F6BD-488F-8ED7-DBDBB4B0BA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883</Words>
  <Application>Microsoft Office PowerPoint</Application>
  <PresentationFormat>Bildschirmpräsentation (4:3)</PresentationFormat>
  <Paragraphs>318</Paragraphs>
  <Slides>39</Slides>
  <Notes>0</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39</vt:i4>
      </vt:variant>
    </vt:vector>
  </HeadingPairs>
  <TitlesOfParts>
    <vt:vector size="41" baseType="lpstr">
      <vt:lpstr>komunariko white v2012 02 10</vt:lpstr>
      <vt:lpstr>think-cell Folie</vt:lpstr>
      <vt:lpstr> Arbeit 4.0:  Unter Strom und ständig online.</vt:lpstr>
      <vt:lpstr>Struktur</vt:lpstr>
      <vt:lpstr>Arbeit 4.0</vt:lpstr>
      <vt:lpstr>Arbeit 4.0</vt:lpstr>
      <vt:lpstr>Arbeit 4.0 Veränderungen für Unternehmen  und MA </vt:lpstr>
      <vt:lpstr>Arbeit 4.0 Kompetenzen der MA  </vt:lpstr>
      <vt:lpstr>Arbeit 4.0 Anforderungen an die Führungskräfte</vt:lpstr>
      <vt:lpstr>Arbeit 4.0 Kompetenzen der Führungskräfte</vt:lpstr>
      <vt:lpstr>Digitalisierung </vt:lpstr>
      <vt:lpstr> Babyboomer, X, Y, Z</vt:lpstr>
      <vt:lpstr>Babyboomer im Berufsleben </vt:lpstr>
      <vt:lpstr>Generation X im Berufsleben  </vt:lpstr>
      <vt:lpstr>Generation Y (Millennials) im Berufsleben  </vt:lpstr>
      <vt:lpstr>Generation Z im Berufsleben  </vt:lpstr>
      <vt:lpstr>Verstehen der Generationen – MA-Bindung</vt:lpstr>
      <vt:lpstr>Gesundheit 4.0</vt:lpstr>
      <vt:lpstr>Gesundheit 4.0</vt:lpstr>
      <vt:lpstr>Gesundheit 4.0</vt:lpstr>
      <vt:lpstr>Gesundheit 4.0</vt:lpstr>
      <vt:lpstr>Gesundheit 4.0 Bedeutung der guten Führungskraft</vt:lpstr>
      <vt:lpstr>Gesundheit 4.0 Bedeutung der guten Führungskraft</vt:lpstr>
      <vt:lpstr>Umgang mit digitalem Alltagsstress.  Was bedeutet Resilienz ? </vt:lpstr>
      <vt:lpstr>Resilienz</vt:lpstr>
      <vt:lpstr>Resilienz – Schutzfaktoren  </vt:lpstr>
      <vt:lpstr>Resilienzfaktoren – entwickel- und veränderbar wichtig für Führungskräfte</vt:lpstr>
      <vt:lpstr>Resilienztraining als Persönlichkeitstraining für Führungskräfte und MA (1) </vt:lpstr>
      <vt:lpstr>Resilienztraining als Persönlichkeitstraining für Führungskräfte und MA (2) </vt:lpstr>
      <vt:lpstr>Resilienzfördernde Führungsstile</vt:lpstr>
      <vt:lpstr>Wie resilient war eigentlich Steve Jobs ?</vt:lpstr>
      <vt:lpstr>Wie resilient war eigentlich Steve Jobs ?</vt:lpstr>
      <vt:lpstr>Wie resilient bin ich?</vt:lpstr>
      <vt:lpstr>Was bedeutet gelebte organisationale Resilienz ? </vt:lpstr>
      <vt:lpstr>Merkmale resilienter Organisationen </vt:lpstr>
      <vt:lpstr>Wann kommt es zu organisationalem Burnout?</vt:lpstr>
      <vt:lpstr>Betriebliches Resilienzmanagement – Wie?</vt:lpstr>
      <vt:lpstr>Vielen Dank…</vt:lpstr>
      <vt:lpstr>Literatur</vt:lpstr>
      <vt:lpstr>Literatur</vt:lpstr>
      <vt:lpstr>Folie 3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ia Bogensperger</dc:creator>
  <cp:lastModifiedBy>marlies</cp:lastModifiedBy>
  <cp:revision>280</cp:revision>
  <cp:lastPrinted>2019-08-09T09:24:06Z</cp:lastPrinted>
  <dcterms:created xsi:type="dcterms:W3CDTF">2012-05-14T12:38:17Z</dcterms:created>
  <dcterms:modified xsi:type="dcterms:W3CDTF">2019-09-02T18:4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748C9C308BC94E9C721D228590CA20</vt:lpwstr>
  </property>
</Properties>
</file>